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2" r:id="rId3"/>
  </p:sldMasterIdLst>
  <p:notesMasterIdLst>
    <p:notesMasterId r:id="rId24"/>
  </p:notesMasterIdLst>
  <p:sldIdLst>
    <p:sldId id="2147483210" r:id="rId4"/>
    <p:sldId id="2147483216" r:id="rId5"/>
    <p:sldId id="3586" r:id="rId6"/>
    <p:sldId id="2147483149" r:id="rId7"/>
    <p:sldId id="2147483185" r:id="rId8"/>
    <p:sldId id="2147483199" r:id="rId9"/>
    <p:sldId id="2147483200" r:id="rId10"/>
    <p:sldId id="2147483206" r:id="rId11"/>
    <p:sldId id="2147483147" r:id="rId12"/>
    <p:sldId id="2147483187" r:id="rId13"/>
    <p:sldId id="2147483193" r:id="rId14"/>
    <p:sldId id="2147483207" r:id="rId15"/>
    <p:sldId id="2147483139" r:id="rId16"/>
    <p:sldId id="2147483208" r:id="rId17"/>
    <p:sldId id="2147483141" r:id="rId18"/>
    <p:sldId id="2147483209" r:id="rId19"/>
    <p:sldId id="2147483178" r:id="rId20"/>
    <p:sldId id="2147483214" r:id="rId21"/>
    <p:sldId id="2147483215" r:id="rId22"/>
    <p:sldId id="2147483213" r:id="rId23"/>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62449"/>
    <a:srgbClr val="09284E"/>
    <a:srgbClr val="07234A"/>
    <a:srgbClr val="363D3F"/>
    <a:srgbClr val="CCCCFF"/>
    <a:srgbClr val="CC9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A07DC8-35C5-465A-9107-A3B204C3BE66}" v="2" dt="2026-04-20T20:21:18.4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17" autoAdjust="0"/>
    <p:restoredTop sz="78151" autoAdjust="0"/>
  </p:normalViewPr>
  <p:slideViewPr>
    <p:cSldViewPr snapToGrid="0">
      <p:cViewPr varScale="1">
        <p:scale>
          <a:sx n="61" d="100"/>
          <a:sy n="61" d="100"/>
        </p:scale>
        <p:origin x="192" y="282"/>
      </p:cViewPr>
      <p:guideLst/>
    </p:cSldViewPr>
  </p:slideViewPr>
  <p:notesTextViewPr>
    <p:cViewPr>
      <p:scale>
        <a:sx n="1" d="1"/>
        <a:sy n="1" d="1"/>
      </p:scale>
      <p:origin x="0" y="-21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69A95BD-E9CF-4B51-A5CE-8D7887E626E5}" type="doc">
      <dgm:prSet loTypeId="urn:microsoft.com/office/officeart/2005/8/layout/hierarchy1" loCatId="hierarchy" qsTypeId="urn:microsoft.com/office/officeart/2005/8/quickstyle/simple2" qsCatId="simple" csTypeId="urn:microsoft.com/office/officeart/2005/8/colors/accent1_2" csCatId="accent1" phldr="1"/>
      <dgm:spPr/>
      <dgm:t>
        <a:bodyPr/>
        <a:lstStyle/>
        <a:p>
          <a:endParaRPr lang="en-US"/>
        </a:p>
      </dgm:t>
    </dgm:pt>
    <dgm:pt modelId="{DC765CAB-C76A-4E81-92EF-5CE7289975AA}">
      <dgm:prSet/>
      <dgm:spPr/>
      <dgm:t>
        <a:bodyPr/>
        <a:lstStyle/>
        <a:p>
          <a:r>
            <a:rPr lang="en-US"/>
            <a:t>The indicators guide future adaptation efforts by assessing advancement towards the targets rather than comparing against past baselines</a:t>
          </a:r>
        </a:p>
      </dgm:t>
    </dgm:pt>
    <dgm:pt modelId="{9E9510E2-2C81-414B-8FBE-BC665F0E1C02}" type="parTrans" cxnId="{7EE8EA79-46D8-4AAC-9742-5C061DEB06C8}">
      <dgm:prSet/>
      <dgm:spPr/>
      <dgm:t>
        <a:bodyPr/>
        <a:lstStyle/>
        <a:p>
          <a:endParaRPr lang="en-US"/>
        </a:p>
      </dgm:t>
    </dgm:pt>
    <dgm:pt modelId="{D12DED37-64D3-47B4-9C7E-D5641BD39D09}" type="sibTrans" cxnId="{7EE8EA79-46D8-4AAC-9742-5C061DEB06C8}">
      <dgm:prSet/>
      <dgm:spPr/>
      <dgm:t>
        <a:bodyPr/>
        <a:lstStyle/>
        <a:p>
          <a:endParaRPr lang="en-US"/>
        </a:p>
      </dgm:t>
    </dgm:pt>
    <dgm:pt modelId="{32A5AF3B-CC81-4CCA-9ED4-996D23A05F68}">
      <dgm:prSet/>
      <dgm:spPr/>
      <dgm:t>
        <a:bodyPr/>
        <a:lstStyle/>
        <a:p>
          <a:r>
            <a:rPr lang="en-US"/>
            <a:t>The indicators measuring levels or progress use, as a reference point, the optimal scenario identified by each Party, representing the level of resilience and adaptive capacity required to achieve the target.</a:t>
          </a:r>
        </a:p>
      </dgm:t>
    </dgm:pt>
    <dgm:pt modelId="{2A5D6D0E-287C-4D77-BF58-CE16D755236E}" type="parTrans" cxnId="{0227008F-C9B5-4FC3-92A6-0455CB578A3E}">
      <dgm:prSet/>
      <dgm:spPr/>
      <dgm:t>
        <a:bodyPr/>
        <a:lstStyle/>
        <a:p>
          <a:endParaRPr lang="en-US"/>
        </a:p>
      </dgm:t>
    </dgm:pt>
    <dgm:pt modelId="{E2B65BF2-C67C-4EA7-934B-1CDB274EF2BA}" type="sibTrans" cxnId="{0227008F-C9B5-4FC3-92A6-0455CB578A3E}">
      <dgm:prSet/>
      <dgm:spPr/>
      <dgm:t>
        <a:bodyPr/>
        <a:lstStyle/>
        <a:p>
          <a:endParaRPr lang="en-US"/>
        </a:p>
      </dgm:t>
    </dgm:pt>
    <dgm:pt modelId="{8FEFE712-84F4-4AE2-83A0-141A1044E8B2}" type="pres">
      <dgm:prSet presAssocID="{669A95BD-E9CF-4B51-A5CE-8D7887E626E5}" presName="hierChild1" presStyleCnt="0">
        <dgm:presLayoutVars>
          <dgm:chPref val="1"/>
          <dgm:dir/>
          <dgm:animOne val="branch"/>
          <dgm:animLvl val="lvl"/>
          <dgm:resizeHandles/>
        </dgm:presLayoutVars>
      </dgm:prSet>
      <dgm:spPr/>
    </dgm:pt>
    <dgm:pt modelId="{34299C2E-E93C-4B9B-8F99-838CA365B804}" type="pres">
      <dgm:prSet presAssocID="{DC765CAB-C76A-4E81-92EF-5CE7289975AA}" presName="hierRoot1" presStyleCnt="0"/>
      <dgm:spPr/>
    </dgm:pt>
    <dgm:pt modelId="{072E8476-252D-4CFF-A37F-C5070F60B530}" type="pres">
      <dgm:prSet presAssocID="{DC765CAB-C76A-4E81-92EF-5CE7289975AA}" presName="composite" presStyleCnt="0"/>
      <dgm:spPr/>
    </dgm:pt>
    <dgm:pt modelId="{BDDB6F1E-3CAB-4313-BFAB-64F31234B6C2}" type="pres">
      <dgm:prSet presAssocID="{DC765CAB-C76A-4E81-92EF-5CE7289975AA}" presName="background" presStyleLbl="node0" presStyleIdx="0" presStyleCnt="2"/>
      <dgm:spPr/>
    </dgm:pt>
    <dgm:pt modelId="{71AD41CB-FE0C-41D7-BC61-4BEE33441EAF}" type="pres">
      <dgm:prSet presAssocID="{DC765CAB-C76A-4E81-92EF-5CE7289975AA}" presName="text" presStyleLbl="fgAcc0" presStyleIdx="0" presStyleCnt="2">
        <dgm:presLayoutVars>
          <dgm:chPref val="3"/>
        </dgm:presLayoutVars>
      </dgm:prSet>
      <dgm:spPr/>
    </dgm:pt>
    <dgm:pt modelId="{B7402AD2-19CE-4423-830A-0733D0B0CB59}" type="pres">
      <dgm:prSet presAssocID="{DC765CAB-C76A-4E81-92EF-5CE7289975AA}" presName="hierChild2" presStyleCnt="0"/>
      <dgm:spPr/>
    </dgm:pt>
    <dgm:pt modelId="{90CE484B-A0B2-45B4-9ACC-176F5FE45987}" type="pres">
      <dgm:prSet presAssocID="{32A5AF3B-CC81-4CCA-9ED4-996D23A05F68}" presName="hierRoot1" presStyleCnt="0"/>
      <dgm:spPr/>
    </dgm:pt>
    <dgm:pt modelId="{5F6A8528-69E2-4D12-9CBC-E17757AB7C27}" type="pres">
      <dgm:prSet presAssocID="{32A5AF3B-CC81-4CCA-9ED4-996D23A05F68}" presName="composite" presStyleCnt="0"/>
      <dgm:spPr/>
    </dgm:pt>
    <dgm:pt modelId="{63CB5CBF-D42E-41D1-8D10-BEE1F6463E4E}" type="pres">
      <dgm:prSet presAssocID="{32A5AF3B-CC81-4CCA-9ED4-996D23A05F68}" presName="background" presStyleLbl="node0" presStyleIdx="1" presStyleCnt="2"/>
      <dgm:spPr/>
    </dgm:pt>
    <dgm:pt modelId="{DB1E1225-E00E-46D6-912D-8ED48F82990F}" type="pres">
      <dgm:prSet presAssocID="{32A5AF3B-CC81-4CCA-9ED4-996D23A05F68}" presName="text" presStyleLbl="fgAcc0" presStyleIdx="1" presStyleCnt="2">
        <dgm:presLayoutVars>
          <dgm:chPref val="3"/>
        </dgm:presLayoutVars>
      </dgm:prSet>
      <dgm:spPr/>
    </dgm:pt>
    <dgm:pt modelId="{C0080097-BA14-4AE8-9B7E-0183B198460F}" type="pres">
      <dgm:prSet presAssocID="{32A5AF3B-CC81-4CCA-9ED4-996D23A05F68}" presName="hierChild2" presStyleCnt="0"/>
      <dgm:spPr/>
    </dgm:pt>
  </dgm:ptLst>
  <dgm:cxnLst>
    <dgm:cxn modelId="{A8B9E143-BDE6-40BD-BAC5-F0E5E7FBDAAF}" type="presOf" srcId="{669A95BD-E9CF-4B51-A5CE-8D7887E626E5}" destId="{8FEFE712-84F4-4AE2-83A0-141A1044E8B2}" srcOrd="0" destOrd="0" presId="urn:microsoft.com/office/officeart/2005/8/layout/hierarchy1"/>
    <dgm:cxn modelId="{7EE8EA79-46D8-4AAC-9742-5C061DEB06C8}" srcId="{669A95BD-E9CF-4B51-A5CE-8D7887E626E5}" destId="{DC765CAB-C76A-4E81-92EF-5CE7289975AA}" srcOrd="0" destOrd="0" parTransId="{9E9510E2-2C81-414B-8FBE-BC665F0E1C02}" sibTransId="{D12DED37-64D3-47B4-9C7E-D5641BD39D09}"/>
    <dgm:cxn modelId="{0227008F-C9B5-4FC3-92A6-0455CB578A3E}" srcId="{669A95BD-E9CF-4B51-A5CE-8D7887E626E5}" destId="{32A5AF3B-CC81-4CCA-9ED4-996D23A05F68}" srcOrd="1" destOrd="0" parTransId="{2A5D6D0E-287C-4D77-BF58-CE16D755236E}" sibTransId="{E2B65BF2-C67C-4EA7-934B-1CDB274EF2BA}"/>
    <dgm:cxn modelId="{66E09F8F-FD1E-4E48-B88B-283F553E1D39}" type="presOf" srcId="{DC765CAB-C76A-4E81-92EF-5CE7289975AA}" destId="{71AD41CB-FE0C-41D7-BC61-4BEE33441EAF}" srcOrd="0" destOrd="0" presId="urn:microsoft.com/office/officeart/2005/8/layout/hierarchy1"/>
    <dgm:cxn modelId="{E82ABAA3-C624-40AF-A376-1C61F0EF5ECF}" type="presOf" srcId="{32A5AF3B-CC81-4CCA-9ED4-996D23A05F68}" destId="{DB1E1225-E00E-46D6-912D-8ED48F82990F}" srcOrd="0" destOrd="0" presId="urn:microsoft.com/office/officeart/2005/8/layout/hierarchy1"/>
    <dgm:cxn modelId="{51F038FA-8023-473C-A8EB-A38330BC4294}" type="presParOf" srcId="{8FEFE712-84F4-4AE2-83A0-141A1044E8B2}" destId="{34299C2E-E93C-4B9B-8F99-838CA365B804}" srcOrd="0" destOrd="0" presId="urn:microsoft.com/office/officeart/2005/8/layout/hierarchy1"/>
    <dgm:cxn modelId="{BE54AA00-D7E1-4495-BE5F-854E7A9B2E93}" type="presParOf" srcId="{34299C2E-E93C-4B9B-8F99-838CA365B804}" destId="{072E8476-252D-4CFF-A37F-C5070F60B530}" srcOrd="0" destOrd="0" presId="urn:microsoft.com/office/officeart/2005/8/layout/hierarchy1"/>
    <dgm:cxn modelId="{63D4BDF5-6B5B-4F17-9590-BFEE47DC3B7C}" type="presParOf" srcId="{072E8476-252D-4CFF-A37F-C5070F60B530}" destId="{BDDB6F1E-3CAB-4313-BFAB-64F31234B6C2}" srcOrd="0" destOrd="0" presId="urn:microsoft.com/office/officeart/2005/8/layout/hierarchy1"/>
    <dgm:cxn modelId="{2AAB27D6-61E5-4D7D-BDB4-76EC1878E623}" type="presParOf" srcId="{072E8476-252D-4CFF-A37F-C5070F60B530}" destId="{71AD41CB-FE0C-41D7-BC61-4BEE33441EAF}" srcOrd="1" destOrd="0" presId="urn:microsoft.com/office/officeart/2005/8/layout/hierarchy1"/>
    <dgm:cxn modelId="{EB7465FC-1E9A-4C9F-89C4-1BA559937DDF}" type="presParOf" srcId="{34299C2E-E93C-4B9B-8F99-838CA365B804}" destId="{B7402AD2-19CE-4423-830A-0733D0B0CB59}" srcOrd="1" destOrd="0" presId="urn:microsoft.com/office/officeart/2005/8/layout/hierarchy1"/>
    <dgm:cxn modelId="{930F1E0D-B292-4CD7-AD87-047826B5DD71}" type="presParOf" srcId="{8FEFE712-84F4-4AE2-83A0-141A1044E8B2}" destId="{90CE484B-A0B2-45B4-9ACC-176F5FE45987}" srcOrd="1" destOrd="0" presId="urn:microsoft.com/office/officeart/2005/8/layout/hierarchy1"/>
    <dgm:cxn modelId="{B919104A-400C-4AF4-ADF8-C40D1158025C}" type="presParOf" srcId="{90CE484B-A0B2-45B4-9ACC-176F5FE45987}" destId="{5F6A8528-69E2-4D12-9CBC-E17757AB7C27}" srcOrd="0" destOrd="0" presId="urn:microsoft.com/office/officeart/2005/8/layout/hierarchy1"/>
    <dgm:cxn modelId="{B600E2E1-EFB1-4BD2-A954-E66AEB597E29}" type="presParOf" srcId="{5F6A8528-69E2-4D12-9CBC-E17757AB7C27}" destId="{63CB5CBF-D42E-41D1-8D10-BEE1F6463E4E}" srcOrd="0" destOrd="0" presId="urn:microsoft.com/office/officeart/2005/8/layout/hierarchy1"/>
    <dgm:cxn modelId="{5CABD3A3-36E6-41F6-8903-F5A20CEE273F}" type="presParOf" srcId="{5F6A8528-69E2-4D12-9CBC-E17757AB7C27}" destId="{DB1E1225-E00E-46D6-912D-8ED48F82990F}" srcOrd="1" destOrd="0" presId="urn:microsoft.com/office/officeart/2005/8/layout/hierarchy1"/>
    <dgm:cxn modelId="{A187736E-8D4C-4498-AED7-CFBBAD77A49E}" type="presParOf" srcId="{90CE484B-A0B2-45B4-9ACC-176F5FE45987}" destId="{C0080097-BA14-4AE8-9B7E-0183B198460F}"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DB6F1E-3CAB-4313-BFAB-64F31234B6C2}">
      <dsp:nvSpPr>
        <dsp:cNvPr id="0" name=""/>
        <dsp:cNvSpPr/>
      </dsp:nvSpPr>
      <dsp:spPr>
        <a:xfrm>
          <a:off x="1324" y="454667"/>
          <a:ext cx="4647866" cy="2951395"/>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71AD41CB-FE0C-41D7-BC61-4BEE33441EAF}">
      <dsp:nvSpPr>
        <dsp:cNvPr id="0" name=""/>
        <dsp:cNvSpPr/>
      </dsp:nvSpPr>
      <dsp:spPr>
        <a:xfrm>
          <a:off x="517753" y="945275"/>
          <a:ext cx="4647866" cy="295139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The indicators guide future adaptation efforts by assessing advancement towards the targets rather than comparing against past baselines</a:t>
          </a:r>
        </a:p>
      </dsp:txBody>
      <dsp:txXfrm>
        <a:off x="604196" y="1031718"/>
        <a:ext cx="4474980" cy="2778509"/>
      </dsp:txXfrm>
    </dsp:sp>
    <dsp:sp modelId="{63CB5CBF-D42E-41D1-8D10-BEE1F6463E4E}">
      <dsp:nvSpPr>
        <dsp:cNvPr id="0" name=""/>
        <dsp:cNvSpPr/>
      </dsp:nvSpPr>
      <dsp:spPr>
        <a:xfrm>
          <a:off x="5682049" y="454667"/>
          <a:ext cx="4647866" cy="2951395"/>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DB1E1225-E00E-46D6-912D-8ED48F82990F}">
      <dsp:nvSpPr>
        <dsp:cNvPr id="0" name=""/>
        <dsp:cNvSpPr/>
      </dsp:nvSpPr>
      <dsp:spPr>
        <a:xfrm>
          <a:off x="6198479" y="945275"/>
          <a:ext cx="4647866" cy="295139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The indicators measuring levels or progress use, as a reference point, the optimal scenario identified by each Party, representing the level of resilience and adaptive capacity required to achieve the target.</a:t>
          </a:r>
        </a:p>
      </dsp:txBody>
      <dsp:txXfrm>
        <a:off x="6284922" y="1031718"/>
        <a:ext cx="4474980" cy="277850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D607AAD2-C4C1-40C2-BA91-D7A9BB782381}" type="datetimeFigureOut">
              <a:rPr lang="en-US" smtClean="0"/>
              <a:t>21/4/2026</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87B0F6CF-B907-4AEA-8A08-3085D5740690}" type="slidenum">
              <a:rPr lang="en-US" smtClean="0"/>
              <a:t>‹#›</a:t>
            </a:fld>
            <a:endParaRPr lang="en-US"/>
          </a:p>
        </p:txBody>
      </p:sp>
    </p:spTree>
    <p:extLst>
      <p:ext uri="{BB962C8B-B14F-4D97-AF65-F5344CB8AC3E}">
        <p14:creationId xmlns:p14="http://schemas.microsoft.com/office/powerpoint/2010/main" val="2564573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276C60-FD55-1F4B-B0A5-BAEC9CA93C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DB0097-1E08-801C-575C-1E7D962253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5F485D-6DA3-F190-17B4-B170AD1D8931}"/>
              </a:ext>
            </a:extLst>
          </p:cNvPr>
          <p:cNvSpPr>
            <a:spLocks noGrp="1"/>
          </p:cNvSpPr>
          <p:nvPr>
            <p:ph type="body" idx="1"/>
          </p:nvPr>
        </p:nvSpPr>
        <p:spPr/>
        <p:txBody>
          <a:bodyPr/>
          <a:lstStyle/>
          <a:p>
            <a:endParaRPr lang="fr-FR" sz="5400" dirty="0">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7EB77AF4-E022-FA71-B062-BC66312E2E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941380-A1C4-400E-B2AA-1B5EF5004A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3716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MPLEMENTATION</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priority now is operationalization.  </a:t>
            </a:r>
          </a:p>
          <a:p>
            <a:r>
              <a:rPr lang="en-US" sz="1200" kern="1200" dirty="0">
                <a:solidFill>
                  <a:schemeClr val="tx1"/>
                </a:solidFill>
                <a:effectLst/>
                <a:latin typeface="+mn-lt"/>
                <a:ea typeface="+mn-ea"/>
                <a:cs typeface="+mn-cs"/>
              </a:rPr>
              <a:t>This includes testing indicators, strengthening national systems, and aligning finance, technology, and capacity-building.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Belém–Addis Vision and ongoing work will refine methodologies and support countrie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Key message: The next phase is about turning frameworks into real resilience gains.</a:t>
            </a:r>
          </a:p>
          <a:p>
            <a:r>
              <a:rPr lang="en-US" sz="1200" kern="120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5"/>
          </p:nvPr>
        </p:nvSpPr>
        <p:spPr/>
        <p:txBody>
          <a:bodyPr/>
          <a:lstStyle/>
          <a:p>
            <a:fld id="{87B0F6CF-B907-4AEA-8A08-3085D5740690}" type="slidenum">
              <a:rPr lang="en-US" smtClean="0"/>
              <a:t>13</a:t>
            </a:fld>
            <a:endParaRPr lang="en-US"/>
          </a:p>
        </p:txBody>
      </p:sp>
    </p:spTree>
    <p:extLst>
      <p:ext uri="{BB962C8B-B14F-4D97-AF65-F5344CB8AC3E}">
        <p14:creationId xmlns:p14="http://schemas.microsoft.com/office/powerpoint/2010/main" val="41768573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B0F6CF-B907-4AEA-8A08-3085D5740690}" type="slidenum">
              <a:rPr lang="en-US" smtClean="0"/>
              <a:t>14</a:t>
            </a:fld>
            <a:endParaRPr lang="en-US"/>
          </a:p>
        </p:txBody>
      </p:sp>
    </p:spTree>
    <p:extLst>
      <p:ext uri="{BB962C8B-B14F-4D97-AF65-F5344CB8AC3E}">
        <p14:creationId xmlns:p14="http://schemas.microsoft.com/office/powerpoint/2010/main" val="3424321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PENING</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Good afternoon, distinguished colleagues.  </a:t>
            </a:r>
          </a:p>
          <a:p>
            <a:r>
              <a:rPr lang="en-US" sz="1200" kern="1200" dirty="0">
                <a:solidFill>
                  <a:schemeClr val="tx1"/>
                </a:solidFill>
                <a:effectLst/>
                <a:latin typeface="+mn-lt"/>
                <a:ea typeface="+mn-ea"/>
                <a:cs typeface="+mn-cs"/>
              </a:rPr>
              <a:t>It is a pleasure to present key highlights of the work of the Least Developed Countries Expert Group in advancing adaptation.  </a:t>
            </a:r>
          </a:p>
          <a:p>
            <a:r>
              <a:rPr lang="en-US" sz="1200" kern="1200" dirty="0">
                <a:solidFill>
                  <a:schemeClr val="tx1"/>
                </a:solidFill>
                <a:effectLst/>
                <a:latin typeface="+mn-lt"/>
                <a:ea typeface="+mn-ea"/>
                <a:cs typeface="+mn-cs"/>
              </a:rPr>
              <a:t>I will focus on three elements: the evolution of the adaptation architecture, the Global Goal on Adaptation, and what this means for implementation moving forward.</a:t>
            </a:r>
          </a:p>
          <a:p>
            <a:r>
              <a:rPr lang="en-US" sz="1200" kern="1200" dirty="0">
                <a:solidFill>
                  <a:schemeClr val="tx1"/>
                </a:solidFill>
                <a:effectLst/>
                <a:latin typeface="+mn-lt"/>
                <a:ea typeface="+mn-ea"/>
                <a:cs typeface="+mn-cs"/>
              </a:rPr>
              <a:t> </a:t>
            </a:r>
          </a:p>
          <a:p>
            <a:endParaRPr lang="fr-FR" sz="5400"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941380-A1C4-400E-B2AA-1B5EF5004A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3705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don’t have </a:t>
            </a:r>
            <a:r>
              <a:rPr lang="en-US" dirty="0" err="1"/>
              <a:t>t</a:t>
            </a:r>
            <a:r>
              <a:rPr lang="en-US" sz="1200" kern="1200" dirty="0" err="1">
                <a:solidFill>
                  <a:schemeClr val="tx1"/>
                </a:solidFill>
                <a:effectLst/>
                <a:latin typeface="+mn-lt"/>
                <a:ea typeface="+mn-ea"/>
                <a:cs typeface="+mn-cs"/>
              </a:rPr>
              <a:t>EVOLUTION</a:t>
            </a:r>
            <a:r>
              <a:rPr lang="en-US" sz="1200" kern="1200" dirty="0">
                <a:solidFill>
                  <a:schemeClr val="tx1"/>
                </a:solidFill>
                <a:effectLst/>
                <a:latin typeface="+mn-lt"/>
                <a:ea typeface="+mn-ea"/>
                <a:cs typeface="+mn-cs"/>
              </a:rPr>
              <a:t> OF THE ADAPTATION ARCHITECTURE</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daptation under the UNFCCC has evolved significantly over three decades.  </a:t>
            </a:r>
          </a:p>
          <a:p>
            <a:r>
              <a:rPr lang="en-US" sz="1200" kern="1200" dirty="0">
                <a:solidFill>
                  <a:schemeClr val="tx1"/>
                </a:solidFill>
                <a:effectLst/>
                <a:latin typeface="+mn-lt"/>
                <a:ea typeface="+mn-ea"/>
                <a:cs typeface="+mn-cs"/>
              </a:rPr>
              <a:t>In the early phase, the focus was understanding risks and vulnerabilities, with limited institutional support.  </a:t>
            </a:r>
          </a:p>
          <a:p>
            <a:r>
              <a:rPr lang="en-US" sz="1200" kern="1200" dirty="0">
                <a:solidFill>
                  <a:schemeClr val="tx1"/>
                </a:solidFill>
                <a:effectLst/>
                <a:latin typeface="+mn-lt"/>
                <a:ea typeface="+mn-ea"/>
                <a:cs typeface="+mn-cs"/>
              </a:rPr>
              <a:t>This transitioned into planning and pilot implementation, including the establishment of funds and support mechanisms for LDCs.  </a:t>
            </a:r>
          </a:p>
          <a:p>
            <a:r>
              <a:rPr lang="en-US" sz="1200" kern="1200" dirty="0">
                <a:solidFill>
                  <a:schemeClr val="tx1"/>
                </a:solidFill>
                <a:effectLst/>
                <a:latin typeface="+mn-lt"/>
                <a:ea typeface="+mn-ea"/>
                <a:cs typeface="+mn-cs"/>
              </a:rPr>
              <a:t>From 2010 onwards, a more structured system emerged, including National Adaptation Plans and constituted bodies.  </a:t>
            </a:r>
          </a:p>
          <a:p>
            <a:r>
              <a:rPr lang="en-US" sz="1200" kern="1200" dirty="0">
                <a:solidFill>
                  <a:schemeClr val="tx1"/>
                </a:solidFill>
                <a:effectLst/>
                <a:latin typeface="+mn-lt"/>
                <a:ea typeface="+mn-ea"/>
                <a:cs typeface="+mn-cs"/>
              </a:rPr>
              <a:t>Today, under the Paris Agreement, we have a comprehensive and forward-looking framework anchored in the Global Goal on Adaptation, with a strong emphasis on implementation, finance, and measurable progres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Key message: We have moved from assessing risk to planning to full-scale implementation and accountability.</a:t>
            </a:r>
          </a:p>
          <a:p>
            <a:r>
              <a:rPr lang="en-US" dirty="0"/>
              <a:t>o go into a lot of detail here, but it is useful for giving the full picture/histor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D4D953-427E-40C5-9ED0-013AB67C442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073215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136CD-3463-E5D7-8ABC-7F07C8634D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B2997E-3ECB-3CE0-C3A9-B5DB204655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B67A20-16AE-3F85-1BB9-610E93E64789}"/>
              </a:ext>
            </a:extLst>
          </p:cNvPr>
          <p:cNvSpPr>
            <a:spLocks noGrp="1"/>
          </p:cNvSpPr>
          <p:nvPr>
            <p:ph type="body" idx="1"/>
          </p:nvPr>
        </p:nvSpPr>
        <p:spPr/>
        <p:txBody>
          <a:bodyPr/>
          <a:lstStyle/>
          <a:p>
            <a:r>
              <a:rPr lang="en-US" sz="1200" kern="1200" dirty="0">
                <a:solidFill>
                  <a:schemeClr val="tx1"/>
                </a:solidFill>
                <a:effectLst/>
                <a:latin typeface="+mn-lt"/>
                <a:ea typeface="+mn-ea"/>
                <a:cs typeface="+mn-cs"/>
              </a:rPr>
              <a:t>CURRENT ADAPTATION ARCHITECTURE</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current system is multi-layered and interconnected.  </a:t>
            </a:r>
          </a:p>
          <a:p>
            <a:r>
              <a:rPr lang="en-US" sz="1200" kern="1200" dirty="0">
                <a:solidFill>
                  <a:schemeClr val="tx1"/>
                </a:solidFill>
                <a:effectLst/>
                <a:latin typeface="+mn-lt"/>
                <a:ea typeface="+mn-ea"/>
                <a:cs typeface="+mn-cs"/>
              </a:rPr>
              <a:t>It combines global guidance, national systems, finance and means of implementation, and actors across all level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t the center is the National Adaptation Plan, which translates global goals into national action, links science, policy, and investment, and aligns reporting instrument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Key message: The system is in place—what matters now is coherence and delivery.</a:t>
            </a:r>
          </a:p>
          <a:p>
            <a:r>
              <a:rPr lang="en-US" sz="1200" kern="1200" dirty="0">
                <a:solidFill>
                  <a:schemeClr val="tx1"/>
                </a:solidFill>
                <a:effectLst/>
                <a:latin typeface="+mn-lt"/>
                <a:ea typeface="+mn-ea"/>
                <a:cs typeface="+mn-cs"/>
              </a:rPr>
              <a:t> </a:t>
            </a:r>
          </a:p>
        </p:txBody>
      </p:sp>
      <p:sp>
        <p:nvSpPr>
          <p:cNvPr id="4" name="Slide Number Placeholder 3">
            <a:extLst>
              <a:ext uri="{FF2B5EF4-FFF2-40B4-BE49-F238E27FC236}">
                <a16:creationId xmlns:a16="http://schemas.microsoft.com/office/drawing/2014/main" id="{B99F61CF-99C5-8680-DD1F-2B87289923F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D4D953-427E-40C5-9ED0-013AB67C442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91465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GLOBAL GOAL ON ADAPTATION</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Global Goal on Adaptation provides a shared global direction.  </a:t>
            </a:r>
          </a:p>
          <a:p>
            <a:r>
              <a:rPr lang="en-US" sz="1200" kern="1200" dirty="0">
                <a:solidFill>
                  <a:schemeClr val="tx1"/>
                </a:solidFill>
                <a:effectLst/>
                <a:latin typeface="+mn-lt"/>
                <a:ea typeface="+mn-ea"/>
                <a:cs typeface="+mn-cs"/>
              </a:rPr>
              <a:t>It focuses on enhancing adaptive capacity, strengthening resilience, and reducing vulnerability.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Recent decisions have operationalized this goal through the UAE Framework, the Baku Adaptation Roadmap, and the Belém Adaptation Indicator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Key message: For the first time, adaptation has a measurable global framework.</a:t>
            </a:r>
          </a:p>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D4D953-427E-40C5-9ED0-013AB67C442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546559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UAE FRAMEWORK</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framework translates the GGA into actionable structure through seven thematic targets: water, food, health, ecosystems, infrastructure, livelihoods, and cultural heritage.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t also includes four dimensions: risk assessment, planning, implementation, and monitoring, evaluation and learning.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t integrates cross-cutting principles such as gender, inclusion, and Indigenous knowledge.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Key message: This is a common language for global adaptation action.</a:t>
            </a:r>
          </a:p>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5"/>
          </p:nvPr>
        </p:nvSpPr>
        <p:spPr/>
        <p:txBody>
          <a:bodyPr/>
          <a:lstStyle/>
          <a:p>
            <a:fld id="{87B0F6CF-B907-4AEA-8A08-3085D5740690}" type="slidenum">
              <a:rPr lang="en-US" smtClean="0"/>
              <a:t>8</a:t>
            </a:fld>
            <a:endParaRPr lang="en-US"/>
          </a:p>
        </p:txBody>
      </p:sp>
    </p:spTree>
    <p:extLst>
      <p:ext uri="{BB962C8B-B14F-4D97-AF65-F5344CB8AC3E}">
        <p14:creationId xmlns:p14="http://schemas.microsoft.com/office/powerpoint/2010/main" val="6346890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ARGETS AND INDICATOR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adoption of 59 Belém Adaptation Indicators marks a major milestone.  </a:t>
            </a:r>
          </a:p>
          <a:p>
            <a:r>
              <a:rPr lang="en-US" sz="1200" kern="1200" dirty="0">
                <a:solidFill>
                  <a:schemeClr val="tx1"/>
                </a:solidFill>
                <a:effectLst/>
                <a:latin typeface="+mn-lt"/>
                <a:ea typeface="+mn-ea"/>
                <a:cs typeface="+mn-cs"/>
              </a:rPr>
              <a:t>These indicators shift the focus toward progress on resilience outcome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y are voluntary, non-prescriptive, and respect national sovereignty.  </a:t>
            </a:r>
          </a:p>
          <a:p>
            <a:r>
              <a:rPr lang="en-US" sz="1200" kern="1200" dirty="0">
                <a:solidFill>
                  <a:schemeClr val="tx1"/>
                </a:solidFill>
                <a:effectLst/>
                <a:latin typeface="+mn-lt"/>
                <a:ea typeface="+mn-ea"/>
                <a:cs typeface="+mn-cs"/>
              </a:rPr>
              <a:t>They are not for ranking countries and are not linked to access to finance.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Key message: We are building trust-based measurement, not compliance-driven reporting.</a:t>
            </a:r>
          </a:p>
          <a:p>
            <a:r>
              <a:rPr lang="en-US"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87B0F6CF-B907-4AEA-8A08-3085D5740690}" type="slidenum">
              <a:rPr lang="en-US" smtClean="0"/>
              <a:t>10</a:t>
            </a:fld>
            <a:endParaRPr lang="en-US"/>
          </a:p>
        </p:txBody>
      </p:sp>
    </p:spTree>
    <p:extLst>
      <p:ext uri="{BB962C8B-B14F-4D97-AF65-F5344CB8AC3E}">
        <p14:creationId xmlns:p14="http://schemas.microsoft.com/office/powerpoint/2010/main" val="9118641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D4D953-427E-40C5-9ED0-013AB67C442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743947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ARGETS AND INDICATOR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adoption of 59 Belém Adaptation Indicators marks a major milestone.  </a:t>
            </a:r>
          </a:p>
          <a:p>
            <a:r>
              <a:rPr lang="en-US" sz="1200" kern="1200" dirty="0">
                <a:solidFill>
                  <a:schemeClr val="tx1"/>
                </a:solidFill>
                <a:effectLst/>
                <a:latin typeface="+mn-lt"/>
                <a:ea typeface="+mn-ea"/>
                <a:cs typeface="+mn-cs"/>
              </a:rPr>
              <a:t>These indicators shift the focus toward progress on resilience outcome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y are voluntary, non-prescriptive, and respect national sovereignty.  </a:t>
            </a:r>
          </a:p>
          <a:p>
            <a:r>
              <a:rPr lang="en-US" sz="1200" kern="1200" dirty="0">
                <a:solidFill>
                  <a:schemeClr val="tx1"/>
                </a:solidFill>
                <a:effectLst/>
                <a:latin typeface="+mn-lt"/>
                <a:ea typeface="+mn-ea"/>
                <a:cs typeface="+mn-cs"/>
              </a:rPr>
              <a:t>They are not for ranking countries and are not linked to access to finance.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Key message: We are building trust-based measurement, not compliance</a:t>
            </a:r>
            <a:endParaRPr lang="en-US" dirty="0"/>
          </a:p>
        </p:txBody>
      </p:sp>
      <p:sp>
        <p:nvSpPr>
          <p:cNvPr id="4" name="Slide Number Placeholder 3"/>
          <p:cNvSpPr>
            <a:spLocks noGrp="1"/>
          </p:cNvSpPr>
          <p:nvPr>
            <p:ph type="sldNum" sz="quarter" idx="5"/>
          </p:nvPr>
        </p:nvSpPr>
        <p:spPr/>
        <p:txBody>
          <a:bodyPr/>
          <a:lstStyle/>
          <a:p>
            <a:fld id="{87B0F6CF-B907-4AEA-8A08-3085D5740690}" type="slidenum">
              <a:rPr lang="en-US" smtClean="0"/>
              <a:t>12</a:t>
            </a:fld>
            <a:endParaRPr lang="en-US"/>
          </a:p>
        </p:txBody>
      </p:sp>
    </p:spTree>
    <p:extLst>
      <p:ext uri="{BB962C8B-B14F-4D97-AF65-F5344CB8AC3E}">
        <p14:creationId xmlns:p14="http://schemas.microsoft.com/office/powerpoint/2010/main" val="37146584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12E0C-6518-4F5C-AC94-F66463D836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5270F90A-C867-4723-A104-9C61647C51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5" name="Footer Placeholder 4">
            <a:extLst>
              <a:ext uri="{FF2B5EF4-FFF2-40B4-BE49-F238E27FC236}">
                <a16:creationId xmlns:a16="http://schemas.microsoft.com/office/drawing/2014/main" id="{767AC275-094C-4046-84E6-D7DDC275BD4D}"/>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AF40B882-E32E-4C31-9E17-49684C4A702D}"/>
              </a:ext>
            </a:extLst>
          </p:cNvPr>
          <p:cNvSpPr>
            <a:spLocks noGrp="1"/>
          </p:cNvSpPr>
          <p:nvPr>
            <p:ph type="sldNum" sz="quarter" idx="12"/>
          </p:nvPr>
        </p:nvSpPr>
        <p:spPr>
          <a:xfrm>
            <a:off x="228600" y="6208241"/>
            <a:ext cx="273844" cy="153888"/>
          </a:xfrm>
          <a:prstGeom prst="rect">
            <a:avLst/>
          </a:prstGeom>
        </p:spPr>
        <p:txBody>
          <a:bodyPr lIns="0" tIns="0" rIns="0" bIns="0"/>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26615495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C9ACB163-ABAC-45DD-B0EB-CDB0D8ED59F2}"/>
              </a:ext>
            </a:extLst>
          </p:cNvPr>
          <p:cNvGraphicFramePr>
            <a:graphicFrameLocks noChangeAspect="1"/>
          </p:cNvGraphicFramePr>
          <p:nvPr userDrawn="1">
            <p:custDataLst>
              <p:tags r:id="rId1"/>
            </p:custDataLst>
            <p:extLst>
              <p:ext uri="{D42A27DB-BD31-4B8C-83A1-F6EECF244321}">
                <p14:modId xmlns:p14="http://schemas.microsoft.com/office/powerpoint/2010/main" val="88715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2" imgH="362" progId="TCLayout.ActiveDocument.1">
                  <p:embed/>
                </p:oleObj>
              </mc:Choice>
              <mc:Fallback>
                <p:oleObj name="think-cell Slide" r:id="rId3" imgW="362" imgH="362" progId="TCLayout.ActiveDocument.1">
                  <p:embed/>
                  <p:pic>
                    <p:nvPicPr>
                      <p:cNvPr id="19" name="Object 18" hidden="1">
                        <a:extLst>
                          <a:ext uri="{FF2B5EF4-FFF2-40B4-BE49-F238E27FC236}">
                            <a16:creationId xmlns:a16="http://schemas.microsoft.com/office/drawing/2014/main" id="{C9ACB163-ABAC-45DD-B0EB-CDB0D8ED59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8017989B-2C2C-479F-96DC-114FB5076B40}"/>
              </a:ext>
            </a:extLst>
          </p:cNvPr>
          <p:cNvSpPr>
            <a:spLocks noGrp="1"/>
          </p:cNvSpPr>
          <p:nvPr>
            <p:ph type="ftr" sz="quarter" idx="11"/>
          </p:nvPr>
        </p:nvSpPr>
        <p:spPr/>
        <p:txBody>
          <a:bodyPr/>
          <a:lstStyle/>
          <a:p>
            <a:endParaRPr lang="en-ID"/>
          </a:p>
        </p:txBody>
      </p:sp>
      <p:sp>
        <p:nvSpPr>
          <p:cNvPr id="12" name="Rectangle 11">
            <a:extLst>
              <a:ext uri="{FF2B5EF4-FFF2-40B4-BE49-F238E27FC236}">
                <a16:creationId xmlns:a16="http://schemas.microsoft.com/office/drawing/2014/main" id="{12395A42-A1A5-47EA-9089-F9630BE62F15}"/>
              </a:ext>
            </a:extLst>
          </p:cNvPr>
          <p:cNvSpPr/>
          <p:nvPr userDrawn="1"/>
        </p:nvSpPr>
        <p:spPr>
          <a:xfrm>
            <a:off x="-1" y="0"/>
            <a:ext cx="724619" cy="6858000"/>
          </a:xfrm>
          <a:prstGeom prst="rect">
            <a:avLst/>
          </a:prstGeom>
          <a:gradFill>
            <a:gsLst>
              <a:gs pos="0">
                <a:schemeClr val="accent1"/>
              </a:gs>
              <a:gs pos="100000">
                <a:schemeClr val="accent1">
                  <a:lumMod val="50000"/>
                </a:schemeClr>
              </a:gs>
            </a:gsLst>
            <a:lin ang="5400000" scaled="1"/>
          </a:gradFill>
          <a:ln>
            <a:noFill/>
          </a:ln>
        </p:spPr>
        <p:txBody>
          <a:bodyPr spcFirstLastPara="1" wrap="square" lIns="91425" tIns="45700" rIns="91425" bIns="45700" anchor="ctr" anchorCtr="0">
            <a:noAutofit/>
          </a:bodyPr>
          <a:lstStyle/>
          <a:p>
            <a:pPr marR="0" lvl="0" indent="0" algn="ctr" fontAlgn="auto">
              <a:lnSpc>
                <a:spcPct val="100000"/>
              </a:lnSpc>
              <a:spcBef>
                <a:spcPts val="0"/>
              </a:spcBef>
              <a:spcAft>
                <a:spcPts val="0"/>
              </a:spcAft>
              <a:buClr>
                <a:srgbClr val="FFFFFF"/>
              </a:buClr>
              <a:buSzPts val="1800"/>
              <a:buFont typeface="Arial"/>
              <a:buNone/>
              <a:tabLst/>
            </a:pPr>
            <a:endParaRPr kumimoji="0" lang="en-US" b="0" i="0" u="none" strike="noStrike" kern="0" cap="none" spc="0" normalizeH="0" baseline="0">
              <a:ln>
                <a:noFill/>
              </a:ln>
              <a:solidFill>
                <a:srgbClr val="FFFFFF"/>
              </a:solidFill>
              <a:effectLst/>
              <a:uLnTx/>
              <a:uFillTx/>
              <a:latin typeface="Arial"/>
              <a:cs typeface="Arial"/>
            </a:endParaRPr>
          </a:p>
        </p:txBody>
      </p:sp>
      <p:cxnSp>
        <p:nvCxnSpPr>
          <p:cNvPr id="13" name="Straight Connector 12">
            <a:extLst>
              <a:ext uri="{FF2B5EF4-FFF2-40B4-BE49-F238E27FC236}">
                <a16:creationId xmlns:a16="http://schemas.microsoft.com/office/drawing/2014/main" id="{87CB78DA-CE59-4A78-A838-844CCFA3AD5B}"/>
              </a:ext>
            </a:extLst>
          </p:cNvPr>
          <p:cNvCxnSpPr>
            <a:cxnSpLocks/>
          </p:cNvCxnSpPr>
          <p:nvPr userDrawn="1"/>
        </p:nvCxnSpPr>
        <p:spPr>
          <a:xfrm flipV="1">
            <a:off x="361438" y="1369847"/>
            <a:ext cx="0" cy="4351338"/>
          </a:xfrm>
          <a:prstGeom prst="line">
            <a:avLst/>
          </a:prstGeom>
          <a:ln>
            <a:solidFill>
              <a:schemeClr val="bg1">
                <a:alpha val="24000"/>
              </a:schemeClr>
            </a:solidFill>
            <a:headEnd type="oval"/>
          </a:ln>
        </p:spPr>
        <p:style>
          <a:lnRef idx="1">
            <a:schemeClr val="accent1"/>
          </a:lnRef>
          <a:fillRef idx="0">
            <a:schemeClr val="accent1"/>
          </a:fillRef>
          <a:effectRef idx="0">
            <a:schemeClr val="accent1"/>
          </a:effectRef>
          <a:fontRef idx="minor">
            <a:schemeClr val="tx1"/>
          </a:fontRef>
        </p:style>
      </p:cxnSp>
      <p:pic>
        <p:nvPicPr>
          <p:cNvPr id="14" name="Picture 13" descr="Text&#10;&#10;Description automatically generated with medium confidence">
            <a:extLst>
              <a:ext uri="{FF2B5EF4-FFF2-40B4-BE49-F238E27FC236}">
                <a16:creationId xmlns:a16="http://schemas.microsoft.com/office/drawing/2014/main" id="{AD360839-8D00-4BF8-B8EA-F31DE6B0DABB}"/>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62058"/>
          <a:stretch/>
        </p:blipFill>
        <p:spPr>
          <a:xfrm>
            <a:off x="158134" y="502959"/>
            <a:ext cx="408348" cy="319643"/>
          </a:xfrm>
          <a:prstGeom prst="rect">
            <a:avLst/>
          </a:prstGeom>
        </p:spPr>
      </p:pic>
      <p:pic>
        <p:nvPicPr>
          <p:cNvPr id="15" name="Picture 14" descr="Text&#10;&#10;Description automatically generated with medium confidence">
            <a:extLst>
              <a:ext uri="{FF2B5EF4-FFF2-40B4-BE49-F238E27FC236}">
                <a16:creationId xmlns:a16="http://schemas.microsoft.com/office/drawing/2014/main" id="{99D8231A-AA75-459A-956A-80889E1D309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0146"/>
          <a:stretch/>
        </p:blipFill>
        <p:spPr>
          <a:xfrm>
            <a:off x="171735" y="863448"/>
            <a:ext cx="381147" cy="227065"/>
          </a:xfrm>
          <a:prstGeom prst="rect">
            <a:avLst/>
          </a:prstGeom>
        </p:spPr>
      </p:pic>
      <p:pic>
        <p:nvPicPr>
          <p:cNvPr id="16" name="Picture 15" descr="Text&#10;&#10;Description automatically generated with medium confidence">
            <a:extLst>
              <a:ext uri="{FF2B5EF4-FFF2-40B4-BE49-F238E27FC236}">
                <a16:creationId xmlns:a16="http://schemas.microsoft.com/office/drawing/2014/main" id="{025536CA-4076-4419-B3AE-563EFC333B3F}"/>
              </a:ext>
            </a:extLst>
          </p:cNvPr>
          <p:cNvPicPr>
            <a:picLocks noChangeAspect="1"/>
          </p:cNvPicPr>
          <p:nvPr userDrawn="1"/>
        </p:nvPicPr>
        <p:blipFill rotWithShape="1">
          <a:blip r:embed="rId5" cstate="email">
            <a:alphaModFix amt="9000"/>
            <a:extLst>
              <a:ext uri="{28A0092B-C50C-407E-A947-70E740481C1C}">
                <a14:useLocalDpi xmlns:a14="http://schemas.microsoft.com/office/drawing/2010/main"/>
              </a:ext>
            </a:extLst>
          </a:blip>
          <a:srcRect r="81029"/>
          <a:stretch/>
        </p:blipFill>
        <p:spPr>
          <a:xfrm>
            <a:off x="96431" y="5753883"/>
            <a:ext cx="628186" cy="983450"/>
          </a:xfrm>
          <a:prstGeom prst="rect">
            <a:avLst/>
          </a:prstGeom>
        </p:spPr>
      </p:pic>
      <p:sp>
        <p:nvSpPr>
          <p:cNvPr id="17" name="Rectangle 16">
            <a:extLst>
              <a:ext uri="{FF2B5EF4-FFF2-40B4-BE49-F238E27FC236}">
                <a16:creationId xmlns:a16="http://schemas.microsoft.com/office/drawing/2014/main" id="{D0D539DC-97CB-43BC-A0A9-342A385C7583}"/>
              </a:ext>
            </a:extLst>
          </p:cNvPr>
          <p:cNvSpPr/>
          <p:nvPr userDrawn="1"/>
        </p:nvSpPr>
        <p:spPr>
          <a:xfrm>
            <a:off x="228600" y="6148263"/>
            <a:ext cx="273844" cy="273844"/>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E432CC67-CCD9-4237-BAA4-9FDE61F1A202}"/>
              </a:ext>
            </a:extLst>
          </p:cNvPr>
          <p:cNvSpPr>
            <a:spLocks noGrp="1"/>
          </p:cNvSpPr>
          <p:nvPr>
            <p:ph type="sldNum" sz="quarter" idx="12"/>
          </p:nvPr>
        </p:nvSpPr>
        <p:spPr>
          <a:xfrm>
            <a:off x="228600" y="6208241"/>
            <a:ext cx="273844" cy="153888"/>
          </a:xfrm>
          <a:prstGeom prst="rect">
            <a:avLst/>
          </a:prstGeom>
        </p:spPr>
        <p:txBody>
          <a:bodyPr lIns="0" tIns="0" rIns="0" bIns="0"/>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7682794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12E0C-6518-4F5C-AC94-F66463D836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5270F90A-C867-4723-A104-9C61647C51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5" name="Footer Placeholder 4">
            <a:extLst>
              <a:ext uri="{FF2B5EF4-FFF2-40B4-BE49-F238E27FC236}">
                <a16:creationId xmlns:a16="http://schemas.microsoft.com/office/drawing/2014/main" id="{767AC275-094C-4046-84E6-D7DDC275BD4D}"/>
              </a:ext>
            </a:extLst>
          </p:cNvPr>
          <p:cNvSpPr>
            <a:spLocks noGrp="1"/>
          </p:cNvSpPr>
          <p:nvPr>
            <p:ph type="ftr" sz="quarter" idx="11"/>
          </p:nvPr>
        </p:nvSpPr>
        <p:spPr/>
        <p:txBody>
          <a:bodyPr/>
          <a:lstStyle/>
          <a:p>
            <a:r>
              <a:rPr lang="en-US"/>
              <a:t>LEG - Least Developed Countries Expert Group</a:t>
            </a:r>
            <a:endParaRPr lang="en-ID"/>
          </a:p>
        </p:txBody>
      </p:sp>
      <p:sp>
        <p:nvSpPr>
          <p:cNvPr id="6" name="Slide Number Placeholder 5">
            <a:extLst>
              <a:ext uri="{FF2B5EF4-FFF2-40B4-BE49-F238E27FC236}">
                <a16:creationId xmlns:a16="http://schemas.microsoft.com/office/drawing/2014/main" id="{AF40B882-E32E-4C31-9E17-49684C4A702D}"/>
              </a:ext>
            </a:extLst>
          </p:cNvPr>
          <p:cNvSpPr>
            <a:spLocks noGrp="1"/>
          </p:cNvSpPr>
          <p:nvPr>
            <p:ph type="sldNum" sz="quarter" idx="12"/>
          </p:nvPr>
        </p:nvSpPr>
        <p:spPr>
          <a:xfrm>
            <a:off x="228600" y="6208241"/>
            <a:ext cx="273844" cy="153888"/>
          </a:xfrm>
          <a:prstGeom prst="rect">
            <a:avLst/>
          </a:prstGeom>
        </p:spPr>
        <p:txBody>
          <a:bodyPr lIns="0" tIns="0" rIns="0" bIns="0"/>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2609766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7" name="Object 66" hidden="1">
            <a:extLst>
              <a:ext uri="{FF2B5EF4-FFF2-40B4-BE49-F238E27FC236}">
                <a16:creationId xmlns:a16="http://schemas.microsoft.com/office/drawing/2014/main" id="{32452EC7-0E2F-437B-B5C1-C2826D32A44F}"/>
              </a:ext>
            </a:extLst>
          </p:cNvPr>
          <p:cNvGraphicFramePr>
            <a:graphicFrameLocks noChangeAspect="1"/>
          </p:cNvGraphicFramePr>
          <p:nvPr userDrawn="1">
            <p:custDataLst>
              <p:tags r:id="rId1"/>
            </p:custDataLst>
            <p:extLst>
              <p:ext uri="{D42A27DB-BD31-4B8C-83A1-F6EECF244321}">
                <p14:modId xmlns:p14="http://schemas.microsoft.com/office/powerpoint/2010/main" val="3385931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2" imgH="362" progId="TCLayout.ActiveDocument.1">
                  <p:embed/>
                </p:oleObj>
              </mc:Choice>
              <mc:Fallback>
                <p:oleObj name="think-cell Slide" r:id="rId3" imgW="362" imgH="362" progId="TCLayout.ActiveDocument.1">
                  <p:embed/>
                  <p:pic>
                    <p:nvPicPr>
                      <p:cNvPr id="67" name="Object 66" hidden="1">
                        <a:extLst>
                          <a:ext uri="{FF2B5EF4-FFF2-40B4-BE49-F238E27FC236}">
                            <a16:creationId xmlns:a16="http://schemas.microsoft.com/office/drawing/2014/main" id="{32452EC7-0E2F-437B-B5C1-C2826D32A4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FCF59F-F2C4-4E70-8F37-0A81B38DD8A8}"/>
              </a:ext>
            </a:extLst>
          </p:cNvPr>
          <p:cNvSpPr>
            <a:spLocks noGrp="1"/>
          </p:cNvSpPr>
          <p:nvPr>
            <p:ph type="title"/>
          </p:nvPr>
        </p:nvSpPr>
        <p:spPr/>
        <p:txBody>
          <a:bodyPr vert="horz" wrap="square"/>
          <a:lstStyle/>
          <a:p>
            <a:r>
              <a:rPr lang="en-US"/>
              <a:t>Click to edit Master title style</a:t>
            </a:r>
            <a:endParaRPr lang="en-ID"/>
          </a:p>
        </p:txBody>
      </p:sp>
      <p:sp>
        <p:nvSpPr>
          <p:cNvPr id="3" name="Content Placeholder 2">
            <a:extLst>
              <a:ext uri="{FF2B5EF4-FFF2-40B4-BE49-F238E27FC236}">
                <a16:creationId xmlns:a16="http://schemas.microsoft.com/office/drawing/2014/main" id="{8CC47A47-BDF6-4729-85C6-E78FF9AF8A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Footer Placeholder 4">
            <a:extLst>
              <a:ext uri="{FF2B5EF4-FFF2-40B4-BE49-F238E27FC236}">
                <a16:creationId xmlns:a16="http://schemas.microsoft.com/office/drawing/2014/main" id="{BABCACF3-F1AA-4116-9D30-2570460F9178}"/>
              </a:ext>
            </a:extLst>
          </p:cNvPr>
          <p:cNvSpPr>
            <a:spLocks noGrp="1"/>
          </p:cNvSpPr>
          <p:nvPr>
            <p:ph type="ftr" sz="quarter" idx="11"/>
          </p:nvPr>
        </p:nvSpPr>
        <p:spPr>
          <a:xfrm>
            <a:off x="7743522" y="6208241"/>
            <a:ext cx="4114800" cy="153888"/>
          </a:xfrm>
        </p:spPr>
        <p:txBody>
          <a:bodyPr/>
          <a:lstStyle/>
          <a:p>
            <a:r>
              <a:rPr lang="en-US"/>
              <a:t>LEG - Least Developed Countries Expert Group</a:t>
            </a:r>
            <a:endParaRPr lang="en-ID"/>
          </a:p>
        </p:txBody>
      </p:sp>
      <p:sp>
        <p:nvSpPr>
          <p:cNvPr id="59" name="Rectangle 58">
            <a:extLst>
              <a:ext uri="{FF2B5EF4-FFF2-40B4-BE49-F238E27FC236}">
                <a16:creationId xmlns:a16="http://schemas.microsoft.com/office/drawing/2014/main" id="{28883A86-6BC3-43DB-A574-A3DFA32E8C43}"/>
              </a:ext>
            </a:extLst>
          </p:cNvPr>
          <p:cNvSpPr/>
          <p:nvPr userDrawn="1"/>
        </p:nvSpPr>
        <p:spPr>
          <a:xfrm>
            <a:off x="-1" y="0"/>
            <a:ext cx="724619" cy="6858000"/>
          </a:xfrm>
          <a:prstGeom prst="rect">
            <a:avLst/>
          </a:prstGeom>
          <a:gradFill>
            <a:gsLst>
              <a:gs pos="0">
                <a:schemeClr val="accent1"/>
              </a:gs>
              <a:gs pos="100000">
                <a:schemeClr val="accent1">
                  <a:lumMod val="50000"/>
                </a:schemeClr>
              </a:gs>
            </a:gsLst>
            <a:lin ang="5400000" scaled="1"/>
          </a:gradFill>
          <a:ln>
            <a:noFill/>
          </a:ln>
        </p:spPr>
        <p:txBody>
          <a:bodyPr spcFirstLastPara="1" wrap="square" lIns="91425" tIns="45700" rIns="91425" bIns="45700" anchor="ctr" anchorCtr="0">
            <a:noAutofit/>
          </a:bodyPr>
          <a:lstStyle/>
          <a:p>
            <a:pPr marR="0" lvl="0" indent="0" algn="ctr" fontAlgn="auto">
              <a:lnSpc>
                <a:spcPct val="100000"/>
              </a:lnSpc>
              <a:spcBef>
                <a:spcPts val="0"/>
              </a:spcBef>
              <a:spcAft>
                <a:spcPts val="0"/>
              </a:spcAft>
              <a:buClr>
                <a:srgbClr val="FFFFFF"/>
              </a:buClr>
              <a:buSzPts val="1800"/>
              <a:buFont typeface="Arial"/>
              <a:buNone/>
              <a:tabLst/>
            </a:pPr>
            <a:endParaRPr kumimoji="0" lang="en-US" b="0" i="0" u="none" strike="noStrike" kern="0" cap="none" spc="0" normalizeH="0" baseline="0">
              <a:ln>
                <a:noFill/>
              </a:ln>
              <a:solidFill>
                <a:srgbClr val="FFFFFF"/>
              </a:solidFill>
              <a:effectLst/>
              <a:uLnTx/>
              <a:uFillTx/>
              <a:latin typeface="Arial"/>
              <a:cs typeface="Arial"/>
            </a:endParaRPr>
          </a:p>
        </p:txBody>
      </p:sp>
      <p:cxnSp>
        <p:nvCxnSpPr>
          <p:cNvPr id="60" name="Straight Connector 59">
            <a:extLst>
              <a:ext uri="{FF2B5EF4-FFF2-40B4-BE49-F238E27FC236}">
                <a16:creationId xmlns:a16="http://schemas.microsoft.com/office/drawing/2014/main" id="{A1FAE1A3-C059-4B8A-97D9-CD34531A3537}"/>
              </a:ext>
            </a:extLst>
          </p:cNvPr>
          <p:cNvCxnSpPr>
            <a:cxnSpLocks/>
          </p:cNvCxnSpPr>
          <p:nvPr userDrawn="1"/>
        </p:nvCxnSpPr>
        <p:spPr>
          <a:xfrm flipV="1">
            <a:off x="361438" y="1369847"/>
            <a:ext cx="0" cy="4351338"/>
          </a:xfrm>
          <a:prstGeom prst="line">
            <a:avLst/>
          </a:prstGeom>
          <a:ln>
            <a:solidFill>
              <a:schemeClr val="bg1">
                <a:alpha val="24000"/>
              </a:schemeClr>
            </a:solidFill>
            <a:headEnd type="oval"/>
          </a:ln>
        </p:spPr>
        <p:style>
          <a:lnRef idx="1">
            <a:schemeClr val="accent1"/>
          </a:lnRef>
          <a:fillRef idx="0">
            <a:schemeClr val="accent1"/>
          </a:fillRef>
          <a:effectRef idx="0">
            <a:schemeClr val="accent1"/>
          </a:effectRef>
          <a:fontRef idx="minor">
            <a:schemeClr val="tx1"/>
          </a:fontRef>
        </p:style>
      </p:cxnSp>
      <p:pic>
        <p:nvPicPr>
          <p:cNvPr id="61" name="Picture 60" descr="Text&#10;&#10;Description automatically generated with medium confidence">
            <a:extLst>
              <a:ext uri="{FF2B5EF4-FFF2-40B4-BE49-F238E27FC236}">
                <a16:creationId xmlns:a16="http://schemas.microsoft.com/office/drawing/2014/main" id="{C929B0E0-D3FC-4CCD-9A65-A01FC4919DE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62058"/>
          <a:stretch/>
        </p:blipFill>
        <p:spPr>
          <a:xfrm>
            <a:off x="158134" y="502959"/>
            <a:ext cx="408348" cy="319643"/>
          </a:xfrm>
          <a:prstGeom prst="rect">
            <a:avLst/>
          </a:prstGeom>
        </p:spPr>
      </p:pic>
      <p:pic>
        <p:nvPicPr>
          <p:cNvPr id="62" name="Picture 61" descr="Text&#10;&#10;Description automatically generated with medium confidence">
            <a:extLst>
              <a:ext uri="{FF2B5EF4-FFF2-40B4-BE49-F238E27FC236}">
                <a16:creationId xmlns:a16="http://schemas.microsoft.com/office/drawing/2014/main" id="{48007E24-A4A5-448D-87E1-C50CBEFAE52C}"/>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0146"/>
          <a:stretch/>
        </p:blipFill>
        <p:spPr>
          <a:xfrm>
            <a:off x="171735" y="863448"/>
            <a:ext cx="381147" cy="227065"/>
          </a:xfrm>
          <a:prstGeom prst="rect">
            <a:avLst/>
          </a:prstGeom>
        </p:spPr>
      </p:pic>
      <p:pic>
        <p:nvPicPr>
          <p:cNvPr id="63" name="Picture 62" descr="Text&#10;&#10;Description automatically generated with medium confidence">
            <a:extLst>
              <a:ext uri="{FF2B5EF4-FFF2-40B4-BE49-F238E27FC236}">
                <a16:creationId xmlns:a16="http://schemas.microsoft.com/office/drawing/2014/main" id="{FC1EB194-0DFF-4F20-82D6-4DE9485C4639}"/>
              </a:ext>
            </a:extLst>
          </p:cNvPr>
          <p:cNvPicPr>
            <a:picLocks noChangeAspect="1"/>
          </p:cNvPicPr>
          <p:nvPr userDrawn="1"/>
        </p:nvPicPr>
        <p:blipFill rotWithShape="1">
          <a:blip r:embed="rId5" cstate="email">
            <a:alphaModFix amt="9000"/>
            <a:extLst>
              <a:ext uri="{28A0092B-C50C-407E-A947-70E740481C1C}">
                <a14:useLocalDpi xmlns:a14="http://schemas.microsoft.com/office/drawing/2010/main"/>
              </a:ext>
            </a:extLst>
          </a:blip>
          <a:srcRect r="81029"/>
          <a:stretch/>
        </p:blipFill>
        <p:spPr>
          <a:xfrm>
            <a:off x="96431" y="5753883"/>
            <a:ext cx="628186" cy="983450"/>
          </a:xfrm>
          <a:prstGeom prst="rect">
            <a:avLst/>
          </a:prstGeom>
        </p:spPr>
      </p:pic>
      <p:sp>
        <p:nvSpPr>
          <p:cNvPr id="64" name="Rectangle 63">
            <a:extLst>
              <a:ext uri="{FF2B5EF4-FFF2-40B4-BE49-F238E27FC236}">
                <a16:creationId xmlns:a16="http://schemas.microsoft.com/office/drawing/2014/main" id="{4DF125DD-641D-457D-80AA-40C92ED8AB60}"/>
              </a:ext>
            </a:extLst>
          </p:cNvPr>
          <p:cNvSpPr/>
          <p:nvPr userDrawn="1"/>
        </p:nvSpPr>
        <p:spPr>
          <a:xfrm>
            <a:off x="228600" y="6148263"/>
            <a:ext cx="273844" cy="273844"/>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41327BCB-9632-4B74-83D1-1C30E806AD0E}"/>
              </a:ext>
            </a:extLst>
          </p:cNvPr>
          <p:cNvSpPr>
            <a:spLocks noGrp="1"/>
          </p:cNvSpPr>
          <p:nvPr>
            <p:ph type="sldNum" sz="quarter" idx="12"/>
          </p:nvPr>
        </p:nvSpPr>
        <p:spPr>
          <a:xfrm>
            <a:off x="228600" y="6208241"/>
            <a:ext cx="273844" cy="153888"/>
          </a:xfrm>
          <a:prstGeom prst="rect">
            <a:avLst/>
          </a:prstGeom>
        </p:spPr>
        <p:txBody>
          <a:bodyPr lIns="0" tIns="0" rIns="0" bIns="0">
            <a:spAutoFit/>
          </a:bodyPr>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30479328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AE0D2-1860-4AA8-9310-57EF0910DA2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DD08721E-0434-42DA-9DF3-3BC8909B4E8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5AB0461E-CB5F-4D90-A4F9-DDE57620D741}"/>
              </a:ext>
            </a:extLst>
          </p:cNvPr>
          <p:cNvSpPr>
            <a:spLocks noGrp="1"/>
          </p:cNvSpPr>
          <p:nvPr>
            <p:ph type="ftr" sz="quarter" idx="11"/>
          </p:nvPr>
        </p:nvSpPr>
        <p:spPr/>
        <p:txBody>
          <a:bodyPr/>
          <a:lstStyle/>
          <a:p>
            <a:r>
              <a:rPr lang="en-US"/>
              <a:t>LEG - Least Developed Countries Expert Group</a:t>
            </a:r>
            <a:endParaRPr lang="en-ID"/>
          </a:p>
        </p:txBody>
      </p:sp>
      <p:sp>
        <p:nvSpPr>
          <p:cNvPr id="6" name="Slide Number Placeholder 5">
            <a:extLst>
              <a:ext uri="{FF2B5EF4-FFF2-40B4-BE49-F238E27FC236}">
                <a16:creationId xmlns:a16="http://schemas.microsoft.com/office/drawing/2014/main" id="{0B474C28-0158-413E-B54C-F7E1281F49AA}"/>
              </a:ext>
            </a:extLst>
          </p:cNvPr>
          <p:cNvSpPr>
            <a:spLocks noGrp="1"/>
          </p:cNvSpPr>
          <p:nvPr>
            <p:ph type="sldNum" sz="quarter" idx="12"/>
          </p:nvPr>
        </p:nvSpPr>
        <p:spPr>
          <a:xfrm>
            <a:off x="228600" y="6208241"/>
            <a:ext cx="273844" cy="153888"/>
          </a:xfrm>
          <a:prstGeom prst="rect">
            <a:avLst/>
          </a:prstGeom>
        </p:spPr>
        <p:txBody>
          <a:bodyPr lIns="0" tIns="0" rIns="0" bIns="0">
            <a:spAutoFit/>
          </a:bodyPr>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10003285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A05EA00-5BB3-4B80-8F6F-E6C49A38D85C}"/>
              </a:ext>
            </a:extLst>
          </p:cNvPr>
          <p:cNvGraphicFramePr>
            <a:graphicFrameLocks noChangeAspect="1"/>
          </p:cNvGraphicFramePr>
          <p:nvPr userDrawn="1">
            <p:custDataLst>
              <p:tags r:id="rId1"/>
            </p:custDataLst>
            <p:extLst>
              <p:ext uri="{D42A27DB-BD31-4B8C-83A1-F6EECF244321}">
                <p14:modId xmlns:p14="http://schemas.microsoft.com/office/powerpoint/2010/main" val="1533565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2" imgH="362" progId="TCLayout.ActiveDocument.1">
                  <p:embed/>
                </p:oleObj>
              </mc:Choice>
              <mc:Fallback>
                <p:oleObj name="think-cell Slide" r:id="rId3" imgW="362" imgH="362" progId="TCLayout.ActiveDocument.1">
                  <p:embed/>
                  <p:pic>
                    <p:nvPicPr>
                      <p:cNvPr id="7" name="Object 6" hidden="1">
                        <a:extLst>
                          <a:ext uri="{FF2B5EF4-FFF2-40B4-BE49-F238E27FC236}">
                            <a16:creationId xmlns:a16="http://schemas.microsoft.com/office/drawing/2014/main" id="{6A05EA00-5BB3-4B80-8F6F-E6C49A38D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2E6FC0-D97E-40D0-9947-2567051B29BA}"/>
              </a:ext>
            </a:extLst>
          </p:cNvPr>
          <p:cNvSpPr>
            <a:spLocks noGrp="1"/>
          </p:cNvSpPr>
          <p:nvPr>
            <p:ph type="title"/>
          </p:nvPr>
        </p:nvSpPr>
        <p:spPr/>
        <p:txBody>
          <a:bodyPr vert="horz"/>
          <a:lstStyle/>
          <a:p>
            <a:r>
              <a:rPr lang="en-US"/>
              <a:t>Click to edit Master title style</a:t>
            </a:r>
            <a:endParaRPr lang="en-ID"/>
          </a:p>
        </p:txBody>
      </p:sp>
      <p:sp>
        <p:nvSpPr>
          <p:cNvPr id="4" name="Footer Placeholder 3">
            <a:extLst>
              <a:ext uri="{FF2B5EF4-FFF2-40B4-BE49-F238E27FC236}">
                <a16:creationId xmlns:a16="http://schemas.microsoft.com/office/drawing/2014/main" id="{FB1310C1-366C-4B1C-95D7-D500CCCBEA04}"/>
              </a:ext>
            </a:extLst>
          </p:cNvPr>
          <p:cNvSpPr>
            <a:spLocks noGrp="1"/>
          </p:cNvSpPr>
          <p:nvPr>
            <p:ph type="ftr" sz="quarter" idx="11"/>
          </p:nvPr>
        </p:nvSpPr>
        <p:spPr/>
        <p:txBody>
          <a:bodyPr/>
          <a:lstStyle/>
          <a:p>
            <a:r>
              <a:rPr lang="en-US"/>
              <a:t>LEG - Least Developed Countries Expert Group</a:t>
            </a:r>
            <a:endParaRPr lang="en-ID"/>
          </a:p>
        </p:txBody>
      </p:sp>
      <p:sp>
        <p:nvSpPr>
          <p:cNvPr id="8" name="Rectangle 7">
            <a:extLst>
              <a:ext uri="{FF2B5EF4-FFF2-40B4-BE49-F238E27FC236}">
                <a16:creationId xmlns:a16="http://schemas.microsoft.com/office/drawing/2014/main" id="{C0F1CC77-D049-4E2C-A69C-C67AA1CDF4F5}"/>
              </a:ext>
            </a:extLst>
          </p:cNvPr>
          <p:cNvSpPr/>
          <p:nvPr userDrawn="1"/>
        </p:nvSpPr>
        <p:spPr>
          <a:xfrm>
            <a:off x="-1" y="0"/>
            <a:ext cx="724619" cy="6858000"/>
          </a:xfrm>
          <a:prstGeom prst="rect">
            <a:avLst/>
          </a:prstGeom>
          <a:gradFill>
            <a:gsLst>
              <a:gs pos="0">
                <a:schemeClr val="accent1"/>
              </a:gs>
              <a:gs pos="100000">
                <a:schemeClr val="accent1">
                  <a:lumMod val="50000"/>
                </a:schemeClr>
              </a:gs>
            </a:gsLst>
            <a:lin ang="5400000" scaled="1"/>
          </a:gradFill>
          <a:ln>
            <a:noFill/>
          </a:ln>
        </p:spPr>
        <p:txBody>
          <a:bodyPr spcFirstLastPara="1" wrap="square" lIns="91425" tIns="45700" rIns="91425" bIns="45700" anchor="ctr" anchorCtr="0">
            <a:noAutofit/>
          </a:bodyPr>
          <a:lstStyle/>
          <a:p>
            <a:pPr marR="0" lvl="0" indent="0" algn="ctr" fontAlgn="auto">
              <a:lnSpc>
                <a:spcPct val="100000"/>
              </a:lnSpc>
              <a:spcBef>
                <a:spcPts val="0"/>
              </a:spcBef>
              <a:spcAft>
                <a:spcPts val="0"/>
              </a:spcAft>
              <a:buClr>
                <a:srgbClr val="FFFFFF"/>
              </a:buClr>
              <a:buSzPts val="1800"/>
              <a:buFont typeface="Arial"/>
              <a:buNone/>
              <a:tabLst/>
            </a:pPr>
            <a:endParaRPr kumimoji="0" lang="en-US" b="0" i="0" u="none" strike="noStrike" kern="0" cap="none" spc="0" normalizeH="0" baseline="0">
              <a:ln>
                <a:noFill/>
              </a:ln>
              <a:solidFill>
                <a:srgbClr val="FFFFFF"/>
              </a:solidFill>
              <a:effectLst/>
              <a:uLnTx/>
              <a:uFillTx/>
              <a:latin typeface="Arial"/>
              <a:cs typeface="Arial"/>
            </a:endParaRPr>
          </a:p>
        </p:txBody>
      </p:sp>
      <p:cxnSp>
        <p:nvCxnSpPr>
          <p:cNvPr id="9" name="Straight Connector 8">
            <a:extLst>
              <a:ext uri="{FF2B5EF4-FFF2-40B4-BE49-F238E27FC236}">
                <a16:creationId xmlns:a16="http://schemas.microsoft.com/office/drawing/2014/main" id="{C5C72183-6748-48DB-B2E6-D04517EC54EC}"/>
              </a:ext>
            </a:extLst>
          </p:cNvPr>
          <p:cNvCxnSpPr>
            <a:cxnSpLocks/>
          </p:cNvCxnSpPr>
          <p:nvPr userDrawn="1"/>
        </p:nvCxnSpPr>
        <p:spPr>
          <a:xfrm flipV="1">
            <a:off x="361438" y="1369847"/>
            <a:ext cx="0" cy="4351338"/>
          </a:xfrm>
          <a:prstGeom prst="line">
            <a:avLst/>
          </a:prstGeom>
          <a:ln>
            <a:solidFill>
              <a:schemeClr val="bg1">
                <a:alpha val="24000"/>
              </a:schemeClr>
            </a:solidFill>
            <a:headEnd type="oval"/>
          </a:ln>
        </p:spPr>
        <p:style>
          <a:lnRef idx="1">
            <a:schemeClr val="accent1"/>
          </a:lnRef>
          <a:fillRef idx="0">
            <a:schemeClr val="accent1"/>
          </a:fillRef>
          <a:effectRef idx="0">
            <a:schemeClr val="accent1"/>
          </a:effectRef>
          <a:fontRef idx="minor">
            <a:schemeClr val="tx1"/>
          </a:fontRef>
        </p:style>
      </p:cxnSp>
      <p:pic>
        <p:nvPicPr>
          <p:cNvPr id="10" name="Picture 9" descr="Text&#10;&#10;Description automatically generated with medium confidence">
            <a:extLst>
              <a:ext uri="{FF2B5EF4-FFF2-40B4-BE49-F238E27FC236}">
                <a16:creationId xmlns:a16="http://schemas.microsoft.com/office/drawing/2014/main" id="{D40FD119-4239-4450-99D3-B9F3CC842A0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62058"/>
          <a:stretch/>
        </p:blipFill>
        <p:spPr>
          <a:xfrm>
            <a:off x="158134" y="502959"/>
            <a:ext cx="408348" cy="319643"/>
          </a:xfrm>
          <a:prstGeom prst="rect">
            <a:avLst/>
          </a:prstGeom>
        </p:spPr>
      </p:pic>
      <p:pic>
        <p:nvPicPr>
          <p:cNvPr id="11" name="Picture 10" descr="Text&#10;&#10;Description automatically generated with medium confidence">
            <a:extLst>
              <a:ext uri="{FF2B5EF4-FFF2-40B4-BE49-F238E27FC236}">
                <a16:creationId xmlns:a16="http://schemas.microsoft.com/office/drawing/2014/main" id="{848744F5-7484-489D-AAC2-F25F5E23C43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0146"/>
          <a:stretch/>
        </p:blipFill>
        <p:spPr>
          <a:xfrm>
            <a:off x="171735" y="863448"/>
            <a:ext cx="381147" cy="227065"/>
          </a:xfrm>
          <a:prstGeom prst="rect">
            <a:avLst/>
          </a:prstGeom>
        </p:spPr>
      </p:pic>
      <p:pic>
        <p:nvPicPr>
          <p:cNvPr id="12" name="Picture 11" descr="Text&#10;&#10;Description automatically generated with medium confidence">
            <a:extLst>
              <a:ext uri="{FF2B5EF4-FFF2-40B4-BE49-F238E27FC236}">
                <a16:creationId xmlns:a16="http://schemas.microsoft.com/office/drawing/2014/main" id="{F18DFED2-30D7-4B0E-8207-9AFF17AE6916}"/>
              </a:ext>
            </a:extLst>
          </p:cNvPr>
          <p:cNvPicPr>
            <a:picLocks noChangeAspect="1"/>
          </p:cNvPicPr>
          <p:nvPr userDrawn="1"/>
        </p:nvPicPr>
        <p:blipFill rotWithShape="1">
          <a:blip r:embed="rId5" cstate="email">
            <a:alphaModFix amt="9000"/>
            <a:extLst>
              <a:ext uri="{28A0092B-C50C-407E-A947-70E740481C1C}">
                <a14:useLocalDpi xmlns:a14="http://schemas.microsoft.com/office/drawing/2010/main"/>
              </a:ext>
            </a:extLst>
          </a:blip>
          <a:srcRect r="81029"/>
          <a:stretch/>
        </p:blipFill>
        <p:spPr>
          <a:xfrm>
            <a:off x="96431" y="5753883"/>
            <a:ext cx="628186" cy="983450"/>
          </a:xfrm>
          <a:prstGeom prst="rect">
            <a:avLst/>
          </a:prstGeom>
        </p:spPr>
      </p:pic>
      <p:sp>
        <p:nvSpPr>
          <p:cNvPr id="13" name="Rectangle 12">
            <a:extLst>
              <a:ext uri="{FF2B5EF4-FFF2-40B4-BE49-F238E27FC236}">
                <a16:creationId xmlns:a16="http://schemas.microsoft.com/office/drawing/2014/main" id="{9978A96D-F7EF-4343-9554-8C0EB59A6C9C}"/>
              </a:ext>
            </a:extLst>
          </p:cNvPr>
          <p:cNvSpPr/>
          <p:nvPr userDrawn="1"/>
        </p:nvSpPr>
        <p:spPr>
          <a:xfrm>
            <a:off x="228600" y="6148263"/>
            <a:ext cx="273844" cy="273844"/>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1AA0E945-2C8F-4F31-86C2-497523DA50D3}"/>
              </a:ext>
            </a:extLst>
          </p:cNvPr>
          <p:cNvSpPr>
            <a:spLocks noGrp="1"/>
          </p:cNvSpPr>
          <p:nvPr>
            <p:ph type="sldNum" sz="quarter" idx="12"/>
          </p:nvPr>
        </p:nvSpPr>
        <p:spPr>
          <a:xfrm>
            <a:off x="228600" y="6208241"/>
            <a:ext cx="273844" cy="153888"/>
          </a:xfrm>
          <a:prstGeom prst="rect">
            <a:avLst/>
          </a:prstGeom>
        </p:spPr>
        <p:txBody>
          <a:bodyPr lIns="0" tIns="0" rIns="0" bIns="0"/>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41099235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C9ACB163-ABAC-45DD-B0EB-CDB0D8ED59F2}"/>
              </a:ext>
            </a:extLst>
          </p:cNvPr>
          <p:cNvGraphicFramePr>
            <a:graphicFrameLocks noChangeAspect="1"/>
          </p:cNvGraphicFramePr>
          <p:nvPr userDrawn="1">
            <p:custDataLst>
              <p:tags r:id="rId1"/>
            </p:custDataLst>
            <p:extLst>
              <p:ext uri="{D42A27DB-BD31-4B8C-83A1-F6EECF244321}">
                <p14:modId xmlns:p14="http://schemas.microsoft.com/office/powerpoint/2010/main" val="88715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2" imgH="362" progId="TCLayout.ActiveDocument.1">
                  <p:embed/>
                </p:oleObj>
              </mc:Choice>
              <mc:Fallback>
                <p:oleObj name="think-cell Slide" r:id="rId3" imgW="362" imgH="362" progId="TCLayout.ActiveDocument.1">
                  <p:embed/>
                  <p:pic>
                    <p:nvPicPr>
                      <p:cNvPr id="19" name="Object 18" hidden="1">
                        <a:extLst>
                          <a:ext uri="{FF2B5EF4-FFF2-40B4-BE49-F238E27FC236}">
                            <a16:creationId xmlns:a16="http://schemas.microsoft.com/office/drawing/2014/main" id="{C9ACB163-ABAC-45DD-B0EB-CDB0D8ED59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8017989B-2C2C-479F-96DC-114FB5076B40}"/>
              </a:ext>
            </a:extLst>
          </p:cNvPr>
          <p:cNvSpPr>
            <a:spLocks noGrp="1"/>
          </p:cNvSpPr>
          <p:nvPr>
            <p:ph type="ftr" sz="quarter" idx="11"/>
          </p:nvPr>
        </p:nvSpPr>
        <p:spPr/>
        <p:txBody>
          <a:bodyPr/>
          <a:lstStyle/>
          <a:p>
            <a:r>
              <a:rPr lang="en-US"/>
              <a:t>LEG - Least Developed Countries Expert Group</a:t>
            </a:r>
            <a:endParaRPr lang="en-ID"/>
          </a:p>
        </p:txBody>
      </p:sp>
      <p:sp>
        <p:nvSpPr>
          <p:cNvPr id="12" name="Rectangle 11">
            <a:extLst>
              <a:ext uri="{FF2B5EF4-FFF2-40B4-BE49-F238E27FC236}">
                <a16:creationId xmlns:a16="http://schemas.microsoft.com/office/drawing/2014/main" id="{12395A42-A1A5-47EA-9089-F9630BE62F15}"/>
              </a:ext>
            </a:extLst>
          </p:cNvPr>
          <p:cNvSpPr/>
          <p:nvPr userDrawn="1"/>
        </p:nvSpPr>
        <p:spPr>
          <a:xfrm>
            <a:off x="-1" y="0"/>
            <a:ext cx="724619" cy="6858000"/>
          </a:xfrm>
          <a:prstGeom prst="rect">
            <a:avLst/>
          </a:prstGeom>
          <a:gradFill>
            <a:gsLst>
              <a:gs pos="0">
                <a:schemeClr val="accent1"/>
              </a:gs>
              <a:gs pos="100000">
                <a:schemeClr val="accent1">
                  <a:lumMod val="50000"/>
                </a:schemeClr>
              </a:gs>
            </a:gsLst>
            <a:lin ang="5400000" scaled="1"/>
          </a:gradFill>
          <a:ln>
            <a:noFill/>
          </a:ln>
        </p:spPr>
        <p:txBody>
          <a:bodyPr spcFirstLastPara="1" wrap="square" lIns="91425" tIns="45700" rIns="91425" bIns="45700" anchor="ctr" anchorCtr="0">
            <a:noAutofit/>
          </a:bodyPr>
          <a:lstStyle/>
          <a:p>
            <a:pPr marR="0" lvl="0" indent="0" algn="ctr" fontAlgn="auto">
              <a:lnSpc>
                <a:spcPct val="100000"/>
              </a:lnSpc>
              <a:spcBef>
                <a:spcPts val="0"/>
              </a:spcBef>
              <a:spcAft>
                <a:spcPts val="0"/>
              </a:spcAft>
              <a:buClr>
                <a:srgbClr val="FFFFFF"/>
              </a:buClr>
              <a:buSzPts val="1800"/>
              <a:buFont typeface="Arial"/>
              <a:buNone/>
              <a:tabLst/>
            </a:pPr>
            <a:endParaRPr kumimoji="0" lang="en-US" b="0" i="0" u="none" strike="noStrike" kern="0" cap="none" spc="0" normalizeH="0" baseline="0">
              <a:ln>
                <a:noFill/>
              </a:ln>
              <a:solidFill>
                <a:srgbClr val="FFFFFF"/>
              </a:solidFill>
              <a:effectLst/>
              <a:uLnTx/>
              <a:uFillTx/>
              <a:latin typeface="Arial"/>
              <a:cs typeface="Arial"/>
            </a:endParaRPr>
          </a:p>
        </p:txBody>
      </p:sp>
      <p:cxnSp>
        <p:nvCxnSpPr>
          <p:cNvPr id="13" name="Straight Connector 12">
            <a:extLst>
              <a:ext uri="{FF2B5EF4-FFF2-40B4-BE49-F238E27FC236}">
                <a16:creationId xmlns:a16="http://schemas.microsoft.com/office/drawing/2014/main" id="{87CB78DA-CE59-4A78-A838-844CCFA3AD5B}"/>
              </a:ext>
            </a:extLst>
          </p:cNvPr>
          <p:cNvCxnSpPr>
            <a:cxnSpLocks/>
          </p:cNvCxnSpPr>
          <p:nvPr userDrawn="1"/>
        </p:nvCxnSpPr>
        <p:spPr>
          <a:xfrm flipV="1">
            <a:off x="361438" y="1369847"/>
            <a:ext cx="0" cy="4351338"/>
          </a:xfrm>
          <a:prstGeom prst="line">
            <a:avLst/>
          </a:prstGeom>
          <a:ln>
            <a:solidFill>
              <a:schemeClr val="bg1">
                <a:alpha val="24000"/>
              </a:schemeClr>
            </a:solidFill>
            <a:headEnd type="oval"/>
          </a:ln>
        </p:spPr>
        <p:style>
          <a:lnRef idx="1">
            <a:schemeClr val="accent1"/>
          </a:lnRef>
          <a:fillRef idx="0">
            <a:schemeClr val="accent1"/>
          </a:fillRef>
          <a:effectRef idx="0">
            <a:schemeClr val="accent1"/>
          </a:effectRef>
          <a:fontRef idx="minor">
            <a:schemeClr val="tx1"/>
          </a:fontRef>
        </p:style>
      </p:cxnSp>
      <p:pic>
        <p:nvPicPr>
          <p:cNvPr id="14" name="Picture 13" descr="Text&#10;&#10;Description automatically generated with medium confidence">
            <a:extLst>
              <a:ext uri="{FF2B5EF4-FFF2-40B4-BE49-F238E27FC236}">
                <a16:creationId xmlns:a16="http://schemas.microsoft.com/office/drawing/2014/main" id="{AD360839-8D00-4BF8-B8EA-F31DE6B0DABB}"/>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62058"/>
          <a:stretch/>
        </p:blipFill>
        <p:spPr>
          <a:xfrm>
            <a:off x="158134" y="502959"/>
            <a:ext cx="408348" cy="319643"/>
          </a:xfrm>
          <a:prstGeom prst="rect">
            <a:avLst/>
          </a:prstGeom>
        </p:spPr>
      </p:pic>
      <p:pic>
        <p:nvPicPr>
          <p:cNvPr id="15" name="Picture 14" descr="Text&#10;&#10;Description automatically generated with medium confidence">
            <a:extLst>
              <a:ext uri="{FF2B5EF4-FFF2-40B4-BE49-F238E27FC236}">
                <a16:creationId xmlns:a16="http://schemas.microsoft.com/office/drawing/2014/main" id="{99D8231A-AA75-459A-956A-80889E1D309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0146"/>
          <a:stretch/>
        </p:blipFill>
        <p:spPr>
          <a:xfrm>
            <a:off x="171735" y="863448"/>
            <a:ext cx="381147" cy="227065"/>
          </a:xfrm>
          <a:prstGeom prst="rect">
            <a:avLst/>
          </a:prstGeom>
        </p:spPr>
      </p:pic>
      <p:pic>
        <p:nvPicPr>
          <p:cNvPr id="16" name="Picture 15" descr="Text&#10;&#10;Description automatically generated with medium confidence">
            <a:extLst>
              <a:ext uri="{FF2B5EF4-FFF2-40B4-BE49-F238E27FC236}">
                <a16:creationId xmlns:a16="http://schemas.microsoft.com/office/drawing/2014/main" id="{025536CA-4076-4419-B3AE-563EFC333B3F}"/>
              </a:ext>
            </a:extLst>
          </p:cNvPr>
          <p:cNvPicPr>
            <a:picLocks noChangeAspect="1"/>
          </p:cNvPicPr>
          <p:nvPr userDrawn="1"/>
        </p:nvPicPr>
        <p:blipFill rotWithShape="1">
          <a:blip r:embed="rId5" cstate="email">
            <a:alphaModFix amt="9000"/>
            <a:extLst>
              <a:ext uri="{28A0092B-C50C-407E-A947-70E740481C1C}">
                <a14:useLocalDpi xmlns:a14="http://schemas.microsoft.com/office/drawing/2010/main"/>
              </a:ext>
            </a:extLst>
          </a:blip>
          <a:srcRect r="81029"/>
          <a:stretch/>
        </p:blipFill>
        <p:spPr>
          <a:xfrm>
            <a:off x="96431" y="5753883"/>
            <a:ext cx="628186" cy="983450"/>
          </a:xfrm>
          <a:prstGeom prst="rect">
            <a:avLst/>
          </a:prstGeom>
        </p:spPr>
      </p:pic>
      <p:sp>
        <p:nvSpPr>
          <p:cNvPr id="17" name="Rectangle 16">
            <a:extLst>
              <a:ext uri="{FF2B5EF4-FFF2-40B4-BE49-F238E27FC236}">
                <a16:creationId xmlns:a16="http://schemas.microsoft.com/office/drawing/2014/main" id="{D0D539DC-97CB-43BC-A0A9-342A385C7583}"/>
              </a:ext>
            </a:extLst>
          </p:cNvPr>
          <p:cNvSpPr/>
          <p:nvPr userDrawn="1"/>
        </p:nvSpPr>
        <p:spPr>
          <a:xfrm>
            <a:off x="228600" y="6148263"/>
            <a:ext cx="273844" cy="273844"/>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E432CC67-CCD9-4237-BAA4-9FDE61F1A202}"/>
              </a:ext>
            </a:extLst>
          </p:cNvPr>
          <p:cNvSpPr>
            <a:spLocks noGrp="1"/>
          </p:cNvSpPr>
          <p:nvPr>
            <p:ph type="sldNum" sz="quarter" idx="12"/>
          </p:nvPr>
        </p:nvSpPr>
        <p:spPr>
          <a:xfrm>
            <a:off x="228600" y="6208241"/>
            <a:ext cx="273844" cy="153888"/>
          </a:xfrm>
          <a:prstGeom prst="rect">
            <a:avLst/>
          </a:prstGeom>
        </p:spPr>
        <p:txBody>
          <a:bodyPr lIns="0" tIns="0" rIns="0" bIns="0"/>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3930781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7" name="Object 66" hidden="1">
            <a:extLst>
              <a:ext uri="{FF2B5EF4-FFF2-40B4-BE49-F238E27FC236}">
                <a16:creationId xmlns:a16="http://schemas.microsoft.com/office/drawing/2014/main" id="{32452EC7-0E2F-437B-B5C1-C2826D32A44F}"/>
              </a:ext>
            </a:extLst>
          </p:cNvPr>
          <p:cNvGraphicFramePr>
            <a:graphicFrameLocks noChangeAspect="1"/>
          </p:cNvGraphicFramePr>
          <p:nvPr userDrawn="1">
            <p:custDataLst>
              <p:tags r:id="rId1"/>
            </p:custDataLst>
            <p:extLst>
              <p:ext uri="{D42A27DB-BD31-4B8C-83A1-F6EECF244321}">
                <p14:modId xmlns:p14="http://schemas.microsoft.com/office/powerpoint/2010/main" val="3385931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2" imgH="362" progId="TCLayout.ActiveDocument.1">
                  <p:embed/>
                </p:oleObj>
              </mc:Choice>
              <mc:Fallback>
                <p:oleObj name="think-cell Slide" r:id="rId3" imgW="362" imgH="362" progId="TCLayout.ActiveDocument.1">
                  <p:embed/>
                  <p:pic>
                    <p:nvPicPr>
                      <p:cNvPr id="67" name="Object 66" hidden="1">
                        <a:extLst>
                          <a:ext uri="{FF2B5EF4-FFF2-40B4-BE49-F238E27FC236}">
                            <a16:creationId xmlns:a16="http://schemas.microsoft.com/office/drawing/2014/main" id="{32452EC7-0E2F-437B-B5C1-C2826D32A4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FCF59F-F2C4-4E70-8F37-0A81B38DD8A8}"/>
              </a:ext>
            </a:extLst>
          </p:cNvPr>
          <p:cNvSpPr>
            <a:spLocks noGrp="1"/>
          </p:cNvSpPr>
          <p:nvPr>
            <p:ph type="title"/>
          </p:nvPr>
        </p:nvSpPr>
        <p:spPr/>
        <p:txBody>
          <a:bodyPr vert="horz" wrap="square"/>
          <a:lstStyle/>
          <a:p>
            <a:r>
              <a:rPr lang="en-US"/>
              <a:t>Click to edit Master title style</a:t>
            </a:r>
            <a:endParaRPr lang="en-ID"/>
          </a:p>
        </p:txBody>
      </p:sp>
      <p:sp>
        <p:nvSpPr>
          <p:cNvPr id="3" name="Content Placeholder 2">
            <a:extLst>
              <a:ext uri="{FF2B5EF4-FFF2-40B4-BE49-F238E27FC236}">
                <a16:creationId xmlns:a16="http://schemas.microsoft.com/office/drawing/2014/main" id="{8CC47A47-BDF6-4729-85C6-E78FF9AF8A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Footer Placeholder 4">
            <a:extLst>
              <a:ext uri="{FF2B5EF4-FFF2-40B4-BE49-F238E27FC236}">
                <a16:creationId xmlns:a16="http://schemas.microsoft.com/office/drawing/2014/main" id="{BABCACF3-F1AA-4116-9D30-2570460F9178}"/>
              </a:ext>
            </a:extLst>
          </p:cNvPr>
          <p:cNvSpPr>
            <a:spLocks noGrp="1"/>
          </p:cNvSpPr>
          <p:nvPr>
            <p:ph type="ftr" sz="quarter" idx="11"/>
          </p:nvPr>
        </p:nvSpPr>
        <p:spPr>
          <a:xfrm>
            <a:off x="7743522" y="6208241"/>
            <a:ext cx="4114800" cy="153888"/>
          </a:xfrm>
        </p:spPr>
        <p:txBody>
          <a:bodyPr/>
          <a:lstStyle/>
          <a:p>
            <a:endParaRPr lang="en-ID"/>
          </a:p>
        </p:txBody>
      </p:sp>
      <p:sp>
        <p:nvSpPr>
          <p:cNvPr id="59" name="Rectangle 58">
            <a:extLst>
              <a:ext uri="{FF2B5EF4-FFF2-40B4-BE49-F238E27FC236}">
                <a16:creationId xmlns:a16="http://schemas.microsoft.com/office/drawing/2014/main" id="{28883A86-6BC3-43DB-A574-A3DFA32E8C43}"/>
              </a:ext>
            </a:extLst>
          </p:cNvPr>
          <p:cNvSpPr/>
          <p:nvPr userDrawn="1"/>
        </p:nvSpPr>
        <p:spPr>
          <a:xfrm>
            <a:off x="-1" y="0"/>
            <a:ext cx="724619" cy="6858000"/>
          </a:xfrm>
          <a:prstGeom prst="rect">
            <a:avLst/>
          </a:prstGeom>
          <a:gradFill>
            <a:gsLst>
              <a:gs pos="0">
                <a:schemeClr val="accent1"/>
              </a:gs>
              <a:gs pos="100000">
                <a:schemeClr val="accent1">
                  <a:lumMod val="50000"/>
                </a:schemeClr>
              </a:gs>
            </a:gsLst>
            <a:lin ang="5400000" scaled="1"/>
          </a:gradFill>
          <a:ln>
            <a:noFill/>
          </a:ln>
        </p:spPr>
        <p:txBody>
          <a:bodyPr spcFirstLastPara="1" wrap="square" lIns="91425" tIns="45700" rIns="91425" bIns="45700" anchor="ctr" anchorCtr="0">
            <a:noAutofit/>
          </a:bodyPr>
          <a:lstStyle/>
          <a:p>
            <a:pPr marR="0" lvl="0" indent="0" algn="ctr" fontAlgn="auto">
              <a:lnSpc>
                <a:spcPct val="100000"/>
              </a:lnSpc>
              <a:spcBef>
                <a:spcPts val="0"/>
              </a:spcBef>
              <a:spcAft>
                <a:spcPts val="0"/>
              </a:spcAft>
              <a:buClr>
                <a:srgbClr val="FFFFFF"/>
              </a:buClr>
              <a:buSzPts val="1800"/>
              <a:buFont typeface="Arial"/>
              <a:buNone/>
              <a:tabLst/>
            </a:pPr>
            <a:endParaRPr kumimoji="0" lang="en-US" b="0" i="0" u="none" strike="noStrike" kern="0" cap="none" spc="0" normalizeH="0" baseline="0">
              <a:ln>
                <a:noFill/>
              </a:ln>
              <a:solidFill>
                <a:srgbClr val="FFFFFF"/>
              </a:solidFill>
              <a:effectLst/>
              <a:uLnTx/>
              <a:uFillTx/>
              <a:latin typeface="Arial"/>
              <a:cs typeface="Arial"/>
            </a:endParaRPr>
          </a:p>
        </p:txBody>
      </p:sp>
      <p:cxnSp>
        <p:nvCxnSpPr>
          <p:cNvPr id="60" name="Straight Connector 59">
            <a:extLst>
              <a:ext uri="{FF2B5EF4-FFF2-40B4-BE49-F238E27FC236}">
                <a16:creationId xmlns:a16="http://schemas.microsoft.com/office/drawing/2014/main" id="{A1FAE1A3-C059-4B8A-97D9-CD34531A3537}"/>
              </a:ext>
            </a:extLst>
          </p:cNvPr>
          <p:cNvCxnSpPr>
            <a:cxnSpLocks/>
          </p:cNvCxnSpPr>
          <p:nvPr userDrawn="1"/>
        </p:nvCxnSpPr>
        <p:spPr>
          <a:xfrm flipV="1">
            <a:off x="361438" y="1369847"/>
            <a:ext cx="0" cy="4351338"/>
          </a:xfrm>
          <a:prstGeom prst="line">
            <a:avLst/>
          </a:prstGeom>
          <a:ln>
            <a:solidFill>
              <a:schemeClr val="bg1">
                <a:alpha val="24000"/>
              </a:schemeClr>
            </a:solidFill>
            <a:headEnd type="oval"/>
          </a:ln>
        </p:spPr>
        <p:style>
          <a:lnRef idx="1">
            <a:schemeClr val="accent1"/>
          </a:lnRef>
          <a:fillRef idx="0">
            <a:schemeClr val="accent1"/>
          </a:fillRef>
          <a:effectRef idx="0">
            <a:schemeClr val="accent1"/>
          </a:effectRef>
          <a:fontRef idx="minor">
            <a:schemeClr val="tx1"/>
          </a:fontRef>
        </p:style>
      </p:cxnSp>
      <p:pic>
        <p:nvPicPr>
          <p:cNvPr id="61" name="Picture 60" descr="Text&#10;&#10;Description automatically generated with medium confidence">
            <a:extLst>
              <a:ext uri="{FF2B5EF4-FFF2-40B4-BE49-F238E27FC236}">
                <a16:creationId xmlns:a16="http://schemas.microsoft.com/office/drawing/2014/main" id="{C929B0E0-D3FC-4CCD-9A65-A01FC4919DE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62058"/>
          <a:stretch/>
        </p:blipFill>
        <p:spPr>
          <a:xfrm>
            <a:off x="158134" y="502959"/>
            <a:ext cx="408348" cy="319643"/>
          </a:xfrm>
          <a:prstGeom prst="rect">
            <a:avLst/>
          </a:prstGeom>
        </p:spPr>
      </p:pic>
      <p:pic>
        <p:nvPicPr>
          <p:cNvPr id="62" name="Picture 61" descr="Text&#10;&#10;Description automatically generated with medium confidence">
            <a:extLst>
              <a:ext uri="{FF2B5EF4-FFF2-40B4-BE49-F238E27FC236}">
                <a16:creationId xmlns:a16="http://schemas.microsoft.com/office/drawing/2014/main" id="{48007E24-A4A5-448D-87E1-C50CBEFAE52C}"/>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0146"/>
          <a:stretch/>
        </p:blipFill>
        <p:spPr>
          <a:xfrm>
            <a:off x="171735" y="863448"/>
            <a:ext cx="381147" cy="227065"/>
          </a:xfrm>
          <a:prstGeom prst="rect">
            <a:avLst/>
          </a:prstGeom>
        </p:spPr>
      </p:pic>
      <p:pic>
        <p:nvPicPr>
          <p:cNvPr id="63" name="Picture 62" descr="Text&#10;&#10;Description automatically generated with medium confidence">
            <a:extLst>
              <a:ext uri="{FF2B5EF4-FFF2-40B4-BE49-F238E27FC236}">
                <a16:creationId xmlns:a16="http://schemas.microsoft.com/office/drawing/2014/main" id="{FC1EB194-0DFF-4F20-82D6-4DE9485C4639}"/>
              </a:ext>
            </a:extLst>
          </p:cNvPr>
          <p:cNvPicPr>
            <a:picLocks noChangeAspect="1"/>
          </p:cNvPicPr>
          <p:nvPr userDrawn="1"/>
        </p:nvPicPr>
        <p:blipFill rotWithShape="1">
          <a:blip r:embed="rId5" cstate="email">
            <a:alphaModFix amt="9000"/>
            <a:extLst>
              <a:ext uri="{28A0092B-C50C-407E-A947-70E740481C1C}">
                <a14:useLocalDpi xmlns:a14="http://schemas.microsoft.com/office/drawing/2010/main"/>
              </a:ext>
            </a:extLst>
          </a:blip>
          <a:srcRect r="81029"/>
          <a:stretch/>
        </p:blipFill>
        <p:spPr>
          <a:xfrm>
            <a:off x="96431" y="5753883"/>
            <a:ext cx="628186" cy="983450"/>
          </a:xfrm>
          <a:prstGeom prst="rect">
            <a:avLst/>
          </a:prstGeom>
        </p:spPr>
      </p:pic>
      <p:sp>
        <p:nvSpPr>
          <p:cNvPr id="64" name="Rectangle 63">
            <a:extLst>
              <a:ext uri="{FF2B5EF4-FFF2-40B4-BE49-F238E27FC236}">
                <a16:creationId xmlns:a16="http://schemas.microsoft.com/office/drawing/2014/main" id="{4DF125DD-641D-457D-80AA-40C92ED8AB60}"/>
              </a:ext>
            </a:extLst>
          </p:cNvPr>
          <p:cNvSpPr/>
          <p:nvPr userDrawn="1"/>
        </p:nvSpPr>
        <p:spPr>
          <a:xfrm>
            <a:off x="228600" y="6148263"/>
            <a:ext cx="273844" cy="273844"/>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41327BCB-9632-4B74-83D1-1C30E806AD0E}"/>
              </a:ext>
            </a:extLst>
          </p:cNvPr>
          <p:cNvSpPr>
            <a:spLocks noGrp="1"/>
          </p:cNvSpPr>
          <p:nvPr>
            <p:ph type="sldNum" sz="quarter" idx="12"/>
          </p:nvPr>
        </p:nvSpPr>
        <p:spPr>
          <a:xfrm>
            <a:off x="228600" y="6208241"/>
            <a:ext cx="273844" cy="153888"/>
          </a:xfrm>
          <a:prstGeom prst="rect">
            <a:avLst/>
          </a:prstGeom>
        </p:spPr>
        <p:txBody>
          <a:bodyPr lIns="0" tIns="0" rIns="0" bIns="0">
            <a:spAutoFit/>
          </a:bodyPr>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33072413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AE0D2-1860-4AA8-9310-57EF0910DA2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DD08721E-0434-42DA-9DF3-3BC8909B4E8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5AB0461E-CB5F-4D90-A4F9-DDE57620D741}"/>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0B474C28-0158-413E-B54C-F7E1281F49AA}"/>
              </a:ext>
            </a:extLst>
          </p:cNvPr>
          <p:cNvSpPr>
            <a:spLocks noGrp="1"/>
          </p:cNvSpPr>
          <p:nvPr>
            <p:ph type="sldNum" sz="quarter" idx="12"/>
          </p:nvPr>
        </p:nvSpPr>
        <p:spPr>
          <a:xfrm>
            <a:off x="228600" y="6208241"/>
            <a:ext cx="273844" cy="153888"/>
          </a:xfrm>
          <a:prstGeom prst="rect">
            <a:avLst/>
          </a:prstGeom>
        </p:spPr>
        <p:txBody>
          <a:bodyPr lIns="0" tIns="0" rIns="0" bIns="0">
            <a:spAutoFit/>
          </a:bodyPr>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11386179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A05EA00-5BB3-4B80-8F6F-E6C49A38D85C}"/>
              </a:ext>
            </a:extLst>
          </p:cNvPr>
          <p:cNvGraphicFramePr>
            <a:graphicFrameLocks noChangeAspect="1"/>
          </p:cNvGraphicFramePr>
          <p:nvPr userDrawn="1">
            <p:custDataLst>
              <p:tags r:id="rId1"/>
            </p:custDataLst>
            <p:extLst>
              <p:ext uri="{D42A27DB-BD31-4B8C-83A1-F6EECF244321}">
                <p14:modId xmlns:p14="http://schemas.microsoft.com/office/powerpoint/2010/main" val="1533565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2" imgH="362" progId="TCLayout.ActiveDocument.1">
                  <p:embed/>
                </p:oleObj>
              </mc:Choice>
              <mc:Fallback>
                <p:oleObj name="think-cell Slide" r:id="rId3" imgW="362" imgH="362" progId="TCLayout.ActiveDocument.1">
                  <p:embed/>
                  <p:pic>
                    <p:nvPicPr>
                      <p:cNvPr id="7" name="Object 6" hidden="1">
                        <a:extLst>
                          <a:ext uri="{FF2B5EF4-FFF2-40B4-BE49-F238E27FC236}">
                            <a16:creationId xmlns:a16="http://schemas.microsoft.com/office/drawing/2014/main" id="{6A05EA00-5BB3-4B80-8F6F-E6C49A38D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2E6FC0-D97E-40D0-9947-2567051B29BA}"/>
              </a:ext>
            </a:extLst>
          </p:cNvPr>
          <p:cNvSpPr>
            <a:spLocks noGrp="1"/>
          </p:cNvSpPr>
          <p:nvPr>
            <p:ph type="title"/>
          </p:nvPr>
        </p:nvSpPr>
        <p:spPr/>
        <p:txBody>
          <a:bodyPr vert="horz"/>
          <a:lstStyle/>
          <a:p>
            <a:r>
              <a:rPr lang="en-US"/>
              <a:t>Click to edit Master title style</a:t>
            </a:r>
            <a:endParaRPr lang="en-ID"/>
          </a:p>
        </p:txBody>
      </p:sp>
      <p:sp>
        <p:nvSpPr>
          <p:cNvPr id="4" name="Footer Placeholder 3">
            <a:extLst>
              <a:ext uri="{FF2B5EF4-FFF2-40B4-BE49-F238E27FC236}">
                <a16:creationId xmlns:a16="http://schemas.microsoft.com/office/drawing/2014/main" id="{FB1310C1-366C-4B1C-95D7-D500CCCBEA04}"/>
              </a:ext>
            </a:extLst>
          </p:cNvPr>
          <p:cNvSpPr>
            <a:spLocks noGrp="1"/>
          </p:cNvSpPr>
          <p:nvPr>
            <p:ph type="ftr" sz="quarter" idx="11"/>
          </p:nvPr>
        </p:nvSpPr>
        <p:spPr/>
        <p:txBody>
          <a:bodyPr/>
          <a:lstStyle/>
          <a:p>
            <a:endParaRPr lang="en-ID"/>
          </a:p>
        </p:txBody>
      </p:sp>
      <p:sp>
        <p:nvSpPr>
          <p:cNvPr id="8" name="Rectangle 7">
            <a:extLst>
              <a:ext uri="{FF2B5EF4-FFF2-40B4-BE49-F238E27FC236}">
                <a16:creationId xmlns:a16="http://schemas.microsoft.com/office/drawing/2014/main" id="{C0F1CC77-D049-4E2C-A69C-C67AA1CDF4F5}"/>
              </a:ext>
            </a:extLst>
          </p:cNvPr>
          <p:cNvSpPr/>
          <p:nvPr userDrawn="1"/>
        </p:nvSpPr>
        <p:spPr>
          <a:xfrm>
            <a:off x="-1" y="0"/>
            <a:ext cx="724619" cy="6858000"/>
          </a:xfrm>
          <a:prstGeom prst="rect">
            <a:avLst/>
          </a:prstGeom>
          <a:gradFill>
            <a:gsLst>
              <a:gs pos="0">
                <a:schemeClr val="accent1"/>
              </a:gs>
              <a:gs pos="100000">
                <a:schemeClr val="accent1">
                  <a:lumMod val="50000"/>
                </a:schemeClr>
              </a:gs>
            </a:gsLst>
            <a:lin ang="5400000" scaled="1"/>
          </a:gradFill>
          <a:ln>
            <a:noFill/>
          </a:ln>
        </p:spPr>
        <p:txBody>
          <a:bodyPr spcFirstLastPara="1" wrap="square" lIns="91425" tIns="45700" rIns="91425" bIns="45700" anchor="ctr" anchorCtr="0">
            <a:noAutofit/>
          </a:bodyPr>
          <a:lstStyle/>
          <a:p>
            <a:pPr marR="0" lvl="0" indent="0" algn="ctr" fontAlgn="auto">
              <a:lnSpc>
                <a:spcPct val="100000"/>
              </a:lnSpc>
              <a:spcBef>
                <a:spcPts val="0"/>
              </a:spcBef>
              <a:spcAft>
                <a:spcPts val="0"/>
              </a:spcAft>
              <a:buClr>
                <a:srgbClr val="FFFFFF"/>
              </a:buClr>
              <a:buSzPts val="1800"/>
              <a:buFont typeface="Arial"/>
              <a:buNone/>
              <a:tabLst/>
            </a:pPr>
            <a:endParaRPr kumimoji="0" lang="en-US" b="0" i="0" u="none" strike="noStrike" kern="0" cap="none" spc="0" normalizeH="0" baseline="0">
              <a:ln>
                <a:noFill/>
              </a:ln>
              <a:solidFill>
                <a:srgbClr val="FFFFFF"/>
              </a:solidFill>
              <a:effectLst/>
              <a:uLnTx/>
              <a:uFillTx/>
              <a:latin typeface="Arial"/>
              <a:cs typeface="Arial"/>
            </a:endParaRPr>
          </a:p>
        </p:txBody>
      </p:sp>
      <p:cxnSp>
        <p:nvCxnSpPr>
          <p:cNvPr id="9" name="Straight Connector 8">
            <a:extLst>
              <a:ext uri="{FF2B5EF4-FFF2-40B4-BE49-F238E27FC236}">
                <a16:creationId xmlns:a16="http://schemas.microsoft.com/office/drawing/2014/main" id="{C5C72183-6748-48DB-B2E6-D04517EC54EC}"/>
              </a:ext>
            </a:extLst>
          </p:cNvPr>
          <p:cNvCxnSpPr>
            <a:cxnSpLocks/>
          </p:cNvCxnSpPr>
          <p:nvPr userDrawn="1"/>
        </p:nvCxnSpPr>
        <p:spPr>
          <a:xfrm flipV="1">
            <a:off x="361438" y="1369847"/>
            <a:ext cx="0" cy="4351338"/>
          </a:xfrm>
          <a:prstGeom prst="line">
            <a:avLst/>
          </a:prstGeom>
          <a:ln>
            <a:solidFill>
              <a:schemeClr val="bg1">
                <a:alpha val="24000"/>
              </a:schemeClr>
            </a:solidFill>
            <a:headEnd type="oval"/>
          </a:ln>
        </p:spPr>
        <p:style>
          <a:lnRef idx="1">
            <a:schemeClr val="accent1"/>
          </a:lnRef>
          <a:fillRef idx="0">
            <a:schemeClr val="accent1"/>
          </a:fillRef>
          <a:effectRef idx="0">
            <a:schemeClr val="accent1"/>
          </a:effectRef>
          <a:fontRef idx="minor">
            <a:schemeClr val="tx1"/>
          </a:fontRef>
        </p:style>
      </p:cxnSp>
      <p:pic>
        <p:nvPicPr>
          <p:cNvPr id="10" name="Picture 9" descr="Text&#10;&#10;Description automatically generated with medium confidence">
            <a:extLst>
              <a:ext uri="{FF2B5EF4-FFF2-40B4-BE49-F238E27FC236}">
                <a16:creationId xmlns:a16="http://schemas.microsoft.com/office/drawing/2014/main" id="{D40FD119-4239-4450-99D3-B9F3CC842A0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62058"/>
          <a:stretch/>
        </p:blipFill>
        <p:spPr>
          <a:xfrm>
            <a:off x="158134" y="502959"/>
            <a:ext cx="408348" cy="319643"/>
          </a:xfrm>
          <a:prstGeom prst="rect">
            <a:avLst/>
          </a:prstGeom>
        </p:spPr>
      </p:pic>
      <p:pic>
        <p:nvPicPr>
          <p:cNvPr id="11" name="Picture 10" descr="Text&#10;&#10;Description automatically generated with medium confidence">
            <a:extLst>
              <a:ext uri="{FF2B5EF4-FFF2-40B4-BE49-F238E27FC236}">
                <a16:creationId xmlns:a16="http://schemas.microsoft.com/office/drawing/2014/main" id="{848744F5-7484-489D-AAC2-F25F5E23C43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0146"/>
          <a:stretch/>
        </p:blipFill>
        <p:spPr>
          <a:xfrm>
            <a:off x="171735" y="863448"/>
            <a:ext cx="381147" cy="227065"/>
          </a:xfrm>
          <a:prstGeom prst="rect">
            <a:avLst/>
          </a:prstGeom>
        </p:spPr>
      </p:pic>
      <p:pic>
        <p:nvPicPr>
          <p:cNvPr id="12" name="Picture 11" descr="Text&#10;&#10;Description automatically generated with medium confidence">
            <a:extLst>
              <a:ext uri="{FF2B5EF4-FFF2-40B4-BE49-F238E27FC236}">
                <a16:creationId xmlns:a16="http://schemas.microsoft.com/office/drawing/2014/main" id="{F18DFED2-30D7-4B0E-8207-9AFF17AE6916}"/>
              </a:ext>
            </a:extLst>
          </p:cNvPr>
          <p:cNvPicPr>
            <a:picLocks noChangeAspect="1"/>
          </p:cNvPicPr>
          <p:nvPr userDrawn="1"/>
        </p:nvPicPr>
        <p:blipFill rotWithShape="1">
          <a:blip r:embed="rId5" cstate="email">
            <a:alphaModFix amt="9000"/>
            <a:extLst>
              <a:ext uri="{28A0092B-C50C-407E-A947-70E740481C1C}">
                <a14:useLocalDpi xmlns:a14="http://schemas.microsoft.com/office/drawing/2010/main"/>
              </a:ext>
            </a:extLst>
          </a:blip>
          <a:srcRect r="81029"/>
          <a:stretch/>
        </p:blipFill>
        <p:spPr>
          <a:xfrm>
            <a:off x="96431" y="5753883"/>
            <a:ext cx="628186" cy="983450"/>
          </a:xfrm>
          <a:prstGeom prst="rect">
            <a:avLst/>
          </a:prstGeom>
        </p:spPr>
      </p:pic>
      <p:sp>
        <p:nvSpPr>
          <p:cNvPr id="13" name="Rectangle 12">
            <a:extLst>
              <a:ext uri="{FF2B5EF4-FFF2-40B4-BE49-F238E27FC236}">
                <a16:creationId xmlns:a16="http://schemas.microsoft.com/office/drawing/2014/main" id="{9978A96D-F7EF-4343-9554-8C0EB59A6C9C}"/>
              </a:ext>
            </a:extLst>
          </p:cNvPr>
          <p:cNvSpPr/>
          <p:nvPr userDrawn="1"/>
        </p:nvSpPr>
        <p:spPr>
          <a:xfrm>
            <a:off x="228600" y="6148263"/>
            <a:ext cx="273844" cy="273844"/>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1AA0E945-2C8F-4F31-86C2-497523DA50D3}"/>
              </a:ext>
            </a:extLst>
          </p:cNvPr>
          <p:cNvSpPr>
            <a:spLocks noGrp="1"/>
          </p:cNvSpPr>
          <p:nvPr>
            <p:ph type="sldNum" sz="quarter" idx="12"/>
          </p:nvPr>
        </p:nvSpPr>
        <p:spPr>
          <a:xfrm>
            <a:off x="228600" y="6208241"/>
            <a:ext cx="273844" cy="153888"/>
          </a:xfrm>
          <a:prstGeom prst="rect">
            <a:avLst/>
          </a:prstGeom>
        </p:spPr>
        <p:txBody>
          <a:bodyPr lIns="0" tIns="0" rIns="0" bIns="0"/>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1668032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C9ACB163-ABAC-45DD-B0EB-CDB0D8ED59F2}"/>
              </a:ext>
            </a:extLst>
          </p:cNvPr>
          <p:cNvGraphicFramePr>
            <a:graphicFrameLocks noChangeAspect="1"/>
          </p:cNvGraphicFramePr>
          <p:nvPr userDrawn="1">
            <p:custDataLst>
              <p:tags r:id="rId1"/>
            </p:custDataLst>
            <p:extLst>
              <p:ext uri="{D42A27DB-BD31-4B8C-83A1-F6EECF244321}">
                <p14:modId xmlns:p14="http://schemas.microsoft.com/office/powerpoint/2010/main" val="88715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2" imgH="362" progId="TCLayout.ActiveDocument.1">
                  <p:embed/>
                </p:oleObj>
              </mc:Choice>
              <mc:Fallback>
                <p:oleObj name="think-cell Slide" r:id="rId3" imgW="362" imgH="362" progId="TCLayout.ActiveDocument.1">
                  <p:embed/>
                  <p:pic>
                    <p:nvPicPr>
                      <p:cNvPr id="19" name="Object 18" hidden="1">
                        <a:extLst>
                          <a:ext uri="{FF2B5EF4-FFF2-40B4-BE49-F238E27FC236}">
                            <a16:creationId xmlns:a16="http://schemas.microsoft.com/office/drawing/2014/main" id="{C9ACB163-ABAC-45DD-B0EB-CDB0D8ED59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8017989B-2C2C-479F-96DC-114FB5076B40}"/>
              </a:ext>
            </a:extLst>
          </p:cNvPr>
          <p:cNvSpPr>
            <a:spLocks noGrp="1"/>
          </p:cNvSpPr>
          <p:nvPr>
            <p:ph type="ftr" sz="quarter" idx="11"/>
          </p:nvPr>
        </p:nvSpPr>
        <p:spPr/>
        <p:txBody>
          <a:bodyPr/>
          <a:lstStyle/>
          <a:p>
            <a:endParaRPr lang="en-ID"/>
          </a:p>
        </p:txBody>
      </p:sp>
      <p:sp>
        <p:nvSpPr>
          <p:cNvPr id="12" name="Rectangle 11">
            <a:extLst>
              <a:ext uri="{FF2B5EF4-FFF2-40B4-BE49-F238E27FC236}">
                <a16:creationId xmlns:a16="http://schemas.microsoft.com/office/drawing/2014/main" id="{12395A42-A1A5-47EA-9089-F9630BE62F15}"/>
              </a:ext>
            </a:extLst>
          </p:cNvPr>
          <p:cNvSpPr/>
          <p:nvPr userDrawn="1"/>
        </p:nvSpPr>
        <p:spPr>
          <a:xfrm>
            <a:off x="-1" y="0"/>
            <a:ext cx="724619" cy="6858000"/>
          </a:xfrm>
          <a:prstGeom prst="rect">
            <a:avLst/>
          </a:prstGeom>
          <a:gradFill>
            <a:gsLst>
              <a:gs pos="0">
                <a:schemeClr val="accent1"/>
              </a:gs>
              <a:gs pos="100000">
                <a:schemeClr val="accent1">
                  <a:lumMod val="50000"/>
                </a:schemeClr>
              </a:gs>
            </a:gsLst>
            <a:lin ang="5400000" scaled="1"/>
          </a:gradFill>
          <a:ln>
            <a:noFill/>
          </a:ln>
        </p:spPr>
        <p:txBody>
          <a:bodyPr spcFirstLastPara="1" wrap="square" lIns="91425" tIns="45700" rIns="91425" bIns="45700" anchor="ctr" anchorCtr="0">
            <a:noAutofit/>
          </a:bodyPr>
          <a:lstStyle/>
          <a:p>
            <a:pPr marR="0" lvl="0" indent="0" algn="ctr" fontAlgn="auto">
              <a:lnSpc>
                <a:spcPct val="100000"/>
              </a:lnSpc>
              <a:spcBef>
                <a:spcPts val="0"/>
              </a:spcBef>
              <a:spcAft>
                <a:spcPts val="0"/>
              </a:spcAft>
              <a:buClr>
                <a:srgbClr val="FFFFFF"/>
              </a:buClr>
              <a:buSzPts val="1800"/>
              <a:buFont typeface="Arial"/>
              <a:buNone/>
              <a:tabLst/>
            </a:pPr>
            <a:endParaRPr kumimoji="0" lang="en-US" b="0" i="0" u="none" strike="noStrike" kern="0" cap="none" spc="0" normalizeH="0" baseline="0">
              <a:ln>
                <a:noFill/>
              </a:ln>
              <a:solidFill>
                <a:srgbClr val="FFFFFF"/>
              </a:solidFill>
              <a:effectLst/>
              <a:uLnTx/>
              <a:uFillTx/>
              <a:latin typeface="Arial"/>
              <a:cs typeface="Arial"/>
            </a:endParaRPr>
          </a:p>
        </p:txBody>
      </p:sp>
      <p:cxnSp>
        <p:nvCxnSpPr>
          <p:cNvPr id="13" name="Straight Connector 12">
            <a:extLst>
              <a:ext uri="{FF2B5EF4-FFF2-40B4-BE49-F238E27FC236}">
                <a16:creationId xmlns:a16="http://schemas.microsoft.com/office/drawing/2014/main" id="{87CB78DA-CE59-4A78-A838-844CCFA3AD5B}"/>
              </a:ext>
            </a:extLst>
          </p:cNvPr>
          <p:cNvCxnSpPr>
            <a:cxnSpLocks/>
          </p:cNvCxnSpPr>
          <p:nvPr userDrawn="1"/>
        </p:nvCxnSpPr>
        <p:spPr>
          <a:xfrm flipV="1">
            <a:off x="361438" y="1369847"/>
            <a:ext cx="0" cy="4351338"/>
          </a:xfrm>
          <a:prstGeom prst="line">
            <a:avLst/>
          </a:prstGeom>
          <a:ln>
            <a:solidFill>
              <a:schemeClr val="bg1">
                <a:alpha val="24000"/>
              </a:schemeClr>
            </a:solidFill>
            <a:headEnd type="oval"/>
          </a:ln>
        </p:spPr>
        <p:style>
          <a:lnRef idx="1">
            <a:schemeClr val="accent1"/>
          </a:lnRef>
          <a:fillRef idx="0">
            <a:schemeClr val="accent1"/>
          </a:fillRef>
          <a:effectRef idx="0">
            <a:schemeClr val="accent1"/>
          </a:effectRef>
          <a:fontRef idx="minor">
            <a:schemeClr val="tx1"/>
          </a:fontRef>
        </p:style>
      </p:cxnSp>
      <p:pic>
        <p:nvPicPr>
          <p:cNvPr id="14" name="Picture 13" descr="Text&#10;&#10;Description automatically generated with medium confidence">
            <a:extLst>
              <a:ext uri="{FF2B5EF4-FFF2-40B4-BE49-F238E27FC236}">
                <a16:creationId xmlns:a16="http://schemas.microsoft.com/office/drawing/2014/main" id="{AD360839-8D00-4BF8-B8EA-F31DE6B0DABB}"/>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62058"/>
          <a:stretch/>
        </p:blipFill>
        <p:spPr>
          <a:xfrm>
            <a:off x="158134" y="502959"/>
            <a:ext cx="408348" cy="319643"/>
          </a:xfrm>
          <a:prstGeom prst="rect">
            <a:avLst/>
          </a:prstGeom>
        </p:spPr>
      </p:pic>
      <p:pic>
        <p:nvPicPr>
          <p:cNvPr id="15" name="Picture 14" descr="Text&#10;&#10;Description automatically generated with medium confidence">
            <a:extLst>
              <a:ext uri="{FF2B5EF4-FFF2-40B4-BE49-F238E27FC236}">
                <a16:creationId xmlns:a16="http://schemas.microsoft.com/office/drawing/2014/main" id="{99D8231A-AA75-459A-956A-80889E1D309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0146"/>
          <a:stretch/>
        </p:blipFill>
        <p:spPr>
          <a:xfrm>
            <a:off x="171735" y="863448"/>
            <a:ext cx="381147" cy="227065"/>
          </a:xfrm>
          <a:prstGeom prst="rect">
            <a:avLst/>
          </a:prstGeom>
        </p:spPr>
      </p:pic>
      <p:pic>
        <p:nvPicPr>
          <p:cNvPr id="16" name="Picture 15" descr="Text&#10;&#10;Description automatically generated with medium confidence">
            <a:extLst>
              <a:ext uri="{FF2B5EF4-FFF2-40B4-BE49-F238E27FC236}">
                <a16:creationId xmlns:a16="http://schemas.microsoft.com/office/drawing/2014/main" id="{025536CA-4076-4419-B3AE-563EFC333B3F}"/>
              </a:ext>
            </a:extLst>
          </p:cNvPr>
          <p:cNvPicPr>
            <a:picLocks noChangeAspect="1"/>
          </p:cNvPicPr>
          <p:nvPr userDrawn="1"/>
        </p:nvPicPr>
        <p:blipFill rotWithShape="1">
          <a:blip r:embed="rId5" cstate="email">
            <a:alphaModFix amt="9000"/>
            <a:extLst>
              <a:ext uri="{28A0092B-C50C-407E-A947-70E740481C1C}">
                <a14:useLocalDpi xmlns:a14="http://schemas.microsoft.com/office/drawing/2010/main"/>
              </a:ext>
            </a:extLst>
          </a:blip>
          <a:srcRect r="81029"/>
          <a:stretch/>
        </p:blipFill>
        <p:spPr>
          <a:xfrm>
            <a:off x="96431" y="5753883"/>
            <a:ext cx="628186" cy="983450"/>
          </a:xfrm>
          <a:prstGeom prst="rect">
            <a:avLst/>
          </a:prstGeom>
        </p:spPr>
      </p:pic>
      <p:sp>
        <p:nvSpPr>
          <p:cNvPr id="17" name="Rectangle 16">
            <a:extLst>
              <a:ext uri="{FF2B5EF4-FFF2-40B4-BE49-F238E27FC236}">
                <a16:creationId xmlns:a16="http://schemas.microsoft.com/office/drawing/2014/main" id="{D0D539DC-97CB-43BC-A0A9-342A385C7583}"/>
              </a:ext>
            </a:extLst>
          </p:cNvPr>
          <p:cNvSpPr/>
          <p:nvPr userDrawn="1"/>
        </p:nvSpPr>
        <p:spPr>
          <a:xfrm>
            <a:off x="228600" y="6148263"/>
            <a:ext cx="273844" cy="273844"/>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E432CC67-CCD9-4237-BAA4-9FDE61F1A202}"/>
              </a:ext>
            </a:extLst>
          </p:cNvPr>
          <p:cNvSpPr>
            <a:spLocks noGrp="1"/>
          </p:cNvSpPr>
          <p:nvPr>
            <p:ph type="sldNum" sz="quarter" idx="12"/>
          </p:nvPr>
        </p:nvSpPr>
        <p:spPr>
          <a:xfrm>
            <a:off x="228600" y="6208241"/>
            <a:ext cx="273844" cy="153888"/>
          </a:xfrm>
          <a:prstGeom prst="rect">
            <a:avLst/>
          </a:prstGeom>
        </p:spPr>
        <p:txBody>
          <a:bodyPr lIns="0" tIns="0" rIns="0" bIns="0"/>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2823309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12E0C-6518-4F5C-AC94-F66463D836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5270F90A-C867-4723-A104-9C61647C51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5" name="Footer Placeholder 4">
            <a:extLst>
              <a:ext uri="{FF2B5EF4-FFF2-40B4-BE49-F238E27FC236}">
                <a16:creationId xmlns:a16="http://schemas.microsoft.com/office/drawing/2014/main" id="{767AC275-094C-4046-84E6-D7DDC275BD4D}"/>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AF40B882-E32E-4C31-9E17-49684C4A702D}"/>
              </a:ext>
            </a:extLst>
          </p:cNvPr>
          <p:cNvSpPr>
            <a:spLocks noGrp="1"/>
          </p:cNvSpPr>
          <p:nvPr>
            <p:ph type="sldNum" sz="quarter" idx="12"/>
          </p:nvPr>
        </p:nvSpPr>
        <p:spPr>
          <a:xfrm>
            <a:off x="228600" y="6208241"/>
            <a:ext cx="273844" cy="153888"/>
          </a:xfrm>
          <a:prstGeom prst="rect">
            <a:avLst/>
          </a:prstGeom>
        </p:spPr>
        <p:txBody>
          <a:bodyPr lIns="0" tIns="0" rIns="0" bIns="0"/>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7595985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7" name="Object 66" hidden="1">
            <a:extLst>
              <a:ext uri="{FF2B5EF4-FFF2-40B4-BE49-F238E27FC236}">
                <a16:creationId xmlns:a16="http://schemas.microsoft.com/office/drawing/2014/main" id="{32452EC7-0E2F-437B-B5C1-C2826D32A44F}"/>
              </a:ext>
            </a:extLst>
          </p:cNvPr>
          <p:cNvGraphicFramePr>
            <a:graphicFrameLocks noChangeAspect="1"/>
          </p:cNvGraphicFramePr>
          <p:nvPr userDrawn="1">
            <p:custDataLst>
              <p:tags r:id="rId1"/>
            </p:custDataLst>
            <p:extLst>
              <p:ext uri="{D42A27DB-BD31-4B8C-83A1-F6EECF244321}">
                <p14:modId xmlns:p14="http://schemas.microsoft.com/office/powerpoint/2010/main" val="3385931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2" imgH="362" progId="TCLayout.ActiveDocument.1">
                  <p:embed/>
                </p:oleObj>
              </mc:Choice>
              <mc:Fallback>
                <p:oleObj name="think-cell Slide" r:id="rId3" imgW="362" imgH="362" progId="TCLayout.ActiveDocument.1">
                  <p:embed/>
                  <p:pic>
                    <p:nvPicPr>
                      <p:cNvPr id="67" name="Object 66" hidden="1">
                        <a:extLst>
                          <a:ext uri="{FF2B5EF4-FFF2-40B4-BE49-F238E27FC236}">
                            <a16:creationId xmlns:a16="http://schemas.microsoft.com/office/drawing/2014/main" id="{32452EC7-0E2F-437B-B5C1-C2826D32A4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FCF59F-F2C4-4E70-8F37-0A81B38DD8A8}"/>
              </a:ext>
            </a:extLst>
          </p:cNvPr>
          <p:cNvSpPr>
            <a:spLocks noGrp="1"/>
          </p:cNvSpPr>
          <p:nvPr>
            <p:ph type="title"/>
          </p:nvPr>
        </p:nvSpPr>
        <p:spPr/>
        <p:txBody>
          <a:bodyPr vert="horz" wrap="square"/>
          <a:lstStyle/>
          <a:p>
            <a:r>
              <a:rPr lang="en-US"/>
              <a:t>Click to edit Master title style</a:t>
            </a:r>
            <a:endParaRPr lang="en-ID"/>
          </a:p>
        </p:txBody>
      </p:sp>
      <p:sp>
        <p:nvSpPr>
          <p:cNvPr id="3" name="Content Placeholder 2">
            <a:extLst>
              <a:ext uri="{FF2B5EF4-FFF2-40B4-BE49-F238E27FC236}">
                <a16:creationId xmlns:a16="http://schemas.microsoft.com/office/drawing/2014/main" id="{8CC47A47-BDF6-4729-85C6-E78FF9AF8A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Footer Placeholder 4">
            <a:extLst>
              <a:ext uri="{FF2B5EF4-FFF2-40B4-BE49-F238E27FC236}">
                <a16:creationId xmlns:a16="http://schemas.microsoft.com/office/drawing/2014/main" id="{BABCACF3-F1AA-4116-9D30-2570460F9178}"/>
              </a:ext>
            </a:extLst>
          </p:cNvPr>
          <p:cNvSpPr>
            <a:spLocks noGrp="1"/>
          </p:cNvSpPr>
          <p:nvPr>
            <p:ph type="ftr" sz="quarter" idx="11"/>
          </p:nvPr>
        </p:nvSpPr>
        <p:spPr>
          <a:xfrm>
            <a:off x="7743522" y="6208241"/>
            <a:ext cx="4114800" cy="153888"/>
          </a:xfrm>
        </p:spPr>
        <p:txBody>
          <a:bodyPr/>
          <a:lstStyle/>
          <a:p>
            <a:endParaRPr lang="en-ID"/>
          </a:p>
        </p:txBody>
      </p:sp>
      <p:sp>
        <p:nvSpPr>
          <p:cNvPr id="59" name="Rectangle 58">
            <a:extLst>
              <a:ext uri="{FF2B5EF4-FFF2-40B4-BE49-F238E27FC236}">
                <a16:creationId xmlns:a16="http://schemas.microsoft.com/office/drawing/2014/main" id="{28883A86-6BC3-43DB-A574-A3DFA32E8C43}"/>
              </a:ext>
            </a:extLst>
          </p:cNvPr>
          <p:cNvSpPr/>
          <p:nvPr userDrawn="1"/>
        </p:nvSpPr>
        <p:spPr>
          <a:xfrm>
            <a:off x="-1" y="0"/>
            <a:ext cx="724619" cy="6858000"/>
          </a:xfrm>
          <a:prstGeom prst="rect">
            <a:avLst/>
          </a:prstGeom>
          <a:gradFill>
            <a:gsLst>
              <a:gs pos="0">
                <a:schemeClr val="accent1"/>
              </a:gs>
              <a:gs pos="100000">
                <a:schemeClr val="accent1">
                  <a:lumMod val="50000"/>
                </a:schemeClr>
              </a:gs>
            </a:gsLst>
            <a:lin ang="5400000" scaled="1"/>
          </a:gradFill>
          <a:ln>
            <a:noFill/>
          </a:ln>
        </p:spPr>
        <p:txBody>
          <a:bodyPr spcFirstLastPara="1" wrap="square" lIns="91425" tIns="45700" rIns="91425" bIns="45700" anchor="ctr" anchorCtr="0">
            <a:noAutofit/>
          </a:bodyPr>
          <a:lstStyle/>
          <a:p>
            <a:pPr marR="0" lvl="0" indent="0" algn="ctr" fontAlgn="auto">
              <a:lnSpc>
                <a:spcPct val="100000"/>
              </a:lnSpc>
              <a:spcBef>
                <a:spcPts val="0"/>
              </a:spcBef>
              <a:spcAft>
                <a:spcPts val="0"/>
              </a:spcAft>
              <a:buClr>
                <a:srgbClr val="FFFFFF"/>
              </a:buClr>
              <a:buSzPts val="1800"/>
              <a:buFont typeface="Arial"/>
              <a:buNone/>
              <a:tabLst/>
            </a:pPr>
            <a:endParaRPr kumimoji="0" lang="en-US" b="0" i="0" u="none" strike="noStrike" kern="0" cap="none" spc="0" normalizeH="0" baseline="0">
              <a:ln>
                <a:noFill/>
              </a:ln>
              <a:solidFill>
                <a:srgbClr val="FFFFFF"/>
              </a:solidFill>
              <a:effectLst/>
              <a:uLnTx/>
              <a:uFillTx/>
              <a:latin typeface="Arial"/>
              <a:cs typeface="Arial"/>
            </a:endParaRPr>
          </a:p>
        </p:txBody>
      </p:sp>
      <p:cxnSp>
        <p:nvCxnSpPr>
          <p:cNvPr id="60" name="Straight Connector 59">
            <a:extLst>
              <a:ext uri="{FF2B5EF4-FFF2-40B4-BE49-F238E27FC236}">
                <a16:creationId xmlns:a16="http://schemas.microsoft.com/office/drawing/2014/main" id="{A1FAE1A3-C059-4B8A-97D9-CD34531A3537}"/>
              </a:ext>
            </a:extLst>
          </p:cNvPr>
          <p:cNvCxnSpPr>
            <a:cxnSpLocks/>
          </p:cNvCxnSpPr>
          <p:nvPr userDrawn="1"/>
        </p:nvCxnSpPr>
        <p:spPr>
          <a:xfrm flipV="1">
            <a:off x="361438" y="1369847"/>
            <a:ext cx="0" cy="4351338"/>
          </a:xfrm>
          <a:prstGeom prst="line">
            <a:avLst/>
          </a:prstGeom>
          <a:ln>
            <a:solidFill>
              <a:schemeClr val="bg1">
                <a:alpha val="24000"/>
              </a:schemeClr>
            </a:solidFill>
            <a:headEnd type="oval"/>
          </a:ln>
        </p:spPr>
        <p:style>
          <a:lnRef idx="1">
            <a:schemeClr val="accent1"/>
          </a:lnRef>
          <a:fillRef idx="0">
            <a:schemeClr val="accent1"/>
          </a:fillRef>
          <a:effectRef idx="0">
            <a:schemeClr val="accent1"/>
          </a:effectRef>
          <a:fontRef idx="minor">
            <a:schemeClr val="tx1"/>
          </a:fontRef>
        </p:style>
      </p:cxnSp>
      <p:pic>
        <p:nvPicPr>
          <p:cNvPr id="61" name="Picture 60" descr="Text&#10;&#10;Description automatically generated with medium confidence">
            <a:extLst>
              <a:ext uri="{FF2B5EF4-FFF2-40B4-BE49-F238E27FC236}">
                <a16:creationId xmlns:a16="http://schemas.microsoft.com/office/drawing/2014/main" id="{C929B0E0-D3FC-4CCD-9A65-A01FC4919DE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62058"/>
          <a:stretch/>
        </p:blipFill>
        <p:spPr>
          <a:xfrm>
            <a:off x="158134" y="502959"/>
            <a:ext cx="408348" cy="319643"/>
          </a:xfrm>
          <a:prstGeom prst="rect">
            <a:avLst/>
          </a:prstGeom>
        </p:spPr>
      </p:pic>
      <p:pic>
        <p:nvPicPr>
          <p:cNvPr id="62" name="Picture 61" descr="Text&#10;&#10;Description automatically generated with medium confidence">
            <a:extLst>
              <a:ext uri="{FF2B5EF4-FFF2-40B4-BE49-F238E27FC236}">
                <a16:creationId xmlns:a16="http://schemas.microsoft.com/office/drawing/2014/main" id="{48007E24-A4A5-448D-87E1-C50CBEFAE52C}"/>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0146"/>
          <a:stretch/>
        </p:blipFill>
        <p:spPr>
          <a:xfrm>
            <a:off x="171735" y="863448"/>
            <a:ext cx="381147" cy="227065"/>
          </a:xfrm>
          <a:prstGeom prst="rect">
            <a:avLst/>
          </a:prstGeom>
        </p:spPr>
      </p:pic>
      <p:pic>
        <p:nvPicPr>
          <p:cNvPr id="63" name="Picture 62" descr="Text&#10;&#10;Description automatically generated with medium confidence">
            <a:extLst>
              <a:ext uri="{FF2B5EF4-FFF2-40B4-BE49-F238E27FC236}">
                <a16:creationId xmlns:a16="http://schemas.microsoft.com/office/drawing/2014/main" id="{FC1EB194-0DFF-4F20-82D6-4DE9485C4639}"/>
              </a:ext>
            </a:extLst>
          </p:cNvPr>
          <p:cNvPicPr>
            <a:picLocks noChangeAspect="1"/>
          </p:cNvPicPr>
          <p:nvPr userDrawn="1"/>
        </p:nvPicPr>
        <p:blipFill rotWithShape="1">
          <a:blip r:embed="rId5" cstate="email">
            <a:alphaModFix amt="9000"/>
            <a:extLst>
              <a:ext uri="{28A0092B-C50C-407E-A947-70E740481C1C}">
                <a14:useLocalDpi xmlns:a14="http://schemas.microsoft.com/office/drawing/2010/main"/>
              </a:ext>
            </a:extLst>
          </a:blip>
          <a:srcRect r="81029"/>
          <a:stretch/>
        </p:blipFill>
        <p:spPr>
          <a:xfrm>
            <a:off x="96431" y="5753883"/>
            <a:ext cx="628186" cy="983450"/>
          </a:xfrm>
          <a:prstGeom prst="rect">
            <a:avLst/>
          </a:prstGeom>
        </p:spPr>
      </p:pic>
      <p:sp>
        <p:nvSpPr>
          <p:cNvPr id="64" name="Rectangle 63">
            <a:extLst>
              <a:ext uri="{FF2B5EF4-FFF2-40B4-BE49-F238E27FC236}">
                <a16:creationId xmlns:a16="http://schemas.microsoft.com/office/drawing/2014/main" id="{4DF125DD-641D-457D-80AA-40C92ED8AB60}"/>
              </a:ext>
            </a:extLst>
          </p:cNvPr>
          <p:cNvSpPr/>
          <p:nvPr userDrawn="1"/>
        </p:nvSpPr>
        <p:spPr>
          <a:xfrm>
            <a:off x="228600" y="6148263"/>
            <a:ext cx="273844" cy="273844"/>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41327BCB-9632-4B74-83D1-1C30E806AD0E}"/>
              </a:ext>
            </a:extLst>
          </p:cNvPr>
          <p:cNvSpPr>
            <a:spLocks noGrp="1"/>
          </p:cNvSpPr>
          <p:nvPr>
            <p:ph type="sldNum" sz="quarter" idx="12"/>
          </p:nvPr>
        </p:nvSpPr>
        <p:spPr>
          <a:xfrm>
            <a:off x="228600" y="6208241"/>
            <a:ext cx="273844" cy="153888"/>
          </a:xfrm>
          <a:prstGeom prst="rect">
            <a:avLst/>
          </a:prstGeom>
        </p:spPr>
        <p:txBody>
          <a:bodyPr lIns="0" tIns="0" rIns="0" bIns="0">
            <a:spAutoFit/>
          </a:bodyPr>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4696526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AE0D2-1860-4AA8-9310-57EF0910DA2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DD08721E-0434-42DA-9DF3-3BC8909B4E8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5AB0461E-CB5F-4D90-A4F9-DDE57620D741}"/>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0B474C28-0158-413E-B54C-F7E1281F49AA}"/>
              </a:ext>
            </a:extLst>
          </p:cNvPr>
          <p:cNvSpPr>
            <a:spLocks noGrp="1"/>
          </p:cNvSpPr>
          <p:nvPr>
            <p:ph type="sldNum" sz="quarter" idx="12"/>
          </p:nvPr>
        </p:nvSpPr>
        <p:spPr>
          <a:xfrm>
            <a:off x="228600" y="6208241"/>
            <a:ext cx="273844" cy="153888"/>
          </a:xfrm>
          <a:prstGeom prst="rect">
            <a:avLst/>
          </a:prstGeom>
        </p:spPr>
        <p:txBody>
          <a:bodyPr lIns="0" tIns="0" rIns="0" bIns="0">
            <a:spAutoFit/>
          </a:bodyPr>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610750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A05EA00-5BB3-4B80-8F6F-E6C49A38D85C}"/>
              </a:ext>
            </a:extLst>
          </p:cNvPr>
          <p:cNvGraphicFramePr>
            <a:graphicFrameLocks noChangeAspect="1"/>
          </p:cNvGraphicFramePr>
          <p:nvPr userDrawn="1">
            <p:custDataLst>
              <p:tags r:id="rId1"/>
            </p:custDataLst>
            <p:extLst>
              <p:ext uri="{D42A27DB-BD31-4B8C-83A1-F6EECF244321}">
                <p14:modId xmlns:p14="http://schemas.microsoft.com/office/powerpoint/2010/main" val="1533565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2" imgH="362" progId="TCLayout.ActiveDocument.1">
                  <p:embed/>
                </p:oleObj>
              </mc:Choice>
              <mc:Fallback>
                <p:oleObj name="think-cell Slide" r:id="rId3" imgW="362" imgH="362" progId="TCLayout.ActiveDocument.1">
                  <p:embed/>
                  <p:pic>
                    <p:nvPicPr>
                      <p:cNvPr id="7" name="Object 6" hidden="1">
                        <a:extLst>
                          <a:ext uri="{FF2B5EF4-FFF2-40B4-BE49-F238E27FC236}">
                            <a16:creationId xmlns:a16="http://schemas.microsoft.com/office/drawing/2014/main" id="{6A05EA00-5BB3-4B80-8F6F-E6C49A38D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2E6FC0-D97E-40D0-9947-2567051B29BA}"/>
              </a:ext>
            </a:extLst>
          </p:cNvPr>
          <p:cNvSpPr>
            <a:spLocks noGrp="1"/>
          </p:cNvSpPr>
          <p:nvPr>
            <p:ph type="title"/>
          </p:nvPr>
        </p:nvSpPr>
        <p:spPr/>
        <p:txBody>
          <a:bodyPr vert="horz"/>
          <a:lstStyle/>
          <a:p>
            <a:r>
              <a:rPr lang="en-US"/>
              <a:t>Click to edit Master title style</a:t>
            </a:r>
            <a:endParaRPr lang="en-ID"/>
          </a:p>
        </p:txBody>
      </p:sp>
      <p:sp>
        <p:nvSpPr>
          <p:cNvPr id="4" name="Footer Placeholder 3">
            <a:extLst>
              <a:ext uri="{FF2B5EF4-FFF2-40B4-BE49-F238E27FC236}">
                <a16:creationId xmlns:a16="http://schemas.microsoft.com/office/drawing/2014/main" id="{FB1310C1-366C-4B1C-95D7-D500CCCBEA04}"/>
              </a:ext>
            </a:extLst>
          </p:cNvPr>
          <p:cNvSpPr>
            <a:spLocks noGrp="1"/>
          </p:cNvSpPr>
          <p:nvPr>
            <p:ph type="ftr" sz="quarter" idx="11"/>
          </p:nvPr>
        </p:nvSpPr>
        <p:spPr/>
        <p:txBody>
          <a:bodyPr/>
          <a:lstStyle/>
          <a:p>
            <a:endParaRPr lang="en-ID"/>
          </a:p>
        </p:txBody>
      </p:sp>
      <p:sp>
        <p:nvSpPr>
          <p:cNvPr id="8" name="Rectangle 7">
            <a:extLst>
              <a:ext uri="{FF2B5EF4-FFF2-40B4-BE49-F238E27FC236}">
                <a16:creationId xmlns:a16="http://schemas.microsoft.com/office/drawing/2014/main" id="{C0F1CC77-D049-4E2C-A69C-C67AA1CDF4F5}"/>
              </a:ext>
            </a:extLst>
          </p:cNvPr>
          <p:cNvSpPr/>
          <p:nvPr userDrawn="1"/>
        </p:nvSpPr>
        <p:spPr>
          <a:xfrm>
            <a:off x="-1" y="0"/>
            <a:ext cx="724619" cy="6858000"/>
          </a:xfrm>
          <a:prstGeom prst="rect">
            <a:avLst/>
          </a:prstGeom>
          <a:gradFill>
            <a:gsLst>
              <a:gs pos="0">
                <a:schemeClr val="accent1"/>
              </a:gs>
              <a:gs pos="100000">
                <a:schemeClr val="accent1">
                  <a:lumMod val="50000"/>
                </a:schemeClr>
              </a:gs>
            </a:gsLst>
            <a:lin ang="5400000" scaled="1"/>
          </a:gradFill>
          <a:ln>
            <a:noFill/>
          </a:ln>
        </p:spPr>
        <p:txBody>
          <a:bodyPr spcFirstLastPara="1" wrap="square" lIns="91425" tIns="45700" rIns="91425" bIns="45700" anchor="ctr" anchorCtr="0">
            <a:noAutofit/>
          </a:bodyPr>
          <a:lstStyle/>
          <a:p>
            <a:pPr marR="0" lvl="0" indent="0" algn="ctr" fontAlgn="auto">
              <a:lnSpc>
                <a:spcPct val="100000"/>
              </a:lnSpc>
              <a:spcBef>
                <a:spcPts val="0"/>
              </a:spcBef>
              <a:spcAft>
                <a:spcPts val="0"/>
              </a:spcAft>
              <a:buClr>
                <a:srgbClr val="FFFFFF"/>
              </a:buClr>
              <a:buSzPts val="1800"/>
              <a:buFont typeface="Arial"/>
              <a:buNone/>
              <a:tabLst/>
            </a:pPr>
            <a:endParaRPr kumimoji="0" lang="en-US" b="0" i="0" u="none" strike="noStrike" kern="0" cap="none" spc="0" normalizeH="0" baseline="0">
              <a:ln>
                <a:noFill/>
              </a:ln>
              <a:solidFill>
                <a:srgbClr val="FFFFFF"/>
              </a:solidFill>
              <a:effectLst/>
              <a:uLnTx/>
              <a:uFillTx/>
              <a:latin typeface="Arial"/>
              <a:cs typeface="Arial"/>
            </a:endParaRPr>
          </a:p>
        </p:txBody>
      </p:sp>
      <p:cxnSp>
        <p:nvCxnSpPr>
          <p:cNvPr id="9" name="Straight Connector 8">
            <a:extLst>
              <a:ext uri="{FF2B5EF4-FFF2-40B4-BE49-F238E27FC236}">
                <a16:creationId xmlns:a16="http://schemas.microsoft.com/office/drawing/2014/main" id="{C5C72183-6748-48DB-B2E6-D04517EC54EC}"/>
              </a:ext>
            </a:extLst>
          </p:cNvPr>
          <p:cNvCxnSpPr>
            <a:cxnSpLocks/>
          </p:cNvCxnSpPr>
          <p:nvPr userDrawn="1"/>
        </p:nvCxnSpPr>
        <p:spPr>
          <a:xfrm flipV="1">
            <a:off x="361438" y="1369847"/>
            <a:ext cx="0" cy="4351338"/>
          </a:xfrm>
          <a:prstGeom prst="line">
            <a:avLst/>
          </a:prstGeom>
          <a:ln>
            <a:solidFill>
              <a:schemeClr val="bg1">
                <a:alpha val="24000"/>
              </a:schemeClr>
            </a:solidFill>
            <a:headEnd type="oval"/>
          </a:ln>
        </p:spPr>
        <p:style>
          <a:lnRef idx="1">
            <a:schemeClr val="accent1"/>
          </a:lnRef>
          <a:fillRef idx="0">
            <a:schemeClr val="accent1"/>
          </a:fillRef>
          <a:effectRef idx="0">
            <a:schemeClr val="accent1"/>
          </a:effectRef>
          <a:fontRef idx="minor">
            <a:schemeClr val="tx1"/>
          </a:fontRef>
        </p:style>
      </p:cxnSp>
      <p:pic>
        <p:nvPicPr>
          <p:cNvPr id="10" name="Picture 9" descr="Text&#10;&#10;Description automatically generated with medium confidence">
            <a:extLst>
              <a:ext uri="{FF2B5EF4-FFF2-40B4-BE49-F238E27FC236}">
                <a16:creationId xmlns:a16="http://schemas.microsoft.com/office/drawing/2014/main" id="{D40FD119-4239-4450-99D3-B9F3CC842A0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62058"/>
          <a:stretch/>
        </p:blipFill>
        <p:spPr>
          <a:xfrm>
            <a:off x="158134" y="502959"/>
            <a:ext cx="408348" cy="319643"/>
          </a:xfrm>
          <a:prstGeom prst="rect">
            <a:avLst/>
          </a:prstGeom>
        </p:spPr>
      </p:pic>
      <p:pic>
        <p:nvPicPr>
          <p:cNvPr id="11" name="Picture 10" descr="Text&#10;&#10;Description automatically generated with medium confidence">
            <a:extLst>
              <a:ext uri="{FF2B5EF4-FFF2-40B4-BE49-F238E27FC236}">
                <a16:creationId xmlns:a16="http://schemas.microsoft.com/office/drawing/2014/main" id="{848744F5-7484-489D-AAC2-F25F5E23C43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0146"/>
          <a:stretch/>
        </p:blipFill>
        <p:spPr>
          <a:xfrm>
            <a:off x="171735" y="863448"/>
            <a:ext cx="381147" cy="227065"/>
          </a:xfrm>
          <a:prstGeom prst="rect">
            <a:avLst/>
          </a:prstGeom>
        </p:spPr>
      </p:pic>
      <p:pic>
        <p:nvPicPr>
          <p:cNvPr id="12" name="Picture 11" descr="Text&#10;&#10;Description automatically generated with medium confidence">
            <a:extLst>
              <a:ext uri="{FF2B5EF4-FFF2-40B4-BE49-F238E27FC236}">
                <a16:creationId xmlns:a16="http://schemas.microsoft.com/office/drawing/2014/main" id="{F18DFED2-30D7-4B0E-8207-9AFF17AE6916}"/>
              </a:ext>
            </a:extLst>
          </p:cNvPr>
          <p:cNvPicPr>
            <a:picLocks noChangeAspect="1"/>
          </p:cNvPicPr>
          <p:nvPr userDrawn="1"/>
        </p:nvPicPr>
        <p:blipFill rotWithShape="1">
          <a:blip r:embed="rId5" cstate="email">
            <a:alphaModFix amt="9000"/>
            <a:extLst>
              <a:ext uri="{28A0092B-C50C-407E-A947-70E740481C1C}">
                <a14:useLocalDpi xmlns:a14="http://schemas.microsoft.com/office/drawing/2010/main"/>
              </a:ext>
            </a:extLst>
          </a:blip>
          <a:srcRect r="81029"/>
          <a:stretch/>
        </p:blipFill>
        <p:spPr>
          <a:xfrm>
            <a:off x="96431" y="5753883"/>
            <a:ext cx="628186" cy="983450"/>
          </a:xfrm>
          <a:prstGeom prst="rect">
            <a:avLst/>
          </a:prstGeom>
        </p:spPr>
      </p:pic>
      <p:sp>
        <p:nvSpPr>
          <p:cNvPr id="13" name="Rectangle 12">
            <a:extLst>
              <a:ext uri="{FF2B5EF4-FFF2-40B4-BE49-F238E27FC236}">
                <a16:creationId xmlns:a16="http://schemas.microsoft.com/office/drawing/2014/main" id="{9978A96D-F7EF-4343-9554-8C0EB59A6C9C}"/>
              </a:ext>
            </a:extLst>
          </p:cNvPr>
          <p:cNvSpPr/>
          <p:nvPr userDrawn="1"/>
        </p:nvSpPr>
        <p:spPr>
          <a:xfrm>
            <a:off x="228600" y="6148263"/>
            <a:ext cx="273844" cy="273844"/>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1AA0E945-2C8F-4F31-86C2-497523DA50D3}"/>
              </a:ext>
            </a:extLst>
          </p:cNvPr>
          <p:cNvSpPr>
            <a:spLocks noGrp="1"/>
          </p:cNvSpPr>
          <p:nvPr>
            <p:ph type="sldNum" sz="quarter" idx="12"/>
          </p:nvPr>
        </p:nvSpPr>
        <p:spPr>
          <a:xfrm>
            <a:off x="228600" y="6208241"/>
            <a:ext cx="273844" cy="153888"/>
          </a:xfrm>
          <a:prstGeom prst="rect">
            <a:avLst/>
          </a:prstGeom>
        </p:spPr>
        <p:txBody>
          <a:bodyPr lIns="0" tIns="0" rIns="0" bIns="0"/>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38699408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8.xml"/><Relationship Id="rId7" Type="http://schemas.openxmlformats.org/officeDocument/2006/relationships/tags" Target="../tags/tag5.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3.xml"/><Relationship Id="rId7" Type="http://schemas.openxmlformats.org/officeDocument/2006/relationships/tags" Target="../tags/tag9.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3.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70214493-0FC7-4D1D-BBA8-7F6B6E11E697}"/>
              </a:ext>
            </a:extLst>
          </p:cNvPr>
          <p:cNvGraphicFramePr>
            <a:graphicFrameLocks noChangeAspect="1"/>
          </p:cNvGraphicFramePr>
          <p:nvPr userDrawn="1">
            <p:custDataLst>
              <p:tags r:id="rId7"/>
            </p:custDataLst>
            <p:extLst>
              <p:ext uri="{D42A27DB-BD31-4B8C-83A1-F6EECF244321}">
                <p14:modId xmlns:p14="http://schemas.microsoft.com/office/powerpoint/2010/main" val="1130457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62" imgH="362" progId="TCLayout.ActiveDocument.1">
                  <p:embed/>
                </p:oleObj>
              </mc:Choice>
              <mc:Fallback>
                <p:oleObj name="think-cell Slide" r:id="rId8" imgW="362" imgH="362" progId="TCLayout.ActiveDocument.1">
                  <p:embed/>
                  <p:pic>
                    <p:nvPicPr>
                      <p:cNvPr id="24" name="Object 23" hidden="1">
                        <a:extLst>
                          <a:ext uri="{FF2B5EF4-FFF2-40B4-BE49-F238E27FC236}">
                            <a16:creationId xmlns:a16="http://schemas.microsoft.com/office/drawing/2014/main" id="{70214493-0FC7-4D1D-BBA8-7F6B6E11E69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12AC05D-6FC5-4EEB-A922-CDA7DD548353}"/>
              </a:ext>
            </a:extLst>
          </p:cNvPr>
          <p:cNvSpPr>
            <a:spLocks noGrp="1"/>
          </p:cNvSpPr>
          <p:nvPr>
            <p:ph type="title"/>
          </p:nvPr>
        </p:nvSpPr>
        <p:spPr>
          <a:xfrm>
            <a:off x="1010652" y="447337"/>
            <a:ext cx="10847670" cy="430887"/>
          </a:xfrm>
          <a:prstGeom prst="rect">
            <a:avLst/>
          </a:prstGeom>
        </p:spPr>
        <p:txBody>
          <a:bodyPr vert="horz" wrap="square" lIns="0" tIns="0" rIns="0" bIns="0" rtlCol="0" anchor="ctr">
            <a:sp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9C39BA19-2310-4725-9498-95FAE4506E93}"/>
              </a:ext>
            </a:extLst>
          </p:cNvPr>
          <p:cNvSpPr>
            <a:spLocks noGrp="1"/>
          </p:cNvSpPr>
          <p:nvPr>
            <p:ph type="body" idx="1"/>
          </p:nvPr>
        </p:nvSpPr>
        <p:spPr>
          <a:xfrm>
            <a:off x="1010652" y="1369847"/>
            <a:ext cx="10847670" cy="4351338"/>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Footer Placeholder 4">
            <a:extLst>
              <a:ext uri="{FF2B5EF4-FFF2-40B4-BE49-F238E27FC236}">
                <a16:creationId xmlns:a16="http://schemas.microsoft.com/office/drawing/2014/main" id="{E38BAE5D-64E9-4582-9EB9-D63D31A57BA3}"/>
              </a:ext>
            </a:extLst>
          </p:cNvPr>
          <p:cNvSpPr>
            <a:spLocks noGrp="1"/>
          </p:cNvSpPr>
          <p:nvPr>
            <p:ph type="ftr" sz="quarter" idx="3"/>
          </p:nvPr>
        </p:nvSpPr>
        <p:spPr>
          <a:xfrm>
            <a:off x="7743522" y="6208241"/>
            <a:ext cx="4114800" cy="153888"/>
          </a:xfrm>
          <a:prstGeom prst="rect">
            <a:avLst/>
          </a:prstGeom>
        </p:spPr>
        <p:txBody>
          <a:bodyPr vert="horz" lIns="0" tIns="0" rIns="0" bIns="0" rtlCol="0" anchor="ctr">
            <a:spAutoFit/>
          </a:bodyPr>
          <a:lstStyle>
            <a:lvl1pPr algn="r">
              <a:defRPr sz="1000">
                <a:solidFill>
                  <a:schemeClr val="tx1">
                    <a:tint val="75000"/>
                  </a:schemeClr>
                </a:solidFill>
              </a:defRPr>
            </a:lvl1pPr>
          </a:lstStyle>
          <a:p>
            <a:endParaRPr lang="en-ID"/>
          </a:p>
        </p:txBody>
      </p:sp>
      <p:sp>
        <p:nvSpPr>
          <p:cNvPr id="56" name="Slide Number Placeholder 5">
            <a:extLst>
              <a:ext uri="{FF2B5EF4-FFF2-40B4-BE49-F238E27FC236}">
                <a16:creationId xmlns:a16="http://schemas.microsoft.com/office/drawing/2014/main" id="{0439F3FF-9FE0-4C47-A9AF-F8DAC36ECDCC}"/>
              </a:ext>
            </a:extLst>
          </p:cNvPr>
          <p:cNvSpPr>
            <a:spLocks noGrp="1"/>
          </p:cNvSpPr>
          <p:nvPr>
            <p:ph type="sldNum" sz="quarter" idx="4"/>
          </p:nvPr>
        </p:nvSpPr>
        <p:spPr>
          <a:xfrm>
            <a:off x="228600" y="6208241"/>
            <a:ext cx="273844" cy="153888"/>
          </a:xfrm>
          <a:prstGeom prst="rect">
            <a:avLst/>
          </a:prstGeom>
        </p:spPr>
        <p:txBody>
          <a:bodyPr lIns="0" tIns="0" rIns="0" bIns="0">
            <a:spAutoFit/>
          </a:bodyPr>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39185278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lgn="l" defTabSz="914400" rtl="0" eaLnBrk="1" latinLnBrk="0" hangingPunct="1">
        <a:lnSpc>
          <a:spcPct val="100000"/>
        </a:lnSpc>
        <a:spcBef>
          <a:spcPts val="0"/>
        </a:spcBef>
        <a:spcAft>
          <a:spcPts val="0"/>
        </a:spcAft>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70214493-0FC7-4D1D-BBA8-7F6B6E11E697}"/>
              </a:ext>
            </a:extLst>
          </p:cNvPr>
          <p:cNvGraphicFramePr>
            <a:graphicFrameLocks noChangeAspect="1"/>
          </p:cNvGraphicFramePr>
          <p:nvPr userDrawn="1">
            <p:custDataLst>
              <p:tags r:id="rId7"/>
            </p:custDataLst>
            <p:extLst>
              <p:ext uri="{D42A27DB-BD31-4B8C-83A1-F6EECF244321}">
                <p14:modId xmlns:p14="http://schemas.microsoft.com/office/powerpoint/2010/main" val="1130457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62" imgH="362" progId="TCLayout.ActiveDocument.1">
                  <p:embed/>
                </p:oleObj>
              </mc:Choice>
              <mc:Fallback>
                <p:oleObj name="think-cell Slide" r:id="rId8" imgW="362" imgH="362" progId="TCLayout.ActiveDocument.1">
                  <p:embed/>
                  <p:pic>
                    <p:nvPicPr>
                      <p:cNvPr id="24" name="Object 23" hidden="1">
                        <a:extLst>
                          <a:ext uri="{FF2B5EF4-FFF2-40B4-BE49-F238E27FC236}">
                            <a16:creationId xmlns:a16="http://schemas.microsoft.com/office/drawing/2014/main" id="{70214493-0FC7-4D1D-BBA8-7F6B6E11E69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12AC05D-6FC5-4EEB-A922-CDA7DD548353}"/>
              </a:ext>
            </a:extLst>
          </p:cNvPr>
          <p:cNvSpPr>
            <a:spLocks noGrp="1"/>
          </p:cNvSpPr>
          <p:nvPr>
            <p:ph type="title"/>
          </p:nvPr>
        </p:nvSpPr>
        <p:spPr>
          <a:xfrm>
            <a:off x="1010652" y="447337"/>
            <a:ext cx="10847670" cy="430887"/>
          </a:xfrm>
          <a:prstGeom prst="rect">
            <a:avLst/>
          </a:prstGeom>
        </p:spPr>
        <p:txBody>
          <a:bodyPr vert="horz" wrap="square" lIns="0" tIns="0" rIns="0" bIns="0" rtlCol="0" anchor="ctr">
            <a:sp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9C39BA19-2310-4725-9498-95FAE4506E93}"/>
              </a:ext>
            </a:extLst>
          </p:cNvPr>
          <p:cNvSpPr>
            <a:spLocks noGrp="1"/>
          </p:cNvSpPr>
          <p:nvPr>
            <p:ph type="body" idx="1"/>
          </p:nvPr>
        </p:nvSpPr>
        <p:spPr>
          <a:xfrm>
            <a:off x="1010652" y="1369847"/>
            <a:ext cx="10847670" cy="4351338"/>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Footer Placeholder 4">
            <a:extLst>
              <a:ext uri="{FF2B5EF4-FFF2-40B4-BE49-F238E27FC236}">
                <a16:creationId xmlns:a16="http://schemas.microsoft.com/office/drawing/2014/main" id="{E38BAE5D-64E9-4582-9EB9-D63D31A57BA3}"/>
              </a:ext>
            </a:extLst>
          </p:cNvPr>
          <p:cNvSpPr>
            <a:spLocks noGrp="1"/>
          </p:cNvSpPr>
          <p:nvPr>
            <p:ph type="ftr" sz="quarter" idx="3"/>
          </p:nvPr>
        </p:nvSpPr>
        <p:spPr>
          <a:xfrm>
            <a:off x="7743522" y="6208241"/>
            <a:ext cx="4114800" cy="153888"/>
          </a:xfrm>
          <a:prstGeom prst="rect">
            <a:avLst/>
          </a:prstGeom>
        </p:spPr>
        <p:txBody>
          <a:bodyPr vert="horz" lIns="0" tIns="0" rIns="0" bIns="0" rtlCol="0" anchor="ctr">
            <a:spAutoFit/>
          </a:bodyPr>
          <a:lstStyle>
            <a:lvl1pPr algn="r">
              <a:defRPr sz="1000">
                <a:solidFill>
                  <a:schemeClr val="tx1">
                    <a:tint val="75000"/>
                  </a:schemeClr>
                </a:solidFill>
              </a:defRPr>
            </a:lvl1pPr>
          </a:lstStyle>
          <a:p>
            <a:endParaRPr lang="en-ID"/>
          </a:p>
        </p:txBody>
      </p:sp>
      <p:sp>
        <p:nvSpPr>
          <p:cNvPr id="56" name="Slide Number Placeholder 5">
            <a:extLst>
              <a:ext uri="{FF2B5EF4-FFF2-40B4-BE49-F238E27FC236}">
                <a16:creationId xmlns:a16="http://schemas.microsoft.com/office/drawing/2014/main" id="{0439F3FF-9FE0-4C47-A9AF-F8DAC36ECDCC}"/>
              </a:ext>
            </a:extLst>
          </p:cNvPr>
          <p:cNvSpPr>
            <a:spLocks noGrp="1"/>
          </p:cNvSpPr>
          <p:nvPr>
            <p:ph type="sldNum" sz="quarter" idx="4"/>
          </p:nvPr>
        </p:nvSpPr>
        <p:spPr>
          <a:xfrm>
            <a:off x="228600" y="6208241"/>
            <a:ext cx="273844" cy="153888"/>
          </a:xfrm>
          <a:prstGeom prst="rect">
            <a:avLst/>
          </a:prstGeom>
        </p:spPr>
        <p:txBody>
          <a:bodyPr lIns="0" tIns="0" rIns="0" bIns="0">
            <a:spAutoFit/>
          </a:bodyPr>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416493420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hf hdr="0" ftr="0" dt="0"/>
  <p:txStyles>
    <p:titleStyle>
      <a:lvl1pPr algn="l" defTabSz="914400" rtl="0" eaLnBrk="1" latinLnBrk="0" hangingPunct="1">
        <a:lnSpc>
          <a:spcPct val="100000"/>
        </a:lnSpc>
        <a:spcBef>
          <a:spcPts val="0"/>
        </a:spcBef>
        <a:spcAft>
          <a:spcPts val="0"/>
        </a:spcAft>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70214493-0FC7-4D1D-BBA8-7F6B6E11E697}"/>
              </a:ext>
            </a:extLst>
          </p:cNvPr>
          <p:cNvGraphicFramePr>
            <a:graphicFrameLocks noChangeAspect="1"/>
          </p:cNvGraphicFramePr>
          <p:nvPr userDrawn="1">
            <p:custDataLst>
              <p:tags r:id="rId7"/>
            </p:custDataLst>
            <p:extLst>
              <p:ext uri="{D42A27DB-BD31-4B8C-83A1-F6EECF244321}">
                <p14:modId xmlns:p14="http://schemas.microsoft.com/office/powerpoint/2010/main" val="1130457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62" imgH="362" progId="TCLayout.ActiveDocument.1">
                  <p:embed/>
                </p:oleObj>
              </mc:Choice>
              <mc:Fallback>
                <p:oleObj name="think-cell Slide" r:id="rId8" imgW="362" imgH="362" progId="TCLayout.ActiveDocument.1">
                  <p:embed/>
                  <p:pic>
                    <p:nvPicPr>
                      <p:cNvPr id="24" name="Object 23" hidden="1">
                        <a:extLst>
                          <a:ext uri="{FF2B5EF4-FFF2-40B4-BE49-F238E27FC236}">
                            <a16:creationId xmlns:a16="http://schemas.microsoft.com/office/drawing/2014/main" id="{70214493-0FC7-4D1D-BBA8-7F6B6E11E69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12AC05D-6FC5-4EEB-A922-CDA7DD548353}"/>
              </a:ext>
            </a:extLst>
          </p:cNvPr>
          <p:cNvSpPr>
            <a:spLocks noGrp="1"/>
          </p:cNvSpPr>
          <p:nvPr>
            <p:ph type="title"/>
          </p:nvPr>
        </p:nvSpPr>
        <p:spPr>
          <a:xfrm>
            <a:off x="1010652" y="447337"/>
            <a:ext cx="10847670" cy="430887"/>
          </a:xfrm>
          <a:prstGeom prst="rect">
            <a:avLst/>
          </a:prstGeom>
        </p:spPr>
        <p:txBody>
          <a:bodyPr vert="horz" wrap="square" lIns="0" tIns="0" rIns="0" bIns="0" rtlCol="0" anchor="ctr">
            <a:sp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9C39BA19-2310-4725-9498-95FAE4506E93}"/>
              </a:ext>
            </a:extLst>
          </p:cNvPr>
          <p:cNvSpPr>
            <a:spLocks noGrp="1"/>
          </p:cNvSpPr>
          <p:nvPr>
            <p:ph type="body" idx="1"/>
          </p:nvPr>
        </p:nvSpPr>
        <p:spPr>
          <a:xfrm>
            <a:off x="1010652" y="1369847"/>
            <a:ext cx="10847670" cy="4351338"/>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Footer Placeholder 4">
            <a:extLst>
              <a:ext uri="{FF2B5EF4-FFF2-40B4-BE49-F238E27FC236}">
                <a16:creationId xmlns:a16="http://schemas.microsoft.com/office/drawing/2014/main" id="{E38BAE5D-64E9-4582-9EB9-D63D31A57BA3}"/>
              </a:ext>
            </a:extLst>
          </p:cNvPr>
          <p:cNvSpPr>
            <a:spLocks noGrp="1"/>
          </p:cNvSpPr>
          <p:nvPr>
            <p:ph type="ftr" sz="quarter" idx="3"/>
          </p:nvPr>
        </p:nvSpPr>
        <p:spPr>
          <a:xfrm>
            <a:off x="7743522" y="6480346"/>
            <a:ext cx="4114800" cy="153888"/>
          </a:xfrm>
          <a:prstGeom prst="rect">
            <a:avLst/>
          </a:prstGeom>
        </p:spPr>
        <p:txBody>
          <a:bodyPr vert="horz" lIns="0" tIns="0" rIns="0" bIns="0" rtlCol="0" anchor="ctr">
            <a:spAutoFit/>
          </a:bodyPr>
          <a:lstStyle>
            <a:lvl1pPr algn="r">
              <a:defRPr sz="1000">
                <a:solidFill>
                  <a:schemeClr val="tx1">
                    <a:tint val="75000"/>
                  </a:schemeClr>
                </a:solidFill>
              </a:defRPr>
            </a:lvl1pPr>
          </a:lstStyle>
          <a:p>
            <a:r>
              <a:rPr lang="en-US"/>
              <a:t>LEG - Least Developed Countries Expert Group</a:t>
            </a:r>
            <a:endParaRPr lang="en-ID"/>
          </a:p>
        </p:txBody>
      </p:sp>
      <p:sp>
        <p:nvSpPr>
          <p:cNvPr id="56" name="Slide Number Placeholder 5">
            <a:extLst>
              <a:ext uri="{FF2B5EF4-FFF2-40B4-BE49-F238E27FC236}">
                <a16:creationId xmlns:a16="http://schemas.microsoft.com/office/drawing/2014/main" id="{0439F3FF-9FE0-4C47-A9AF-F8DAC36ECDCC}"/>
              </a:ext>
            </a:extLst>
          </p:cNvPr>
          <p:cNvSpPr>
            <a:spLocks noGrp="1"/>
          </p:cNvSpPr>
          <p:nvPr>
            <p:ph type="sldNum" sz="quarter" idx="4"/>
          </p:nvPr>
        </p:nvSpPr>
        <p:spPr>
          <a:xfrm>
            <a:off x="228600" y="6208241"/>
            <a:ext cx="273844" cy="153888"/>
          </a:xfrm>
          <a:prstGeom prst="rect">
            <a:avLst/>
          </a:prstGeom>
        </p:spPr>
        <p:txBody>
          <a:bodyPr lIns="0" tIns="0" rIns="0" bIns="0">
            <a:spAutoFit/>
          </a:bodyPr>
          <a:lstStyle>
            <a:lvl1pPr marL="0" algn="ctr" defTabSz="914400" rtl="0" eaLnBrk="1" latinLnBrk="0" hangingPunct="1">
              <a:defRPr lang="en-ID" sz="1000" b="1" kern="1200" smtClean="0">
                <a:solidFill>
                  <a:schemeClr val="accent2"/>
                </a:solidFill>
                <a:latin typeface="+mn-lt"/>
                <a:ea typeface="+mn-ea"/>
                <a:cs typeface="+mn-cs"/>
              </a:defRPr>
            </a:lvl1pPr>
          </a:lstStyle>
          <a:p>
            <a:fld id="{6BD9EE9C-3A9A-458B-8C8B-545D7DF0CA2D}" type="slidenum">
              <a:rPr lang="en-ID" smtClean="0"/>
              <a:pPr/>
              <a:t>‹#›</a:t>
            </a:fld>
            <a:endParaRPr lang="en-ID"/>
          </a:p>
        </p:txBody>
      </p:sp>
    </p:spTree>
    <p:extLst>
      <p:ext uri="{BB962C8B-B14F-4D97-AF65-F5344CB8AC3E}">
        <p14:creationId xmlns:p14="http://schemas.microsoft.com/office/powerpoint/2010/main" val="429287741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Lst>
  <p:hf hdr="0" dt="0"/>
  <p:txStyles>
    <p:titleStyle>
      <a:lvl1pPr algn="l" defTabSz="914400" rtl="0" eaLnBrk="1" latinLnBrk="0" hangingPunct="1">
        <a:lnSpc>
          <a:spcPct val="100000"/>
        </a:lnSpc>
        <a:spcBef>
          <a:spcPts val="0"/>
        </a:spcBef>
        <a:spcAft>
          <a:spcPts val="0"/>
        </a:spcAft>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7.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11.xm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7.svg"/></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64CF06-114A-E385-76F9-B08815EFAE08}"/>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5BC05AC2-4234-F71D-A4CF-BD4A45D314D1}"/>
              </a:ext>
            </a:extLst>
          </p:cNvPr>
          <p:cNvSpPr/>
          <p:nvPr/>
        </p:nvSpPr>
        <p:spPr>
          <a:xfrm>
            <a:off x="0" y="0"/>
            <a:ext cx="12192000" cy="6858000"/>
          </a:xfrm>
          <a:prstGeom prst="rect">
            <a:avLst/>
          </a:prstGeom>
          <a:solidFill>
            <a:srgbClr val="072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AAC5DB12-4867-E6D4-0F9C-D53CA81EE4D8}"/>
              </a:ext>
            </a:extLst>
          </p:cNvPr>
          <p:cNvPicPr>
            <a:picLocks noChangeAspect="1"/>
          </p:cNvPicPr>
          <p:nvPr/>
        </p:nvPicPr>
        <p:blipFill>
          <a:blip r:embed="rId3"/>
          <a:srcRect l="1" t="4540" r="930" b="7029"/>
          <a:stretch>
            <a:fillRect/>
          </a:stretch>
        </p:blipFill>
        <p:spPr>
          <a:xfrm>
            <a:off x="2340864" y="0"/>
            <a:ext cx="7790688" cy="6856717"/>
          </a:xfrm>
          <a:prstGeom prst="rect">
            <a:avLst/>
          </a:prstGeom>
        </p:spPr>
      </p:pic>
    </p:spTree>
    <p:extLst>
      <p:ext uri="{BB962C8B-B14F-4D97-AF65-F5344CB8AC3E}">
        <p14:creationId xmlns:p14="http://schemas.microsoft.com/office/powerpoint/2010/main" val="8602861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0EC4F317-62DE-B001-6051-4E0B8A3AF987}"/>
              </a:ext>
            </a:extLst>
          </p:cNvPr>
          <p:cNvSpPr/>
          <p:nvPr/>
        </p:nvSpPr>
        <p:spPr>
          <a:xfrm rot="5400000" flipH="1">
            <a:off x="4192915" y="-1560186"/>
            <a:ext cx="5150500" cy="10847671"/>
          </a:xfrm>
          <a:prstGeom prst="roundRect">
            <a:avLst>
              <a:gd name="adj" fmla="val 0"/>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94E3F33-F52D-EABE-87E3-1FB4E1EE3510}"/>
              </a:ext>
            </a:extLst>
          </p:cNvPr>
          <p:cNvSpPr>
            <a:spLocks noGrp="1"/>
          </p:cNvSpPr>
          <p:nvPr>
            <p:ph type="title"/>
          </p:nvPr>
        </p:nvSpPr>
        <p:spPr>
          <a:xfrm>
            <a:off x="1010652" y="447337"/>
            <a:ext cx="10847670" cy="430887"/>
          </a:xfrm>
        </p:spPr>
        <p:txBody>
          <a:bodyPr/>
          <a:lstStyle/>
          <a:p>
            <a:r>
              <a:rPr lang="en-US"/>
              <a:t>Targets (thematic)</a:t>
            </a:r>
          </a:p>
        </p:txBody>
      </p:sp>
      <p:sp>
        <p:nvSpPr>
          <p:cNvPr id="4" name="Slide Number Placeholder 3">
            <a:extLst>
              <a:ext uri="{FF2B5EF4-FFF2-40B4-BE49-F238E27FC236}">
                <a16:creationId xmlns:a16="http://schemas.microsoft.com/office/drawing/2014/main" id="{6A7BB9DF-05A9-936D-120E-6D1BCEB126D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BD9EE9C-3A9A-458B-8C8B-545D7DF0CA2D}" type="slidenum">
              <a:rPr kumimoji="0" lang="en-ID" sz="1000" b="1" i="0" u="none" strike="noStrike" kern="1200" cap="none" spc="0" normalizeH="0" baseline="0" noProof="0" smtClean="0">
                <a:ln>
                  <a:noFill/>
                </a:ln>
                <a:solidFill>
                  <a:srgbClr val="1C97DA"/>
                </a:solidFill>
                <a:effectLst/>
                <a:uLnTx/>
                <a:uFillTx/>
                <a:latin typeface="Robot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ID" sz="1000" b="1" i="0" u="none" strike="noStrike" kern="1200" cap="none" spc="0" normalizeH="0" baseline="0" noProof="0">
              <a:ln>
                <a:noFill/>
              </a:ln>
              <a:solidFill>
                <a:srgbClr val="1C97DA"/>
              </a:solidFill>
              <a:effectLst/>
              <a:uLnTx/>
              <a:uFillTx/>
              <a:latin typeface="Roboto"/>
              <a:ea typeface="+mn-ea"/>
              <a:cs typeface="+mn-cs"/>
            </a:endParaRPr>
          </a:p>
        </p:txBody>
      </p:sp>
      <p:sp>
        <p:nvSpPr>
          <p:cNvPr id="9" name="Rectangle: Single Corner Rounded 8">
            <a:extLst>
              <a:ext uri="{FF2B5EF4-FFF2-40B4-BE49-F238E27FC236}">
                <a16:creationId xmlns:a16="http://schemas.microsoft.com/office/drawing/2014/main" id="{B9327B21-3DBF-FE24-A681-6B21728B4E77}"/>
              </a:ext>
            </a:extLst>
          </p:cNvPr>
          <p:cNvSpPr/>
          <p:nvPr/>
        </p:nvSpPr>
        <p:spPr>
          <a:xfrm>
            <a:off x="726831" y="1168400"/>
            <a:ext cx="2321170" cy="5270500"/>
          </a:xfrm>
          <a:prstGeom prst="round1Rect">
            <a:avLst/>
          </a:prstGeom>
          <a:gradFill flip="none" rotWithShape="1">
            <a:gsLst>
              <a:gs pos="0">
                <a:schemeClr val="accent1">
                  <a:lumMod val="50000"/>
                </a:schemeClr>
              </a:gs>
              <a:gs pos="100000">
                <a:schemeClr val="accent1"/>
              </a:gs>
            </a:gsLst>
            <a:lin ang="2700000" scaled="1"/>
            <a:tileRect/>
          </a:gradFill>
          <a:ln>
            <a:noFill/>
          </a:ln>
          <a:effectLst>
            <a:outerShdw blurRad="279400" dist="38100" dir="8100000" algn="ctr" rotWithShape="0">
              <a:srgbClr val="000000">
                <a:alpha val="62000"/>
              </a:srgbClr>
            </a:outerShdw>
          </a:effectLst>
        </p:spPr>
        <p:txBody>
          <a:bodyPr spcFirstLastPara="1" wrap="square" lIns="274320" tIns="365760" rIns="18288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Roboto"/>
                <a:ea typeface="+mn-ea"/>
                <a:cs typeface="+mn-cs"/>
              </a:rPr>
              <a:t>Achievement </a:t>
            </a:r>
            <a:br>
              <a:rPr kumimoji="0" lang="en-US" sz="1800" b="1" i="0" u="none" strike="noStrike" kern="1200" cap="none" spc="0" normalizeH="0" baseline="0" noProof="0">
                <a:ln>
                  <a:noFill/>
                </a:ln>
                <a:solidFill>
                  <a:prstClr val="white"/>
                </a:solidFill>
                <a:effectLst/>
                <a:uLnTx/>
                <a:uFillTx/>
                <a:latin typeface="Roboto"/>
                <a:ea typeface="+mn-ea"/>
                <a:cs typeface="+mn-cs"/>
              </a:rPr>
            </a:br>
            <a:r>
              <a:rPr kumimoji="0" lang="en-US" sz="1800" b="1" i="0" u="none" strike="noStrike" kern="1200" cap="none" spc="0" normalizeH="0" baseline="0" noProof="0">
                <a:ln>
                  <a:noFill/>
                </a:ln>
                <a:solidFill>
                  <a:prstClr val="white"/>
                </a:solidFill>
                <a:effectLst/>
                <a:uLnTx/>
                <a:uFillTx/>
                <a:latin typeface="Roboto"/>
                <a:ea typeface="+mn-ea"/>
                <a:cs typeface="+mn-cs"/>
              </a:rPr>
              <a:t>of the following targets </a:t>
            </a:r>
            <a:br>
              <a:rPr kumimoji="0" lang="en-US" sz="1800" b="1" i="0" u="none" strike="noStrike" kern="1200" cap="none" spc="0" normalizeH="0" baseline="0" noProof="0">
                <a:ln>
                  <a:noFill/>
                </a:ln>
                <a:solidFill>
                  <a:prstClr val="white"/>
                </a:solidFill>
                <a:effectLst/>
                <a:uLnTx/>
                <a:uFillTx/>
                <a:latin typeface="Roboto"/>
                <a:ea typeface="+mn-ea"/>
                <a:cs typeface="+mn-cs"/>
              </a:rPr>
            </a:br>
            <a:r>
              <a:rPr kumimoji="0" lang="en-US" sz="1800" b="1" i="0" u="none" strike="noStrike" kern="1200" cap="none" spc="0" normalizeH="0" baseline="0" noProof="0">
                <a:ln>
                  <a:noFill/>
                </a:ln>
                <a:solidFill>
                  <a:prstClr val="white"/>
                </a:solidFill>
                <a:effectLst/>
                <a:uLnTx/>
                <a:uFillTx/>
                <a:latin typeface="Roboto"/>
                <a:ea typeface="+mn-ea"/>
                <a:cs typeface="+mn-cs"/>
              </a:rPr>
              <a:t>by 2030 and progressively beyond</a:t>
            </a:r>
          </a:p>
        </p:txBody>
      </p:sp>
      <p:sp>
        <p:nvSpPr>
          <p:cNvPr id="3" name="Flowchart: Connector 2">
            <a:extLst>
              <a:ext uri="{FF2B5EF4-FFF2-40B4-BE49-F238E27FC236}">
                <a16:creationId xmlns:a16="http://schemas.microsoft.com/office/drawing/2014/main" id="{40A685D7-CBA1-F55E-FDF8-CFF0F86E6390}"/>
              </a:ext>
            </a:extLst>
          </p:cNvPr>
          <p:cNvSpPr/>
          <p:nvPr/>
        </p:nvSpPr>
        <p:spPr>
          <a:xfrm>
            <a:off x="3291047" y="1496677"/>
            <a:ext cx="433582" cy="433581"/>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400" b="1" i="0" u="none" strike="noStrike" kern="1200" cap="none" spc="0" normalizeH="0" baseline="0" noProof="0">
              <a:ln>
                <a:noFill/>
              </a:ln>
              <a:solidFill>
                <a:prstClr val="white"/>
              </a:solidFill>
              <a:effectLst/>
              <a:uLnTx/>
              <a:uFillTx/>
              <a:latin typeface="Roboto"/>
              <a:ea typeface="+mn-ea"/>
              <a:cs typeface="+mn-cs"/>
            </a:endParaRPr>
          </a:p>
        </p:txBody>
      </p:sp>
      <p:sp>
        <p:nvSpPr>
          <p:cNvPr id="5" name="TextBox 1">
            <a:extLst>
              <a:ext uri="{FF2B5EF4-FFF2-40B4-BE49-F238E27FC236}">
                <a16:creationId xmlns:a16="http://schemas.microsoft.com/office/drawing/2014/main" id="{617ACDA4-2BA6-632D-E2C8-36A82F474BD1}"/>
              </a:ext>
            </a:extLst>
          </p:cNvPr>
          <p:cNvSpPr txBox="1"/>
          <p:nvPr/>
        </p:nvSpPr>
        <p:spPr>
          <a:xfrm>
            <a:off x="3291046" y="2053473"/>
            <a:ext cx="1754198" cy="16158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050" b="0" i="0" u="none" strike="noStrike" kern="0" cap="none" spc="0" normalizeH="0" baseline="0" noProof="0">
                <a:ln>
                  <a:noFill/>
                </a:ln>
                <a:solidFill>
                  <a:prstClr val="black"/>
                </a:solidFill>
                <a:effectLst/>
                <a:uLnTx/>
                <a:uFillTx/>
                <a:latin typeface="Roboto"/>
                <a:ea typeface="+mn-ea"/>
                <a:cs typeface="Times New Roman" pitchFamily="18" charset="0"/>
              </a:rPr>
              <a:t>Significantly reducing climate-induced water scarcity and enhancing climate resilience to water-related hazards towards a climate-resilient water supply, climate-resilient sanitation and towards access to safe and affordable potable water for all;</a:t>
            </a:r>
          </a:p>
        </p:txBody>
      </p:sp>
      <p:sp>
        <p:nvSpPr>
          <p:cNvPr id="6" name="TextBox 1">
            <a:extLst>
              <a:ext uri="{FF2B5EF4-FFF2-40B4-BE49-F238E27FC236}">
                <a16:creationId xmlns:a16="http://schemas.microsoft.com/office/drawing/2014/main" id="{9C9AB3AC-9922-B70A-FC43-76AFC05D8D2B}"/>
              </a:ext>
            </a:extLst>
          </p:cNvPr>
          <p:cNvSpPr txBox="1"/>
          <p:nvPr/>
        </p:nvSpPr>
        <p:spPr>
          <a:xfrm>
            <a:off x="5488215" y="2053473"/>
            <a:ext cx="1754198" cy="129266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050" b="0" i="0" u="none" strike="noStrike" kern="0" cap="none" spc="0" normalizeH="0" baseline="0" noProof="0">
                <a:ln>
                  <a:noFill/>
                </a:ln>
                <a:solidFill>
                  <a:prstClr val="black"/>
                </a:solidFill>
                <a:effectLst/>
                <a:uLnTx/>
                <a:uFillTx/>
                <a:latin typeface="Roboto"/>
                <a:ea typeface="+mn-ea"/>
                <a:cs typeface="Times New Roman" pitchFamily="18" charset="0"/>
              </a:rPr>
              <a:t>Attaining climate-resilient food and agricultural production and supply and distribution of food, as well as increasing sustainable and regenerative production and equitable access to adequate food and nutrition for all; </a:t>
            </a:r>
          </a:p>
        </p:txBody>
      </p:sp>
      <p:sp>
        <p:nvSpPr>
          <p:cNvPr id="7" name="TextBox 1">
            <a:extLst>
              <a:ext uri="{FF2B5EF4-FFF2-40B4-BE49-F238E27FC236}">
                <a16:creationId xmlns:a16="http://schemas.microsoft.com/office/drawing/2014/main" id="{D72736B6-305B-7575-42E5-E1FD51677B1E}"/>
              </a:ext>
            </a:extLst>
          </p:cNvPr>
          <p:cNvSpPr txBox="1"/>
          <p:nvPr/>
        </p:nvSpPr>
        <p:spPr>
          <a:xfrm>
            <a:off x="7685384" y="2053473"/>
            <a:ext cx="1754198" cy="129266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050" b="0" i="0" u="none" strike="noStrike" kern="0" cap="none" spc="0" normalizeH="0" baseline="0" noProof="0">
                <a:ln>
                  <a:noFill/>
                </a:ln>
                <a:solidFill>
                  <a:prstClr val="black"/>
                </a:solidFill>
                <a:effectLst/>
                <a:uLnTx/>
                <a:uFillTx/>
                <a:latin typeface="Roboto"/>
                <a:ea typeface="+mn-ea"/>
                <a:cs typeface="Times New Roman" pitchFamily="18" charset="0"/>
              </a:rPr>
              <a:t>Attaining resilience against climate change related health impacts, promoting climate-resilient health services, and significantly reducing climate-related morbidity and mortality, particularly in the most vulnerable communities; </a:t>
            </a:r>
          </a:p>
        </p:txBody>
      </p:sp>
      <p:sp>
        <p:nvSpPr>
          <p:cNvPr id="8" name="TextBox 1">
            <a:extLst>
              <a:ext uri="{FF2B5EF4-FFF2-40B4-BE49-F238E27FC236}">
                <a16:creationId xmlns:a16="http://schemas.microsoft.com/office/drawing/2014/main" id="{D3069D98-38A1-C233-31C3-3909DB53CE0A}"/>
              </a:ext>
            </a:extLst>
          </p:cNvPr>
          <p:cNvSpPr txBox="1"/>
          <p:nvPr/>
        </p:nvSpPr>
        <p:spPr>
          <a:xfrm>
            <a:off x="9882554" y="2053473"/>
            <a:ext cx="2039574" cy="16158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050" b="0" i="0" u="none" strike="noStrike" kern="0" cap="none" spc="0" normalizeH="0" baseline="0" noProof="0">
                <a:ln>
                  <a:noFill/>
                </a:ln>
                <a:solidFill>
                  <a:prstClr val="black"/>
                </a:solidFill>
                <a:effectLst/>
                <a:uLnTx/>
                <a:uFillTx/>
                <a:latin typeface="Roboto"/>
                <a:ea typeface="+mn-ea"/>
                <a:cs typeface="Times New Roman" pitchFamily="18" charset="0"/>
              </a:rPr>
              <a:t>Reducing climate impacts on ecosystems and biodiversity, and accelerating the use of ecosystem-based adaptation and nature-based solutions, including through their management, enhancement, restoration and conservation and the protection of terrestrial, inland water, mountain, marine and coastal ecosystems; </a:t>
            </a:r>
          </a:p>
        </p:txBody>
      </p:sp>
      <p:sp>
        <p:nvSpPr>
          <p:cNvPr id="12" name="TextBox 1">
            <a:extLst>
              <a:ext uri="{FF2B5EF4-FFF2-40B4-BE49-F238E27FC236}">
                <a16:creationId xmlns:a16="http://schemas.microsoft.com/office/drawing/2014/main" id="{492AFB2C-3B88-5B62-991B-FC8AAF16A302}"/>
              </a:ext>
            </a:extLst>
          </p:cNvPr>
          <p:cNvSpPr txBox="1"/>
          <p:nvPr/>
        </p:nvSpPr>
        <p:spPr>
          <a:xfrm>
            <a:off x="3291046" y="4790725"/>
            <a:ext cx="1920240" cy="14542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050" b="0" i="0" u="none" strike="noStrike" kern="0" cap="none" spc="0" normalizeH="0" baseline="0" noProof="0">
                <a:ln>
                  <a:noFill/>
                </a:ln>
                <a:solidFill>
                  <a:prstClr val="black"/>
                </a:solidFill>
                <a:effectLst/>
                <a:uLnTx/>
                <a:uFillTx/>
                <a:latin typeface="Roboto"/>
                <a:ea typeface="+mn-ea"/>
                <a:cs typeface="Times New Roman" pitchFamily="18" charset="0"/>
              </a:rPr>
              <a:t>Increasing the resilience of infrastructure and human settlements to climate change impacts to ensure basic and continuous essential services for all, and minimizing climate-related impacts on infrastructure and human settlements;</a:t>
            </a:r>
          </a:p>
        </p:txBody>
      </p:sp>
      <p:sp>
        <p:nvSpPr>
          <p:cNvPr id="13" name="TextBox 1">
            <a:extLst>
              <a:ext uri="{FF2B5EF4-FFF2-40B4-BE49-F238E27FC236}">
                <a16:creationId xmlns:a16="http://schemas.microsoft.com/office/drawing/2014/main" id="{AFE9A7E1-7B92-3EE4-B538-52AC1B6937E2}"/>
              </a:ext>
            </a:extLst>
          </p:cNvPr>
          <p:cNvSpPr txBox="1"/>
          <p:nvPr/>
        </p:nvSpPr>
        <p:spPr>
          <a:xfrm>
            <a:off x="5488215" y="4790725"/>
            <a:ext cx="1754198" cy="129266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050" b="0" i="0" u="none" strike="noStrike" kern="0" cap="none" spc="0" normalizeH="0" baseline="0" noProof="0">
                <a:ln>
                  <a:noFill/>
                </a:ln>
                <a:solidFill>
                  <a:prstClr val="black"/>
                </a:solidFill>
                <a:effectLst/>
                <a:uLnTx/>
                <a:uFillTx/>
                <a:latin typeface="Roboto"/>
                <a:ea typeface="+mn-ea"/>
                <a:cs typeface="Times New Roman" pitchFamily="18" charset="0"/>
              </a:rPr>
              <a:t>Substantially reducing the adverse effects of climate change on poverty eradication and livelihoods, in particular by promoting the use of adaptive social protection measures </a:t>
            </a:r>
            <a:br>
              <a:rPr kumimoji="0" lang="en-US" altLang="zh-CN" sz="1050" b="0" i="0" u="none" strike="noStrike" kern="0" cap="none" spc="0" normalizeH="0" baseline="0" noProof="0">
                <a:ln>
                  <a:noFill/>
                </a:ln>
                <a:solidFill>
                  <a:prstClr val="black"/>
                </a:solidFill>
                <a:effectLst/>
                <a:uLnTx/>
                <a:uFillTx/>
                <a:latin typeface="Roboto"/>
                <a:ea typeface="+mn-ea"/>
                <a:cs typeface="Times New Roman" pitchFamily="18" charset="0"/>
              </a:rPr>
            </a:br>
            <a:r>
              <a:rPr kumimoji="0" lang="en-US" altLang="zh-CN" sz="1050" b="0" i="0" u="none" strike="noStrike" kern="0" cap="none" spc="0" normalizeH="0" baseline="0" noProof="0">
                <a:ln>
                  <a:noFill/>
                </a:ln>
                <a:solidFill>
                  <a:prstClr val="black"/>
                </a:solidFill>
                <a:effectLst/>
                <a:uLnTx/>
                <a:uFillTx/>
                <a:latin typeface="Roboto"/>
                <a:ea typeface="+mn-ea"/>
                <a:cs typeface="Times New Roman" pitchFamily="18" charset="0"/>
              </a:rPr>
              <a:t>for all; </a:t>
            </a:r>
          </a:p>
        </p:txBody>
      </p:sp>
      <p:sp>
        <p:nvSpPr>
          <p:cNvPr id="14" name="TextBox 1">
            <a:extLst>
              <a:ext uri="{FF2B5EF4-FFF2-40B4-BE49-F238E27FC236}">
                <a16:creationId xmlns:a16="http://schemas.microsoft.com/office/drawing/2014/main" id="{A12B24D3-7231-7F50-443A-2679D5F966F5}"/>
              </a:ext>
            </a:extLst>
          </p:cNvPr>
          <p:cNvSpPr txBox="1"/>
          <p:nvPr/>
        </p:nvSpPr>
        <p:spPr>
          <a:xfrm>
            <a:off x="7685384" y="4790725"/>
            <a:ext cx="1971572" cy="16158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050" b="0" i="0" u="none" strike="noStrike" kern="0" cap="none" spc="0" normalizeH="0" baseline="0" noProof="0">
                <a:ln>
                  <a:noFill/>
                </a:ln>
                <a:solidFill>
                  <a:prstClr val="black"/>
                </a:solidFill>
                <a:effectLst/>
                <a:uLnTx/>
                <a:uFillTx/>
                <a:latin typeface="Roboto"/>
                <a:ea typeface="+mn-ea"/>
                <a:cs typeface="Times New Roman" pitchFamily="18" charset="0"/>
              </a:rPr>
              <a:t>Protecting cultural heritage from the impacts of climate-related risks by developing adaptive strategies for preserving cultural practices and heritage sites and by designing climate-resilient infrastructure, guided by traditional knowledge, Indigenous Peoples’ knowledge and local knowledge systems;</a:t>
            </a:r>
          </a:p>
        </p:txBody>
      </p:sp>
      <p:sp>
        <p:nvSpPr>
          <p:cNvPr id="15" name="Flowchart: Connector 14">
            <a:extLst>
              <a:ext uri="{FF2B5EF4-FFF2-40B4-BE49-F238E27FC236}">
                <a16:creationId xmlns:a16="http://schemas.microsoft.com/office/drawing/2014/main" id="{B7E8A243-21A5-CE33-B280-03919A32096B}"/>
              </a:ext>
            </a:extLst>
          </p:cNvPr>
          <p:cNvSpPr/>
          <p:nvPr/>
        </p:nvSpPr>
        <p:spPr>
          <a:xfrm>
            <a:off x="5488215" y="1496677"/>
            <a:ext cx="433582" cy="433581"/>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400" b="1" i="0" u="none" strike="noStrike" kern="1200" cap="none" spc="0" normalizeH="0" baseline="0" noProof="0">
              <a:ln>
                <a:noFill/>
              </a:ln>
              <a:solidFill>
                <a:prstClr val="white"/>
              </a:solidFill>
              <a:effectLst/>
              <a:uLnTx/>
              <a:uFillTx/>
              <a:latin typeface="Roboto"/>
              <a:ea typeface="+mn-ea"/>
              <a:cs typeface="+mn-cs"/>
            </a:endParaRPr>
          </a:p>
        </p:txBody>
      </p:sp>
      <p:sp>
        <p:nvSpPr>
          <p:cNvPr id="16" name="Flowchart: Connector 15">
            <a:extLst>
              <a:ext uri="{FF2B5EF4-FFF2-40B4-BE49-F238E27FC236}">
                <a16:creationId xmlns:a16="http://schemas.microsoft.com/office/drawing/2014/main" id="{175DEF07-1BA0-FCBC-122B-89459B163904}"/>
              </a:ext>
            </a:extLst>
          </p:cNvPr>
          <p:cNvSpPr/>
          <p:nvPr/>
        </p:nvSpPr>
        <p:spPr>
          <a:xfrm>
            <a:off x="7685384" y="1496677"/>
            <a:ext cx="433582" cy="433581"/>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400" b="1" i="0" u="none" strike="noStrike" kern="1200" cap="none" spc="0" normalizeH="0" baseline="0" noProof="0">
              <a:ln>
                <a:noFill/>
              </a:ln>
              <a:solidFill>
                <a:prstClr val="white"/>
              </a:solidFill>
              <a:effectLst/>
              <a:uLnTx/>
              <a:uFillTx/>
              <a:latin typeface="Roboto"/>
              <a:ea typeface="+mn-ea"/>
              <a:cs typeface="+mn-cs"/>
            </a:endParaRPr>
          </a:p>
        </p:txBody>
      </p:sp>
      <p:sp>
        <p:nvSpPr>
          <p:cNvPr id="17" name="Flowchart: Connector 16">
            <a:extLst>
              <a:ext uri="{FF2B5EF4-FFF2-40B4-BE49-F238E27FC236}">
                <a16:creationId xmlns:a16="http://schemas.microsoft.com/office/drawing/2014/main" id="{D9D35B30-70A9-5549-1693-61686718AB17}"/>
              </a:ext>
            </a:extLst>
          </p:cNvPr>
          <p:cNvSpPr/>
          <p:nvPr/>
        </p:nvSpPr>
        <p:spPr>
          <a:xfrm>
            <a:off x="10001888" y="1496677"/>
            <a:ext cx="433582" cy="433581"/>
          </a:xfrm>
          <a:prstGeom prst="flowChartConnector">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400" b="1" i="0" u="none" strike="noStrike" kern="1200" cap="none" spc="0" normalizeH="0" baseline="0" noProof="0">
              <a:ln>
                <a:noFill/>
              </a:ln>
              <a:solidFill>
                <a:prstClr val="white"/>
              </a:solidFill>
              <a:effectLst/>
              <a:uLnTx/>
              <a:uFillTx/>
              <a:latin typeface="Roboto"/>
              <a:ea typeface="+mn-ea"/>
              <a:cs typeface="+mn-cs"/>
            </a:endParaRPr>
          </a:p>
        </p:txBody>
      </p:sp>
      <p:sp>
        <p:nvSpPr>
          <p:cNvPr id="18" name="Flowchart: Connector 17">
            <a:extLst>
              <a:ext uri="{FF2B5EF4-FFF2-40B4-BE49-F238E27FC236}">
                <a16:creationId xmlns:a16="http://schemas.microsoft.com/office/drawing/2014/main" id="{CE28B488-F78D-8590-FC7A-ABBAE591EF44}"/>
              </a:ext>
            </a:extLst>
          </p:cNvPr>
          <p:cNvSpPr/>
          <p:nvPr/>
        </p:nvSpPr>
        <p:spPr>
          <a:xfrm>
            <a:off x="3291047" y="4218746"/>
            <a:ext cx="433582" cy="433581"/>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400" b="1" i="0" u="none" strike="noStrike" kern="1200" cap="none" spc="0" normalizeH="0" baseline="0" noProof="0">
              <a:ln>
                <a:noFill/>
              </a:ln>
              <a:solidFill>
                <a:prstClr val="white"/>
              </a:solidFill>
              <a:effectLst/>
              <a:uLnTx/>
              <a:uFillTx/>
              <a:latin typeface="Roboto"/>
              <a:ea typeface="+mn-ea"/>
              <a:cs typeface="+mn-cs"/>
            </a:endParaRPr>
          </a:p>
        </p:txBody>
      </p:sp>
      <p:sp>
        <p:nvSpPr>
          <p:cNvPr id="19" name="Flowchart: Connector 18">
            <a:extLst>
              <a:ext uri="{FF2B5EF4-FFF2-40B4-BE49-F238E27FC236}">
                <a16:creationId xmlns:a16="http://schemas.microsoft.com/office/drawing/2014/main" id="{C76045D9-2E05-9879-C153-4A28469CF0E9}"/>
              </a:ext>
            </a:extLst>
          </p:cNvPr>
          <p:cNvSpPr/>
          <p:nvPr/>
        </p:nvSpPr>
        <p:spPr>
          <a:xfrm>
            <a:off x="5527993" y="4218746"/>
            <a:ext cx="433582" cy="433581"/>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400" b="1" i="0" u="none" strike="noStrike" kern="1200" cap="none" spc="0" normalizeH="0" baseline="0" noProof="0">
              <a:ln>
                <a:noFill/>
              </a:ln>
              <a:solidFill>
                <a:prstClr val="white"/>
              </a:solidFill>
              <a:effectLst/>
              <a:uLnTx/>
              <a:uFillTx/>
              <a:latin typeface="Roboto"/>
              <a:ea typeface="+mn-ea"/>
              <a:cs typeface="+mn-cs"/>
            </a:endParaRPr>
          </a:p>
        </p:txBody>
      </p:sp>
      <p:sp>
        <p:nvSpPr>
          <p:cNvPr id="20" name="Flowchart: Connector 19">
            <a:extLst>
              <a:ext uri="{FF2B5EF4-FFF2-40B4-BE49-F238E27FC236}">
                <a16:creationId xmlns:a16="http://schemas.microsoft.com/office/drawing/2014/main" id="{E1715B57-7E5B-3209-D081-7EEE874B9E4E}"/>
              </a:ext>
            </a:extLst>
          </p:cNvPr>
          <p:cNvSpPr/>
          <p:nvPr/>
        </p:nvSpPr>
        <p:spPr>
          <a:xfrm>
            <a:off x="7685384" y="4218746"/>
            <a:ext cx="433582" cy="433581"/>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400" b="1" i="0" u="none" strike="noStrike" kern="1200" cap="none" spc="0" normalizeH="0" baseline="0" noProof="0">
              <a:ln>
                <a:noFill/>
              </a:ln>
              <a:solidFill>
                <a:prstClr val="white"/>
              </a:solidFill>
              <a:effectLst/>
              <a:uLnTx/>
              <a:uFillTx/>
              <a:latin typeface="Roboto"/>
              <a:ea typeface="+mn-ea"/>
              <a:cs typeface="+mn-cs"/>
            </a:endParaRPr>
          </a:p>
        </p:txBody>
      </p:sp>
      <p:cxnSp>
        <p:nvCxnSpPr>
          <p:cNvPr id="21" name="Straight Connector 20">
            <a:extLst>
              <a:ext uri="{FF2B5EF4-FFF2-40B4-BE49-F238E27FC236}">
                <a16:creationId xmlns:a16="http://schemas.microsoft.com/office/drawing/2014/main" id="{3C181C4D-8A22-809A-707D-4758FF2D788C}"/>
              </a:ext>
            </a:extLst>
          </p:cNvPr>
          <p:cNvCxnSpPr>
            <a:cxnSpLocks/>
          </p:cNvCxnSpPr>
          <p:nvPr/>
        </p:nvCxnSpPr>
        <p:spPr>
          <a:xfrm flipH="1" flipV="1">
            <a:off x="3291046" y="4024814"/>
            <a:ext cx="8567276" cy="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31DC2BD-1F9B-F645-5731-7910FECA4198}"/>
              </a:ext>
            </a:extLst>
          </p:cNvPr>
          <p:cNvCxnSpPr>
            <a:cxnSpLocks/>
          </p:cNvCxnSpPr>
          <p:nvPr/>
        </p:nvCxnSpPr>
        <p:spPr>
          <a:xfrm flipH="1">
            <a:off x="726831" y="5512125"/>
            <a:ext cx="17766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3C1B40F5-B5F3-16FD-65D6-5EF49D74E3AD}"/>
              </a:ext>
            </a:extLst>
          </p:cNvPr>
          <p:cNvSpPr/>
          <p:nvPr/>
        </p:nvSpPr>
        <p:spPr>
          <a:xfrm>
            <a:off x="1677889" y="5009266"/>
            <a:ext cx="1005718" cy="10057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grpSp>
        <p:nvGrpSpPr>
          <p:cNvPr id="25" name="Group 24">
            <a:extLst>
              <a:ext uri="{FF2B5EF4-FFF2-40B4-BE49-F238E27FC236}">
                <a16:creationId xmlns:a16="http://schemas.microsoft.com/office/drawing/2014/main" id="{854713D2-80E1-5CDC-2394-FCEF414BD0AD}"/>
              </a:ext>
            </a:extLst>
          </p:cNvPr>
          <p:cNvGrpSpPr/>
          <p:nvPr/>
        </p:nvGrpSpPr>
        <p:grpSpPr>
          <a:xfrm>
            <a:off x="1872721" y="5201360"/>
            <a:ext cx="616055" cy="621531"/>
            <a:chOff x="4081463" y="728663"/>
            <a:chExt cx="357188" cy="360363"/>
          </a:xfrm>
          <a:solidFill>
            <a:schemeClr val="bg1"/>
          </a:solidFill>
        </p:grpSpPr>
        <p:sp>
          <p:nvSpPr>
            <p:cNvPr id="26" name="Freeform 91">
              <a:extLst>
                <a:ext uri="{FF2B5EF4-FFF2-40B4-BE49-F238E27FC236}">
                  <a16:creationId xmlns:a16="http://schemas.microsoft.com/office/drawing/2014/main" id="{F2648ECE-BFFD-1BD8-A490-2ED4553D28E7}"/>
                </a:ext>
              </a:extLst>
            </p:cNvPr>
            <p:cNvSpPr>
              <a:spLocks/>
            </p:cNvSpPr>
            <p:nvPr/>
          </p:nvSpPr>
          <p:spPr bwMode="auto">
            <a:xfrm>
              <a:off x="4081463" y="936625"/>
              <a:ext cx="141288" cy="152400"/>
            </a:xfrm>
            <a:custGeom>
              <a:avLst/>
              <a:gdLst>
                <a:gd name="T0" fmla="*/ 322 w 534"/>
                <a:gd name="T1" fmla="*/ 576 h 576"/>
                <a:gd name="T2" fmla="*/ 322 w 534"/>
                <a:gd name="T3" fmla="*/ 576 h 576"/>
                <a:gd name="T4" fmla="*/ 320 w 534"/>
                <a:gd name="T5" fmla="*/ 576 h 576"/>
                <a:gd name="T6" fmla="*/ 320 w 534"/>
                <a:gd name="T7" fmla="*/ 576 h 576"/>
                <a:gd name="T8" fmla="*/ 312 w 534"/>
                <a:gd name="T9" fmla="*/ 574 h 576"/>
                <a:gd name="T10" fmla="*/ 305 w 534"/>
                <a:gd name="T11" fmla="*/ 570 h 576"/>
                <a:gd name="T12" fmla="*/ 300 w 534"/>
                <a:gd name="T13" fmla="*/ 565 h 576"/>
                <a:gd name="T14" fmla="*/ 296 w 534"/>
                <a:gd name="T15" fmla="*/ 558 h 576"/>
                <a:gd name="T16" fmla="*/ 228 w 534"/>
                <a:gd name="T17" fmla="*/ 372 h 576"/>
                <a:gd name="T18" fmla="*/ 34 w 534"/>
                <a:gd name="T19" fmla="*/ 405 h 576"/>
                <a:gd name="T20" fmla="*/ 34 w 534"/>
                <a:gd name="T21" fmla="*/ 405 h 576"/>
                <a:gd name="T22" fmla="*/ 25 w 534"/>
                <a:gd name="T23" fmla="*/ 406 h 576"/>
                <a:gd name="T24" fmla="*/ 17 w 534"/>
                <a:gd name="T25" fmla="*/ 404 h 576"/>
                <a:gd name="T26" fmla="*/ 11 w 534"/>
                <a:gd name="T27" fmla="*/ 400 h 576"/>
                <a:gd name="T28" fmla="*/ 5 w 534"/>
                <a:gd name="T29" fmla="*/ 394 h 576"/>
                <a:gd name="T30" fmla="*/ 5 w 534"/>
                <a:gd name="T31" fmla="*/ 394 h 576"/>
                <a:gd name="T32" fmla="*/ 2 w 534"/>
                <a:gd name="T33" fmla="*/ 387 h 576"/>
                <a:gd name="T34" fmla="*/ 0 w 534"/>
                <a:gd name="T35" fmla="*/ 378 h 576"/>
                <a:gd name="T36" fmla="*/ 1 w 534"/>
                <a:gd name="T37" fmla="*/ 370 h 576"/>
                <a:gd name="T38" fmla="*/ 4 w 534"/>
                <a:gd name="T39" fmla="*/ 363 h 576"/>
                <a:gd name="T40" fmla="*/ 214 w 534"/>
                <a:gd name="T41" fmla="*/ 0 h 576"/>
                <a:gd name="T42" fmla="*/ 264 w 534"/>
                <a:gd name="T43" fmla="*/ 28 h 576"/>
                <a:gd name="T44" fmla="*/ 84 w 534"/>
                <a:gd name="T45" fmla="*/ 339 h 576"/>
                <a:gd name="T46" fmla="*/ 243 w 534"/>
                <a:gd name="T47" fmla="*/ 313 h 576"/>
                <a:gd name="T48" fmla="*/ 243 w 534"/>
                <a:gd name="T49" fmla="*/ 313 h 576"/>
                <a:gd name="T50" fmla="*/ 248 w 534"/>
                <a:gd name="T51" fmla="*/ 312 h 576"/>
                <a:gd name="T52" fmla="*/ 252 w 534"/>
                <a:gd name="T53" fmla="*/ 313 h 576"/>
                <a:gd name="T54" fmla="*/ 257 w 534"/>
                <a:gd name="T55" fmla="*/ 314 h 576"/>
                <a:gd name="T56" fmla="*/ 261 w 534"/>
                <a:gd name="T57" fmla="*/ 316 h 576"/>
                <a:gd name="T58" fmla="*/ 265 w 534"/>
                <a:gd name="T59" fmla="*/ 319 h 576"/>
                <a:gd name="T60" fmla="*/ 269 w 534"/>
                <a:gd name="T61" fmla="*/ 322 h 576"/>
                <a:gd name="T62" fmla="*/ 272 w 534"/>
                <a:gd name="T63" fmla="*/ 326 h 576"/>
                <a:gd name="T64" fmla="*/ 274 w 534"/>
                <a:gd name="T65" fmla="*/ 331 h 576"/>
                <a:gd name="T66" fmla="*/ 328 w 534"/>
                <a:gd name="T67" fmla="*/ 482 h 576"/>
                <a:gd name="T68" fmla="*/ 484 w 534"/>
                <a:gd name="T69" fmla="*/ 221 h 576"/>
                <a:gd name="T70" fmla="*/ 534 w 534"/>
                <a:gd name="T71" fmla="*/ 250 h 576"/>
                <a:gd name="T72" fmla="*/ 347 w 534"/>
                <a:gd name="T73" fmla="*/ 563 h 576"/>
                <a:gd name="T74" fmla="*/ 347 w 534"/>
                <a:gd name="T75" fmla="*/ 563 h 576"/>
                <a:gd name="T76" fmla="*/ 343 w 534"/>
                <a:gd name="T77" fmla="*/ 568 h 576"/>
                <a:gd name="T78" fmla="*/ 337 w 534"/>
                <a:gd name="T79" fmla="*/ 573 h 576"/>
                <a:gd name="T80" fmla="*/ 330 w 534"/>
                <a:gd name="T81" fmla="*/ 575 h 576"/>
                <a:gd name="T82" fmla="*/ 322 w 534"/>
                <a:gd name="T83" fmla="*/ 576 h 576"/>
                <a:gd name="T84" fmla="*/ 322 w 534"/>
                <a:gd name="T85"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4" h="576">
                  <a:moveTo>
                    <a:pt x="322" y="576"/>
                  </a:moveTo>
                  <a:lnTo>
                    <a:pt x="322" y="576"/>
                  </a:lnTo>
                  <a:lnTo>
                    <a:pt x="320" y="576"/>
                  </a:lnTo>
                  <a:lnTo>
                    <a:pt x="320" y="576"/>
                  </a:lnTo>
                  <a:lnTo>
                    <a:pt x="312" y="574"/>
                  </a:lnTo>
                  <a:lnTo>
                    <a:pt x="305" y="570"/>
                  </a:lnTo>
                  <a:lnTo>
                    <a:pt x="300" y="565"/>
                  </a:lnTo>
                  <a:lnTo>
                    <a:pt x="296" y="558"/>
                  </a:lnTo>
                  <a:lnTo>
                    <a:pt x="228" y="372"/>
                  </a:lnTo>
                  <a:lnTo>
                    <a:pt x="34" y="405"/>
                  </a:lnTo>
                  <a:lnTo>
                    <a:pt x="34" y="405"/>
                  </a:lnTo>
                  <a:lnTo>
                    <a:pt x="25" y="406"/>
                  </a:lnTo>
                  <a:lnTo>
                    <a:pt x="17" y="404"/>
                  </a:lnTo>
                  <a:lnTo>
                    <a:pt x="11" y="400"/>
                  </a:lnTo>
                  <a:lnTo>
                    <a:pt x="5" y="394"/>
                  </a:lnTo>
                  <a:lnTo>
                    <a:pt x="5" y="394"/>
                  </a:lnTo>
                  <a:lnTo>
                    <a:pt x="2" y="387"/>
                  </a:lnTo>
                  <a:lnTo>
                    <a:pt x="0" y="378"/>
                  </a:lnTo>
                  <a:lnTo>
                    <a:pt x="1" y="370"/>
                  </a:lnTo>
                  <a:lnTo>
                    <a:pt x="4" y="363"/>
                  </a:lnTo>
                  <a:lnTo>
                    <a:pt x="214" y="0"/>
                  </a:lnTo>
                  <a:lnTo>
                    <a:pt x="264" y="28"/>
                  </a:lnTo>
                  <a:lnTo>
                    <a:pt x="84" y="339"/>
                  </a:lnTo>
                  <a:lnTo>
                    <a:pt x="243" y="313"/>
                  </a:lnTo>
                  <a:lnTo>
                    <a:pt x="243" y="313"/>
                  </a:lnTo>
                  <a:lnTo>
                    <a:pt x="248" y="312"/>
                  </a:lnTo>
                  <a:lnTo>
                    <a:pt x="252" y="313"/>
                  </a:lnTo>
                  <a:lnTo>
                    <a:pt x="257" y="314"/>
                  </a:lnTo>
                  <a:lnTo>
                    <a:pt x="261" y="316"/>
                  </a:lnTo>
                  <a:lnTo>
                    <a:pt x="265" y="319"/>
                  </a:lnTo>
                  <a:lnTo>
                    <a:pt x="269" y="322"/>
                  </a:lnTo>
                  <a:lnTo>
                    <a:pt x="272" y="326"/>
                  </a:lnTo>
                  <a:lnTo>
                    <a:pt x="274" y="331"/>
                  </a:lnTo>
                  <a:lnTo>
                    <a:pt x="328" y="482"/>
                  </a:lnTo>
                  <a:lnTo>
                    <a:pt x="484" y="221"/>
                  </a:lnTo>
                  <a:lnTo>
                    <a:pt x="534" y="250"/>
                  </a:lnTo>
                  <a:lnTo>
                    <a:pt x="347" y="563"/>
                  </a:lnTo>
                  <a:lnTo>
                    <a:pt x="347" y="563"/>
                  </a:lnTo>
                  <a:lnTo>
                    <a:pt x="343" y="568"/>
                  </a:lnTo>
                  <a:lnTo>
                    <a:pt x="337" y="573"/>
                  </a:lnTo>
                  <a:lnTo>
                    <a:pt x="330" y="575"/>
                  </a:lnTo>
                  <a:lnTo>
                    <a:pt x="322" y="576"/>
                  </a:lnTo>
                  <a:lnTo>
                    <a:pt x="322" y="5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7" name="Freeform 92">
              <a:extLst>
                <a:ext uri="{FF2B5EF4-FFF2-40B4-BE49-F238E27FC236}">
                  <a16:creationId xmlns:a16="http://schemas.microsoft.com/office/drawing/2014/main" id="{774645EB-913C-B9A1-378A-F4D982878D57}"/>
                </a:ext>
              </a:extLst>
            </p:cNvPr>
            <p:cNvSpPr>
              <a:spLocks/>
            </p:cNvSpPr>
            <p:nvPr/>
          </p:nvSpPr>
          <p:spPr bwMode="auto">
            <a:xfrm>
              <a:off x="4297363" y="938213"/>
              <a:ext cx="141288" cy="150813"/>
            </a:xfrm>
            <a:custGeom>
              <a:avLst/>
              <a:gdLst>
                <a:gd name="T0" fmla="*/ 210 w 533"/>
                <a:gd name="T1" fmla="*/ 571 h 571"/>
                <a:gd name="T2" fmla="*/ 210 w 533"/>
                <a:gd name="T3" fmla="*/ 571 h 571"/>
                <a:gd name="T4" fmla="*/ 203 w 533"/>
                <a:gd name="T5" fmla="*/ 570 h 571"/>
                <a:gd name="T6" fmla="*/ 196 w 533"/>
                <a:gd name="T7" fmla="*/ 568 h 571"/>
                <a:gd name="T8" fmla="*/ 190 w 533"/>
                <a:gd name="T9" fmla="*/ 563 h 571"/>
                <a:gd name="T10" fmla="*/ 186 w 533"/>
                <a:gd name="T11" fmla="*/ 558 h 571"/>
                <a:gd name="T12" fmla="*/ 0 w 533"/>
                <a:gd name="T13" fmla="*/ 247 h 571"/>
                <a:gd name="T14" fmla="*/ 49 w 533"/>
                <a:gd name="T15" fmla="*/ 218 h 571"/>
                <a:gd name="T16" fmla="*/ 204 w 533"/>
                <a:gd name="T17" fmla="*/ 477 h 571"/>
                <a:gd name="T18" fmla="*/ 260 w 533"/>
                <a:gd name="T19" fmla="*/ 326 h 571"/>
                <a:gd name="T20" fmla="*/ 260 w 533"/>
                <a:gd name="T21" fmla="*/ 326 h 571"/>
                <a:gd name="T22" fmla="*/ 262 w 533"/>
                <a:gd name="T23" fmla="*/ 321 h 571"/>
                <a:gd name="T24" fmla="*/ 265 w 533"/>
                <a:gd name="T25" fmla="*/ 317 h 571"/>
                <a:gd name="T26" fmla="*/ 268 w 533"/>
                <a:gd name="T27" fmla="*/ 314 h 571"/>
                <a:gd name="T28" fmla="*/ 272 w 533"/>
                <a:gd name="T29" fmla="*/ 311 h 571"/>
                <a:gd name="T30" fmla="*/ 276 w 533"/>
                <a:gd name="T31" fmla="*/ 309 h 571"/>
                <a:gd name="T32" fmla="*/ 281 w 533"/>
                <a:gd name="T33" fmla="*/ 308 h 571"/>
                <a:gd name="T34" fmla="*/ 286 w 533"/>
                <a:gd name="T35" fmla="*/ 307 h 571"/>
                <a:gd name="T36" fmla="*/ 291 w 533"/>
                <a:gd name="T37" fmla="*/ 308 h 571"/>
                <a:gd name="T38" fmla="*/ 450 w 533"/>
                <a:gd name="T39" fmla="*/ 334 h 571"/>
                <a:gd name="T40" fmla="*/ 272 w 533"/>
                <a:gd name="T41" fmla="*/ 28 h 571"/>
                <a:gd name="T42" fmla="*/ 322 w 533"/>
                <a:gd name="T43" fmla="*/ 0 h 571"/>
                <a:gd name="T44" fmla="*/ 529 w 533"/>
                <a:gd name="T45" fmla="*/ 358 h 571"/>
                <a:gd name="T46" fmla="*/ 529 w 533"/>
                <a:gd name="T47" fmla="*/ 358 h 571"/>
                <a:gd name="T48" fmla="*/ 532 w 533"/>
                <a:gd name="T49" fmla="*/ 365 h 571"/>
                <a:gd name="T50" fmla="*/ 533 w 533"/>
                <a:gd name="T51" fmla="*/ 373 h 571"/>
                <a:gd name="T52" fmla="*/ 532 w 533"/>
                <a:gd name="T53" fmla="*/ 382 h 571"/>
                <a:gd name="T54" fmla="*/ 528 w 533"/>
                <a:gd name="T55" fmla="*/ 389 h 571"/>
                <a:gd name="T56" fmla="*/ 528 w 533"/>
                <a:gd name="T57" fmla="*/ 389 h 571"/>
                <a:gd name="T58" fmla="*/ 523 w 533"/>
                <a:gd name="T59" fmla="*/ 395 h 571"/>
                <a:gd name="T60" fmla="*/ 515 w 533"/>
                <a:gd name="T61" fmla="*/ 399 h 571"/>
                <a:gd name="T62" fmla="*/ 507 w 533"/>
                <a:gd name="T63" fmla="*/ 401 h 571"/>
                <a:gd name="T64" fmla="*/ 499 w 533"/>
                <a:gd name="T65" fmla="*/ 400 h 571"/>
                <a:gd name="T66" fmla="*/ 304 w 533"/>
                <a:gd name="T67" fmla="*/ 367 h 571"/>
                <a:gd name="T68" fmla="*/ 237 w 533"/>
                <a:gd name="T69" fmla="*/ 553 h 571"/>
                <a:gd name="T70" fmla="*/ 237 w 533"/>
                <a:gd name="T71" fmla="*/ 553 h 571"/>
                <a:gd name="T72" fmla="*/ 234 w 533"/>
                <a:gd name="T73" fmla="*/ 560 h 571"/>
                <a:gd name="T74" fmla="*/ 228 w 533"/>
                <a:gd name="T75" fmla="*/ 565 h 571"/>
                <a:gd name="T76" fmla="*/ 221 w 533"/>
                <a:gd name="T77" fmla="*/ 569 h 571"/>
                <a:gd name="T78" fmla="*/ 213 w 533"/>
                <a:gd name="T79" fmla="*/ 571 h 571"/>
                <a:gd name="T80" fmla="*/ 213 w 533"/>
                <a:gd name="T81" fmla="*/ 571 h 571"/>
                <a:gd name="T82" fmla="*/ 210 w 533"/>
                <a:gd name="T83" fmla="*/ 571 h 571"/>
                <a:gd name="T84" fmla="*/ 210 w 533"/>
                <a:gd name="T85" fmla="*/ 57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3" h="571">
                  <a:moveTo>
                    <a:pt x="210" y="571"/>
                  </a:moveTo>
                  <a:lnTo>
                    <a:pt x="210" y="571"/>
                  </a:lnTo>
                  <a:lnTo>
                    <a:pt x="203" y="570"/>
                  </a:lnTo>
                  <a:lnTo>
                    <a:pt x="196" y="568"/>
                  </a:lnTo>
                  <a:lnTo>
                    <a:pt x="190" y="563"/>
                  </a:lnTo>
                  <a:lnTo>
                    <a:pt x="186" y="558"/>
                  </a:lnTo>
                  <a:lnTo>
                    <a:pt x="0" y="247"/>
                  </a:lnTo>
                  <a:lnTo>
                    <a:pt x="49" y="218"/>
                  </a:lnTo>
                  <a:lnTo>
                    <a:pt x="204" y="477"/>
                  </a:lnTo>
                  <a:lnTo>
                    <a:pt x="260" y="326"/>
                  </a:lnTo>
                  <a:lnTo>
                    <a:pt x="260" y="326"/>
                  </a:lnTo>
                  <a:lnTo>
                    <a:pt x="262" y="321"/>
                  </a:lnTo>
                  <a:lnTo>
                    <a:pt x="265" y="317"/>
                  </a:lnTo>
                  <a:lnTo>
                    <a:pt x="268" y="314"/>
                  </a:lnTo>
                  <a:lnTo>
                    <a:pt x="272" y="311"/>
                  </a:lnTo>
                  <a:lnTo>
                    <a:pt x="276" y="309"/>
                  </a:lnTo>
                  <a:lnTo>
                    <a:pt x="281" y="308"/>
                  </a:lnTo>
                  <a:lnTo>
                    <a:pt x="286" y="307"/>
                  </a:lnTo>
                  <a:lnTo>
                    <a:pt x="291" y="308"/>
                  </a:lnTo>
                  <a:lnTo>
                    <a:pt x="450" y="334"/>
                  </a:lnTo>
                  <a:lnTo>
                    <a:pt x="272" y="28"/>
                  </a:lnTo>
                  <a:lnTo>
                    <a:pt x="322" y="0"/>
                  </a:lnTo>
                  <a:lnTo>
                    <a:pt x="529" y="358"/>
                  </a:lnTo>
                  <a:lnTo>
                    <a:pt x="529" y="358"/>
                  </a:lnTo>
                  <a:lnTo>
                    <a:pt x="532" y="365"/>
                  </a:lnTo>
                  <a:lnTo>
                    <a:pt x="533" y="373"/>
                  </a:lnTo>
                  <a:lnTo>
                    <a:pt x="532" y="382"/>
                  </a:lnTo>
                  <a:lnTo>
                    <a:pt x="528" y="389"/>
                  </a:lnTo>
                  <a:lnTo>
                    <a:pt x="528" y="389"/>
                  </a:lnTo>
                  <a:lnTo>
                    <a:pt x="523" y="395"/>
                  </a:lnTo>
                  <a:lnTo>
                    <a:pt x="515" y="399"/>
                  </a:lnTo>
                  <a:lnTo>
                    <a:pt x="507" y="401"/>
                  </a:lnTo>
                  <a:lnTo>
                    <a:pt x="499" y="400"/>
                  </a:lnTo>
                  <a:lnTo>
                    <a:pt x="304" y="367"/>
                  </a:lnTo>
                  <a:lnTo>
                    <a:pt x="237" y="553"/>
                  </a:lnTo>
                  <a:lnTo>
                    <a:pt x="237" y="553"/>
                  </a:lnTo>
                  <a:lnTo>
                    <a:pt x="234" y="560"/>
                  </a:lnTo>
                  <a:lnTo>
                    <a:pt x="228" y="565"/>
                  </a:lnTo>
                  <a:lnTo>
                    <a:pt x="221" y="569"/>
                  </a:lnTo>
                  <a:lnTo>
                    <a:pt x="213" y="571"/>
                  </a:lnTo>
                  <a:lnTo>
                    <a:pt x="213" y="571"/>
                  </a:lnTo>
                  <a:lnTo>
                    <a:pt x="210" y="571"/>
                  </a:lnTo>
                  <a:lnTo>
                    <a:pt x="210"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8" name="Freeform 93">
              <a:extLst>
                <a:ext uri="{FF2B5EF4-FFF2-40B4-BE49-F238E27FC236}">
                  <a16:creationId xmlns:a16="http://schemas.microsoft.com/office/drawing/2014/main" id="{EC85BA2D-E3B3-4F2D-5A2C-A182BBBEC9A0}"/>
                </a:ext>
              </a:extLst>
            </p:cNvPr>
            <p:cNvSpPr>
              <a:spLocks noEditPoints="1"/>
            </p:cNvSpPr>
            <p:nvPr/>
          </p:nvSpPr>
          <p:spPr bwMode="auto">
            <a:xfrm>
              <a:off x="4119563" y="728663"/>
              <a:ext cx="284163" cy="285750"/>
            </a:xfrm>
            <a:custGeom>
              <a:avLst/>
              <a:gdLst>
                <a:gd name="T0" fmla="*/ 456 w 1076"/>
                <a:gd name="T1" fmla="*/ 1071 h 1078"/>
                <a:gd name="T2" fmla="*/ 328 w 1076"/>
                <a:gd name="T3" fmla="*/ 1035 h 1078"/>
                <a:gd name="T4" fmla="*/ 216 w 1076"/>
                <a:gd name="T5" fmla="*/ 971 h 1078"/>
                <a:gd name="T6" fmla="*/ 122 w 1076"/>
                <a:gd name="T7" fmla="*/ 881 h 1078"/>
                <a:gd name="T8" fmla="*/ 52 w 1076"/>
                <a:gd name="T9" fmla="*/ 772 h 1078"/>
                <a:gd name="T10" fmla="*/ 10 w 1076"/>
                <a:gd name="T11" fmla="*/ 647 h 1078"/>
                <a:gd name="T12" fmla="*/ 0 w 1076"/>
                <a:gd name="T13" fmla="*/ 538 h 1078"/>
                <a:gd name="T14" fmla="*/ 16 w 1076"/>
                <a:gd name="T15" fmla="*/ 404 h 1078"/>
                <a:gd name="T16" fmla="*/ 64 w 1076"/>
                <a:gd name="T17" fmla="*/ 283 h 1078"/>
                <a:gd name="T18" fmla="*/ 139 w 1076"/>
                <a:gd name="T19" fmla="*/ 177 h 1078"/>
                <a:gd name="T20" fmla="*/ 237 w 1076"/>
                <a:gd name="T21" fmla="*/ 93 h 1078"/>
                <a:gd name="T22" fmla="*/ 353 w 1076"/>
                <a:gd name="T23" fmla="*/ 33 h 1078"/>
                <a:gd name="T24" fmla="*/ 482 w 1076"/>
                <a:gd name="T25" fmla="*/ 3 h 1078"/>
                <a:gd name="T26" fmla="*/ 593 w 1076"/>
                <a:gd name="T27" fmla="*/ 3 h 1078"/>
                <a:gd name="T28" fmla="*/ 723 w 1076"/>
                <a:gd name="T29" fmla="*/ 33 h 1078"/>
                <a:gd name="T30" fmla="*/ 839 w 1076"/>
                <a:gd name="T31" fmla="*/ 93 h 1078"/>
                <a:gd name="T32" fmla="*/ 936 w 1076"/>
                <a:gd name="T33" fmla="*/ 177 h 1078"/>
                <a:gd name="T34" fmla="*/ 1011 w 1076"/>
                <a:gd name="T35" fmla="*/ 283 h 1078"/>
                <a:gd name="T36" fmla="*/ 1059 w 1076"/>
                <a:gd name="T37" fmla="*/ 404 h 1078"/>
                <a:gd name="T38" fmla="*/ 1076 w 1076"/>
                <a:gd name="T39" fmla="*/ 538 h 1078"/>
                <a:gd name="T40" fmla="*/ 1065 w 1076"/>
                <a:gd name="T41" fmla="*/ 647 h 1078"/>
                <a:gd name="T42" fmla="*/ 1023 w 1076"/>
                <a:gd name="T43" fmla="*/ 772 h 1078"/>
                <a:gd name="T44" fmla="*/ 953 w 1076"/>
                <a:gd name="T45" fmla="*/ 881 h 1078"/>
                <a:gd name="T46" fmla="*/ 860 w 1076"/>
                <a:gd name="T47" fmla="*/ 971 h 1078"/>
                <a:gd name="T48" fmla="*/ 747 w 1076"/>
                <a:gd name="T49" fmla="*/ 1035 h 1078"/>
                <a:gd name="T50" fmla="*/ 620 w 1076"/>
                <a:gd name="T51" fmla="*/ 1071 h 1078"/>
                <a:gd name="T52" fmla="*/ 538 w 1076"/>
                <a:gd name="T53" fmla="*/ 57 h 1078"/>
                <a:gd name="T54" fmla="*/ 441 w 1076"/>
                <a:gd name="T55" fmla="*/ 67 h 1078"/>
                <a:gd name="T56" fmla="*/ 329 w 1076"/>
                <a:gd name="T57" fmla="*/ 105 h 1078"/>
                <a:gd name="T58" fmla="*/ 231 w 1076"/>
                <a:gd name="T59" fmla="*/ 168 h 1078"/>
                <a:gd name="T60" fmla="*/ 152 w 1076"/>
                <a:gd name="T61" fmla="*/ 250 h 1078"/>
                <a:gd name="T62" fmla="*/ 94 w 1076"/>
                <a:gd name="T63" fmla="*/ 351 h 1078"/>
                <a:gd name="T64" fmla="*/ 61 w 1076"/>
                <a:gd name="T65" fmla="*/ 466 h 1078"/>
                <a:gd name="T66" fmla="*/ 56 w 1076"/>
                <a:gd name="T67" fmla="*/ 564 h 1078"/>
                <a:gd name="T68" fmla="*/ 77 w 1076"/>
                <a:gd name="T69" fmla="*/ 682 h 1078"/>
                <a:gd name="T70" fmla="*/ 126 w 1076"/>
                <a:gd name="T71" fmla="*/ 789 h 1078"/>
                <a:gd name="T72" fmla="*/ 198 w 1076"/>
                <a:gd name="T73" fmla="*/ 880 h 1078"/>
                <a:gd name="T74" fmla="*/ 288 w 1076"/>
                <a:gd name="T75" fmla="*/ 950 h 1078"/>
                <a:gd name="T76" fmla="*/ 395 w 1076"/>
                <a:gd name="T77" fmla="*/ 999 h 1078"/>
                <a:gd name="T78" fmla="*/ 513 w 1076"/>
                <a:gd name="T79" fmla="*/ 1020 h 1078"/>
                <a:gd name="T80" fmla="*/ 611 w 1076"/>
                <a:gd name="T81" fmla="*/ 1015 h 1078"/>
                <a:gd name="T82" fmla="*/ 725 w 1076"/>
                <a:gd name="T83" fmla="*/ 983 h 1078"/>
                <a:gd name="T84" fmla="*/ 826 w 1076"/>
                <a:gd name="T85" fmla="*/ 925 h 1078"/>
                <a:gd name="T86" fmla="*/ 910 w 1076"/>
                <a:gd name="T87" fmla="*/ 845 h 1078"/>
                <a:gd name="T88" fmla="*/ 972 w 1076"/>
                <a:gd name="T89" fmla="*/ 747 h 1078"/>
                <a:gd name="T90" fmla="*/ 1010 w 1076"/>
                <a:gd name="T91" fmla="*/ 635 h 1078"/>
                <a:gd name="T92" fmla="*/ 1020 w 1076"/>
                <a:gd name="T93" fmla="*/ 538 h 1078"/>
                <a:gd name="T94" fmla="*/ 1005 w 1076"/>
                <a:gd name="T95" fmla="*/ 418 h 1078"/>
                <a:gd name="T96" fmla="*/ 961 w 1076"/>
                <a:gd name="T97" fmla="*/ 309 h 1078"/>
                <a:gd name="T98" fmla="*/ 895 w 1076"/>
                <a:gd name="T99" fmla="*/ 215 h 1078"/>
                <a:gd name="T100" fmla="*/ 807 w 1076"/>
                <a:gd name="T101" fmla="*/ 139 h 1078"/>
                <a:gd name="T102" fmla="*/ 704 w 1076"/>
                <a:gd name="T103" fmla="*/ 86 h 1078"/>
                <a:gd name="T104" fmla="*/ 586 w 1076"/>
                <a:gd name="T105" fmla="*/ 60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76" h="1078">
                  <a:moveTo>
                    <a:pt x="538" y="1078"/>
                  </a:moveTo>
                  <a:lnTo>
                    <a:pt x="538" y="1078"/>
                  </a:lnTo>
                  <a:lnTo>
                    <a:pt x="510" y="1077"/>
                  </a:lnTo>
                  <a:lnTo>
                    <a:pt x="482" y="1075"/>
                  </a:lnTo>
                  <a:lnTo>
                    <a:pt x="456" y="1071"/>
                  </a:lnTo>
                  <a:lnTo>
                    <a:pt x="429" y="1067"/>
                  </a:lnTo>
                  <a:lnTo>
                    <a:pt x="404" y="1060"/>
                  </a:lnTo>
                  <a:lnTo>
                    <a:pt x="377" y="1053"/>
                  </a:lnTo>
                  <a:lnTo>
                    <a:pt x="353" y="1044"/>
                  </a:lnTo>
                  <a:lnTo>
                    <a:pt x="328" y="1035"/>
                  </a:lnTo>
                  <a:lnTo>
                    <a:pt x="305" y="1024"/>
                  </a:lnTo>
                  <a:lnTo>
                    <a:pt x="281" y="1012"/>
                  </a:lnTo>
                  <a:lnTo>
                    <a:pt x="258" y="999"/>
                  </a:lnTo>
                  <a:lnTo>
                    <a:pt x="237" y="985"/>
                  </a:lnTo>
                  <a:lnTo>
                    <a:pt x="216" y="971"/>
                  </a:lnTo>
                  <a:lnTo>
                    <a:pt x="196" y="954"/>
                  </a:lnTo>
                  <a:lnTo>
                    <a:pt x="175" y="937"/>
                  </a:lnTo>
                  <a:lnTo>
                    <a:pt x="157" y="919"/>
                  </a:lnTo>
                  <a:lnTo>
                    <a:pt x="139" y="901"/>
                  </a:lnTo>
                  <a:lnTo>
                    <a:pt x="122" y="881"/>
                  </a:lnTo>
                  <a:lnTo>
                    <a:pt x="107" y="860"/>
                  </a:lnTo>
                  <a:lnTo>
                    <a:pt x="92" y="839"/>
                  </a:lnTo>
                  <a:lnTo>
                    <a:pt x="77" y="818"/>
                  </a:lnTo>
                  <a:lnTo>
                    <a:pt x="64" y="795"/>
                  </a:lnTo>
                  <a:lnTo>
                    <a:pt x="52" y="772"/>
                  </a:lnTo>
                  <a:lnTo>
                    <a:pt x="42" y="748"/>
                  </a:lnTo>
                  <a:lnTo>
                    <a:pt x="32" y="724"/>
                  </a:lnTo>
                  <a:lnTo>
                    <a:pt x="24" y="699"/>
                  </a:lnTo>
                  <a:lnTo>
                    <a:pt x="16" y="674"/>
                  </a:lnTo>
                  <a:lnTo>
                    <a:pt x="10" y="647"/>
                  </a:lnTo>
                  <a:lnTo>
                    <a:pt x="6" y="621"/>
                  </a:lnTo>
                  <a:lnTo>
                    <a:pt x="2" y="594"/>
                  </a:lnTo>
                  <a:lnTo>
                    <a:pt x="0" y="567"/>
                  </a:lnTo>
                  <a:lnTo>
                    <a:pt x="0" y="538"/>
                  </a:lnTo>
                  <a:lnTo>
                    <a:pt x="0" y="538"/>
                  </a:lnTo>
                  <a:lnTo>
                    <a:pt x="0" y="511"/>
                  </a:lnTo>
                  <a:lnTo>
                    <a:pt x="2" y="484"/>
                  </a:lnTo>
                  <a:lnTo>
                    <a:pt x="6" y="456"/>
                  </a:lnTo>
                  <a:lnTo>
                    <a:pt x="10" y="430"/>
                  </a:lnTo>
                  <a:lnTo>
                    <a:pt x="16" y="404"/>
                  </a:lnTo>
                  <a:lnTo>
                    <a:pt x="24" y="379"/>
                  </a:lnTo>
                  <a:lnTo>
                    <a:pt x="32" y="353"/>
                  </a:lnTo>
                  <a:lnTo>
                    <a:pt x="42" y="329"/>
                  </a:lnTo>
                  <a:lnTo>
                    <a:pt x="52" y="306"/>
                  </a:lnTo>
                  <a:lnTo>
                    <a:pt x="64" y="283"/>
                  </a:lnTo>
                  <a:lnTo>
                    <a:pt x="77" y="260"/>
                  </a:lnTo>
                  <a:lnTo>
                    <a:pt x="92" y="238"/>
                  </a:lnTo>
                  <a:lnTo>
                    <a:pt x="107" y="217"/>
                  </a:lnTo>
                  <a:lnTo>
                    <a:pt x="122" y="197"/>
                  </a:lnTo>
                  <a:lnTo>
                    <a:pt x="139" y="177"/>
                  </a:lnTo>
                  <a:lnTo>
                    <a:pt x="157" y="159"/>
                  </a:lnTo>
                  <a:lnTo>
                    <a:pt x="175" y="140"/>
                  </a:lnTo>
                  <a:lnTo>
                    <a:pt x="196" y="123"/>
                  </a:lnTo>
                  <a:lnTo>
                    <a:pt x="216" y="107"/>
                  </a:lnTo>
                  <a:lnTo>
                    <a:pt x="237" y="93"/>
                  </a:lnTo>
                  <a:lnTo>
                    <a:pt x="258" y="79"/>
                  </a:lnTo>
                  <a:lnTo>
                    <a:pt x="281" y="66"/>
                  </a:lnTo>
                  <a:lnTo>
                    <a:pt x="305" y="53"/>
                  </a:lnTo>
                  <a:lnTo>
                    <a:pt x="328" y="42"/>
                  </a:lnTo>
                  <a:lnTo>
                    <a:pt x="353" y="33"/>
                  </a:lnTo>
                  <a:lnTo>
                    <a:pt x="377" y="24"/>
                  </a:lnTo>
                  <a:lnTo>
                    <a:pt x="404" y="17"/>
                  </a:lnTo>
                  <a:lnTo>
                    <a:pt x="429" y="11"/>
                  </a:lnTo>
                  <a:lnTo>
                    <a:pt x="456" y="6"/>
                  </a:lnTo>
                  <a:lnTo>
                    <a:pt x="482" y="3"/>
                  </a:lnTo>
                  <a:lnTo>
                    <a:pt x="510" y="1"/>
                  </a:lnTo>
                  <a:lnTo>
                    <a:pt x="538" y="0"/>
                  </a:lnTo>
                  <a:lnTo>
                    <a:pt x="538" y="0"/>
                  </a:lnTo>
                  <a:lnTo>
                    <a:pt x="565" y="1"/>
                  </a:lnTo>
                  <a:lnTo>
                    <a:pt x="593" y="3"/>
                  </a:lnTo>
                  <a:lnTo>
                    <a:pt x="620" y="6"/>
                  </a:lnTo>
                  <a:lnTo>
                    <a:pt x="646" y="11"/>
                  </a:lnTo>
                  <a:lnTo>
                    <a:pt x="672" y="17"/>
                  </a:lnTo>
                  <a:lnTo>
                    <a:pt x="698" y="24"/>
                  </a:lnTo>
                  <a:lnTo>
                    <a:pt x="723" y="33"/>
                  </a:lnTo>
                  <a:lnTo>
                    <a:pt x="747" y="42"/>
                  </a:lnTo>
                  <a:lnTo>
                    <a:pt x="771" y="53"/>
                  </a:lnTo>
                  <a:lnTo>
                    <a:pt x="795" y="66"/>
                  </a:lnTo>
                  <a:lnTo>
                    <a:pt x="817" y="79"/>
                  </a:lnTo>
                  <a:lnTo>
                    <a:pt x="839" y="93"/>
                  </a:lnTo>
                  <a:lnTo>
                    <a:pt x="860" y="107"/>
                  </a:lnTo>
                  <a:lnTo>
                    <a:pt x="880" y="123"/>
                  </a:lnTo>
                  <a:lnTo>
                    <a:pt x="900" y="140"/>
                  </a:lnTo>
                  <a:lnTo>
                    <a:pt x="919" y="159"/>
                  </a:lnTo>
                  <a:lnTo>
                    <a:pt x="936" y="177"/>
                  </a:lnTo>
                  <a:lnTo>
                    <a:pt x="953" y="197"/>
                  </a:lnTo>
                  <a:lnTo>
                    <a:pt x="969" y="217"/>
                  </a:lnTo>
                  <a:lnTo>
                    <a:pt x="984" y="238"/>
                  </a:lnTo>
                  <a:lnTo>
                    <a:pt x="999" y="260"/>
                  </a:lnTo>
                  <a:lnTo>
                    <a:pt x="1011" y="283"/>
                  </a:lnTo>
                  <a:lnTo>
                    <a:pt x="1023" y="306"/>
                  </a:lnTo>
                  <a:lnTo>
                    <a:pt x="1034" y="329"/>
                  </a:lnTo>
                  <a:lnTo>
                    <a:pt x="1043" y="353"/>
                  </a:lnTo>
                  <a:lnTo>
                    <a:pt x="1052" y="379"/>
                  </a:lnTo>
                  <a:lnTo>
                    <a:pt x="1059" y="404"/>
                  </a:lnTo>
                  <a:lnTo>
                    <a:pt x="1065" y="430"/>
                  </a:lnTo>
                  <a:lnTo>
                    <a:pt x="1070" y="456"/>
                  </a:lnTo>
                  <a:lnTo>
                    <a:pt x="1073" y="484"/>
                  </a:lnTo>
                  <a:lnTo>
                    <a:pt x="1075" y="511"/>
                  </a:lnTo>
                  <a:lnTo>
                    <a:pt x="1076" y="538"/>
                  </a:lnTo>
                  <a:lnTo>
                    <a:pt x="1076" y="538"/>
                  </a:lnTo>
                  <a:lnTo>
                    <a:pt x="1075" y="567"/>
                  </a:lnTo>
                  <a:lnTo>
                    <a:pt x="1073" y="594"/>
                  </a:lnTo>
                  <a:lnTo>
                    <a:pt x="1070" y="621"/>
                  </a:lnTo>
                  <a:lnTo>
                    <a:pt x="1065" y="647"/>
                  </a:lnTo>
                  <a:lnTo>
                    <a:pt x="1059" y="674"/>
                  </a:lnTo>
                  <a:lnTo>
                    <a:pt x="1052" y="699"/>
                  </a:lnTo>
                  <a:lnTo>
                    <a:pt x="1043" y="724"/>
                  </a:lnTo>
                  <a:lnTo>
                    <a:pt x="1034" y="748"/>
                  </a:lnTo>
                  <a:lnTo>
                    <a:pt x="1023" y="772"/>
                  </a:lnTo>
                  <a:lnTo>
                    <a:pt x="1011" y="795"/>
                  </a:lnTo>
                  <a:lnTo>
                    <a:pt x="999" y="818"/>
                  </a:lnTo>
                  <a:lnTo>
                    <a:pt x="984" y="839"/>
                  </a:lnTo>
                  <a:lnTo>
                    <a:pt x="969" y="860"/>
                  </a:lnTo>
                  <a:lnTo>
                    <a:pt x="953" y="881"/>
                  </a:lnTo>
                  <a:lnTo>
                    <a:pt x="936" y="901"/>
                  </a:lnTo>
                  <a:lnTo>
                    <a:pt x="919" y="919"/>
                  </a:lnTo>
                  <a:lnTo>
                    <a:pt x="900" y="937"/>
                  </a:lnTo>
                  <a:lnTo>
                    <a:pt x="880" y="954"/>
                  </a:lnTo>
                  <a:lnTo>
                    <a:pt x="860" y="971"/>
                  </a:lnTo>
                  <a:lnTo>
                    <a:pt x="839" y="985"/>
                  </a:lnTo>
                  <a:lnTo>
                    <a:pt x="817" y="999"/>
                  </a:lnTo>
                  <a:lnTo>
                    <a:pt x="795" y="1012"/>
                  </a:lnTo>
                  <a:lnTo>
                    <a:pt x="771" y="1024"/>
                  </a:lnTo>
                  <a:lnTo>
                    <a:pt x="747" y="1035"/>
                  </a:lnTo>
                  <a:lnTo>
                    <a:pt x="723" y="1044"/>
                  </a:lnTo>
                  <a:lnTo>
                    <a:pt x="698" y="1053"/>
                  </a:lnTo>
                  <a:lnTo>
                    <a:pt x="672" y="1060"/>
                  </a:lnTo>
                  <a:lnTo>
                    <a:pt x="646" y="1067"/>
                  </a:lnTo>
                  <a:lnTo>
                    <a:pt x="620" y="1071"/>
                  </a:lnTo>
                  <a:lnTo>
                    <a:pt x="593" y="1075"/>
                  </a:lnTo>
                  <a:lnTo>
                    <a:pt x="565" y="1077"/>
                  </a:lnTo>
                  <a:lnTo>
                    <a:pt x="538" y="1078"/>
                  </a:lnTo>
                  <a:lnTo>
                    <a:pt x="538" y="1078"/>
                  </a:lnTo>
                  <a:close/>
                  <a:moveTo>
                    <a:pt x="538" y="57"/>
                  </a:moveTo>
                  <a:lnTo>
                    <a:pt x="538" y="57"/>
                  </a:lnTo>
                  <a:lnTo>
                    <a:pt x="513" y="58"/>
                  </a:lnTo>
                  <a:lnTo>
                    <a:pt x="488" y="60"/>
                  </a:lnTo>
                  <a:lnTo>
                    <a:pt x="464" y="63"/>
                  </a:lnTo>
                  <a:lnTo>
                    <a:pt x="441" y="67"/>
                  </a:lnTo>
                  <a:lnTo>
                    <a:pt x="418" y="72"/>
                  </a:lnTo>
                  <a:lnTo>
                    <a:pt x="395" y="79"/>
                  </a:lnTo>
                  <a:lnTo>
                    <a:pt x="372" y="86"/>
                  </a:lnTo>
                  <a:lnTo>
                    <a:pt x="350" y="95"/>
                  </a:lnTo>
                  <a:lnTo>
                    <a:pt x="329" y="105"/>
                  </a:lnTo>
                  <a:lnTo>
                    <a:pt x="309" y="115"/>
                  </a:lnTo>
                  <a:lnTo>
                    <a:pt x="288" y="127"/>
                  </a:lnTo>
                  <a:lnTo>
                    <a:pt x="268" y="139"/>
                  </a:lnTo>
                  <a:lnTo>
                    <a:pt x="250" y="152"/>
                  </a:lnTo>
                  <a:lnTo>
                    <a:pt x="231" y="168"/>
                  </a:lnTo>
                  <a:lnTo>
                    <a:pt x="214" y="183"/>
                  </a:lnTo>
                  <a:lnTo>
                    <a:pt x="198" y="198"/>
                  </a:lnTo>
                  <a:lnTo>
                    <a:pt x="181" y="215"/>
                  </a:lnTo>
                  <a:lnTo>
                    <a:pt x="166" y="232"/>
                  </a:lnTo>
                  <a:lnTo>
                    <a:pt x="152" y="250"/>
                  </a:lnTo>
                  <a:lnTo>
                    <a:pt x="138" y="270"/>
                  </a:lnTo>
                  <a:lnTo>
                    <a:pt x="126" y="289"/>
                  </a:lnTo>
                  <a:lnTo>
                    <a:pt x="114" y="309"/>
                  </a:lnTo>
                  <a:lnTo>
                    <a:pt x="104" y="330"/>
                  </a:lnTo>
                  <a:lnTo>
                    <a:pt x="94" y="351"/>
                  </a:lnTo>
                  <a:lnTo>
                    <a:pt x="85" y="374"/>
                  </a:lnTo>
                  <a:lnTo>
                    <a:pt x="77" y="396"/>
                  </a:lnTo>
                  <a:lnTo>
                    <a:pt x="71" y="418"/>
                  </a:lnTo>
                  <a:lnTo>
                    <a:pt x="65" y="441"/>
                  </a:lnTo>
                  <a:lnTo>
                    <a:pt x="61" y="466"/>
                  </a:lnTo>
                  <a:lnTo>
                    <a:pt x="58" y="490"/>
                  </a:lnTo>
                  <a:lnTo>
                    <a:pt x="56" y="514"/>
                  </a:lnTo>
                  <a:lnTo>
                    <a:pt x="56" y="538"/>
                  </a:lnTo>
                  <a:lnTo>
                    <a:pt x="56" y="538"/>
                  </a:lnTo>
                  <a:lnTo>
                    <a:pt x="56" y="564"/>
                  </a:lnTo>
                  <a:lnTo>
                    <a:pt x="58" y="588"/>
                  </a:lnTo>
                  <a:lnTo>
                    <a:pt x="61" y="612"/>
                  </a:lnTo>
                  <a:lnTo>
                    <a:pt x="65" y="635"/>
                  </a:lnTo>
                  <a:lnTo>
                    <a:pt x="71" y="659"/>
                  </a:lnTo>
                  <a:lnTo>
                    <a:pt x="77" y="682"/>
                  </a:lnTo>
                  <a:lnTo>
                    <a:pt x="85" y="704"/>
                  </a:lnTo>
                  <a:lnTo>
                    <a:pt x="94" y="726"/>
                  </a:lnTo>
                  <a:lnTo>
                    <a:pt x="104" y="747"/>
                  </a:lnTo>
                  <a:lnTo>
                    <a:pt x="114" y="769"/>
                  </a:lnTo>
                  <a:lnTo>
                    <a:pt x="126" y="789"/>
                  </a:lnTo>
                  <a:lnTo>
                    <a:pt x="138" y="808"/>
                  </a:lnTo>
                  <a:lnTo>
                    <a:pt x="152" y="827"/>
                  </a:lnTo>
                  <a:lnTo>
                    <a:pt x="166" y="845"/>
                  </a:lnTo>
                  <a:lnTo>
                    <a:pt x="181" y="862"/>
                  </a:lnTo>
                  <a:lnTo>
                    <a:pt x="198" y="880"/>
                  </a:lnTo>
                  <a:lnTo>
                    <a:pt x="214" y="895"/>
                  </a:lnTo>
                  <a:lnTo>
                    <a:pt x="231" y="910"/>
                  </a:lnTo>
                  <a:lnTo>
                    <a:pt x="250" y="925"/>
                  </a:lnTo>
                  <a:lnTo>
                    <a:pt x="268" y="938"/>
                  </a:lnTo>
                  <a:lnTo>
                    <a:pt x="288" y="950"/>
                  </a:lnTo>
                  <a:lnTo>
                    <a:pt x="309" y="962"/>
                  </a:lnTo>
                  <a:lnTo>
                    <a:pt x="329" y="973"/>
                  </a:lnTo>
                  <a:lnTo>
                    <a:pt x="350" y="983"/>
                  </a:lnTo>
                  <a:lnTo>
                    <a:pt x="372" y="992"/>
                  </a:lnTo>
                  <a:lnTo>
                    <a:pt x="395" y="999"/>
                  </a:lnTo>
                  <a:lnTo>
                    <a:pt x="418" y="1005"/>
                  </a:lnTo>
                  <a:lnTo>
                    <a:pt x="441" y="1011"/>
                  </a:lnTo>
                  <a:lnTo>
                    <a:pt x="464" y="1015"/>
                  </a:lnTo>
                  <a:lnTo>
                    <a:pt x="488" y="1018"/>
                  </a:lnTo>
                  <a:lnTo>
                    <a:pt x="513" y="1020"/>
                  </a:lnTo>
                  <a:lnTo>
                    <a:pt x="538" y="1021"/>
                  </a:lnTo>
                  <a:lnTo>
                    <a:pt x="538" y="1021"/>
                  </a:lnTo>
                  <a:lnTo>
                    <a:pt x="562" y="1020"/>
                  </a:lnTo>
                  <a:lnTo>
                    <a:pt x="586" y="1018"/>
                  </a:lnTo>
                  <a:lnTo>
                    <a:pt x="611" y="1015"/>
                  </a:lnTo>
                  <a:lnTo>
                    <a:pt x="635" y="1011"/>
                  </a:lnTo>
                  <a:lnTo>
                    <a:pt x="658" y="1005"/>
                  </a:lnTo>
                  <a:lnTo>
                    <a:pt x="680" y="999"/>
                  </a:lnTo>
                  <a:lnTo>
                    <a:pt x="704" y="992"/>
                  </a:lnTo>
                  <a:lnTo>
                    <a:pt x="725" y="983"/>
                  </a:lnTo>
                  <a:lnTo>
                    <a:pt x="746" y="973"/>
                  </a:lnTo>
                  <a:lnTo>
                    <a:pt x="767" y="962"/>
                  </a:lnTo>
                  <a:lnTo>
                    <a:pt x="787" y="950"/>
                  </a:lnTo>
                  <a:lnTo>
                    <a:pt x="807" y="938"/>
                  </a:lnTo>
                  <a:lnTo>
                    <a:pt x="826" y="925"/>
                  </a:lnTo>
                  <a:lnTo>
                    <a:pt x="844" y="910"/>
                  </a:lnTo>
                  <a:lnTo>
                    <a:pt x="861" y="895"/>
                  </a:lnTo>
                  <a:lnTo>
                    <a:pt x="878" y="880"/>
                  </a:lnTo>
                  <a:lnTo>
                    <a:pt x="895" y="862"/>
                  </a:lnTo>
                  <a:lnTo>
                    <a:pt x="910" y="845"/>
                  </a:lnTo>
                  <a:lnTo>
                    <a:pt x="924" y="827"/>
                  </a:lnTo>
                  <a:lnTo>
                    <a:pt x="937" y="808"/>
                  </a:lnTo>
                  <a:lnTo>
                    <a:pt x="950" y="789"/>
                  </a:lnTo>
                  <a:lnTo>
                    <a:pt x="961" y="769"/>
                  </a:lnTo>
                  <a:lnTo>
                    <a:pt x="972" y="747"/>
                  </a:lnTo>
                  <a:lnTo>
                    <a:pt x="981" y="726"/>
                  </a:lnTo>
                  <a:lnTo>
                    <a:pt x="990" y="704"/>
                  </a:lnTo>
                  <a:lnTo>
                    <a:pt x="998" y="682"/>
                  </a:lnTo>
                  <a:lnTo>
                    <a:pt x="1005" y="659"/>
                  </a:lnTo>
                  <a:lnTo>
                    <a:pt x="1010" y="635"/>
                  </a:lnTo>
                  <a:lnTo>
                    <a:pt x="1014" y="612"/>
                  </a:lnTo>
                  <a:lnTo>
                    <a:pt x="1017" y="588"/>
                  </a:lnTo>
                  <a:lnTo>
                    <a:pt x="1019" y="564"/>
                  </a:lnTo>
                  <a:lnTo>
                    <a:pt x="1020" y="538"/>
                  </a:lnTo>
                  <a:lnTo>
                    <a:pt x="1020" y="538"/>
                  </a:lnTo>
                  <a:lnTo>
                    <a:pt x="1019" y="514"/>
                  </a:lnTo>
                  <a:lnTo>
                    <a:pt x="1017" y="490"/>
                  </a:lnTo>
                  <a:lnTo>
                    <a:pt x="1014" y="466"/>
                  </a:lnTo>
                  <a:lnTo>
                    <a:pt x="1010" y="441"/>
                  </a:lnTo>
                  <a:lnTo>
                    <a:pt x="1005" y="418"/>
                  </a:lnTo>
                  <a:lnTo>
                    <a:pt x="998" y="396"/>
                  </a:lnTo>
                  <a:lnTo>
                    <a:pt x="990" y="374"/>
                  </a:lnTo>
                  <a:lnTo>
                    <a:pt x="981" y="351"/>
                  </a:lnTo>
                  <a:lnTo>
                    <a:pt x="972" y="330"/>
                  </a:lnTo>
                  <a:lnTo>
                    <a:pt x="961" y="309"/>
                  </a:lnTo>
                  <a:lnTo>
                    <a:pt x="950" y="289"/>
                  </a:lnTo>
                  <a:lnTo>
                    <a:pt x="937" y="270"/>
                  </a:lnTo>
                  <a:lnTo>
                    <a:pt x="924" y="250"/>
                  </a:lnTo>
                  <a:lnTo>
                    <a:pt x="910" y="232"/>
                  </a:lnTo>
                  <a:lnTo>
                    <a:pt x="895" y="215"/>
                  </a:lnTo>
                  <a:lnTo>
                    <a:pt x="878" y="198"/>
                  </a:lnTo>
                  <a:lnTo>
                    <a:pt x="861" y="183"/>
                  </a:lnTo>
                  <a:lnTo>
                    <a:pt x="844" y="168"/>
                  </a:lnTo>
                  <a:lnTo>
                    <a:pt x="826" y="152"/>
                  </a:lnTo>
                  <a:lnTo>
                    <a:pt x="807" y="139"/>
                  </a:lnTo>
                  <a:lnTo>
                    <a:pt x="787" y="127"/>
                  </a:lnTo>
                  <a:lnTo>
                    <a:pt x="767" y="115"/>
                  </a:lnTo>
                  <a:lnTo>
                    <a:pt x="746" y="105"/>
                  </a:lnTo>
                  <a:lnTo>
                    <a:pt x="725" y="95"/>
                  </a:lnTo>
                  <a:lnTo>
                    <a:pt x="704" y="86"/>
                  </a:lnTo>
                  <a:lnTo>
                    <a:pt x="680" y="79"/>
                  </a:lnTo>
                  <a:lnTo>
                    <a:pt x="658" y="72"/>
                  </a:lnTo>
                  <a:lnTo>
                    <a:pt x="635" y="67"/>
                  </a:lnTo>
                  <a:lnTo>
                    <a:pt x="611" y="63"/>
                  </a:lnTo>
                  <a:lnTo>
                    <a:pt x="586" y="60"/>
                  </a:lnTo>
                  <a:lnTo>
                    <a:pt x="562" y="58"/>
                  </a:lnTo>
                  <a:lnTo>
                    <a:pt x="538" y="57"/>
                  </a:lnTo>
                  <a:lnTo>
                    <a:pt x="538"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9" name="Freeform 94">
              <a:extLst>
                <a:ext uri="{FF2B5EF4-FFF2-40B4-BE49-F238E27FC236}">
                  <a16:creationId xmlns:a16="http://schemas.microsoft.com/office/drawing/2014/main" id="{21BCC15F-EF2D-0F32-0235-20F55E2D779E}"/>
                </a:ext>
              </a:extLst>
            </p:cNvPr>
            <p:cNvSpPr>
              <a:spLocks noEditPoints="1"/>
            </p:cNvSpPr>
            <p:nvPr/>
          </p:nvSpPr>
          <p:spPr bwMode="auto">
            <a:xfrm>
              <a:off x="4186238" y="796925"/>
              <a:ext cx="149225" cy="142875"/>
            </a:xfrm>
            <a:custGeom>
              <a:avLst/>
              <a:gdLst>
                <a:gd name="T0" fmla="*/ 446 w 567"/>
                <a:gd name="T1" fmla="*/ 537 h 538"/>
                <a:gd name="T2" fmla="*/ 128 w 567"/>
                <a:gd name="T3" fmla="*/ 534 h 538"/>
                <a:gd name="T4" fmla="*/ 120 w 567"/>
                <a:gd name="T5" fmla="*/ 537 h 538"/>
                <a:gd name="T6" fmla="*/ 108 w 567"/>
                <a:gd name="T7" fmla="*/ 538 h 538"/>
                <a:gd name="T8" fmla="*/ 96 w 567"/>
                <a:gd name="T9" fmla="*/ 532 h 538"/>
                <a:gd name="T10" fmla="*/ 91 w 567"/>
                <a:gd name="T11" fmla="*/ 526 h 538"/>
                <a:gd name="T12" fmla="*/ 86 w 567"/>
                <a:gd name="T13" fmla="*/ 515 h 538"/>
                <a:gd name="T14" fmla="*/ 86 w 567"/>
                <a:gd name="T15" fmla="*/ 501 h 538"/>
                <a:gd name="T16" fmla="*/ 11 w 567"/>
                <a:gd name="T17" fmla="*/ 220 h 538"/>
                <a:gd name="T18" fmla="*/ 3 w 567"/>
                <a:gd name="T19" fmla="*/ 210 h 538"/>
                <a:gd name="T20" fmla="*/ 0 w 567"/>
                <a:gd name="T21" fmla="*/ 197 h 538"/>
                <a:gd name="T22" fmla="*/ 2 w 567"/>
                <a:gd name="T23" fmla="*/ 188 h 538"/>
                <a:gd name="T24" fmla="*/ 9 w 567"/>
                <a:gd name="T25" fmla="*/ 177 h 538"/>
                <a:gd name="T26" fmla="*/ 20 w 567"/>
                <a:gd name="T27" fmla="*/ 171 h 538"/>
                <a:gd name="T28" fmla="*/ 181 w 567"/>
                <a:gd name="T29" fmla="*/ 169 h 538"/>
                <a:gd name="T30" fmla="*/ 261 w 567"/>
                <a:gd name="T31" fmla="*/ 12 h 538"/>
                <a:gd name="T32" fmla="*/ 276 w 567"/>
                <a:gd name="T33" fmla="*/ 1 h 538"/>
                <a:gd name="T34" fmla="*/ 298 w 567"/>
                <a:gd name="T35" fmla="*/ 5 h 538"/>
                <a:gd name="T36" fmla="*/ 309 w 567"/>
                <a:gd name="T37" fmla="*/ 15 h 538"/>
                <a:gd name="T38" fmla="*/ 539 w 567"/>
                <a:gd name="T39" fmla="*/ 169 h 538"/>
                <a:gd name="T40" fmla="*/ 552 w 567"/>
                <a:gd name="T41" fmla="*/ 172 h 538"/>
                <a:gd name="T42" fmla="*/ 562 w 567"/>
                <a:gd name="T43" fmla="*/ 180 h 538"/>
                <a:gd name="T44" fmla="*/ 566 w 567"/>
                <a:gd name="T45" fmla="*/ 188 h 538"/>
                <a:gd name="T46" fmla="*/ 567 w 567"/>
                <a:gd name="T47" fmla="*/ 201 h 538"/>
                <a:gd name="T48" fmla="*/ 563 w 567"/>
                <a:gd name="T49" fmla="*/ 214 h 538"/>
                <a:gd name="T50" fmla="*/ 429 w 567"/>
                <a:gd name="T51" fmla="*/ 322 h 538"/>
                <a:gd name="T52" fmla="*/ 482 w 567"/>
                <a:gd name="T53" fmla="*/ 505 h 538"/>
                <a:gd name="T54" fmla="*/ 481 w 567"/>
                <a:gd name="T55" fmla="*/ 519 h 538"/>
                <a:gd name="T56" fmla="*/ 474 w 567"/>
                <a:gd name="T57" fmla="*/ 530 h 538"/>
                <a:gd name="T58" fmla="*/ 467 w 567"/>
                <a:gd name="T59" fmla="*/ 535 h 538"/>
                <a:gd name="T60" fmla="*/ 454 w 567"/>
                <a:gd name="T61" fmla="*/ 538 h 538"/>
                <a:gd name="T62" fmla="*/ 284 w 567"/>
                <a:gd name="T63" fmla="*/ 375 h 538"/>
                <a:gd name="T64" fmla="*/ 406 w 567"/>
                <a:gd name="T65" fmla="*/ 446 h 538"/>
                <a:gd name="T66" fmla="*/ 369 w 567"/>
                <a:gd name="T67" fmla="*/ 315 h 538"/>
                <a:gd name="T68" fmla="*/ 374 w 567"/>
                <a:gd name="T69" fmla="*/ 295 h 538"/>
                <a:gd name="T70" fmla="*/ 458 w 567"/>
                <a:gd name="T71" fmla="*/ 226 h 538"/>
                <a:gd name="T72" fmla="*/ 361 w 567"/>
                <a:gd name="T73" fmla="*/ 225 h 538"/>
                <a:gd name="T74" fmla="*/ 344 w 567"/>
                <a:gd name="T75" fmla="*/ 211 h 538"/>
                <a:gd name="T76" fmla="*/ 224 w 567"/>
                <a:gd name="T77" fmla="*/ 211 h 538"/>
                <a:gd name="T78" fmla="*/ 206 w 567"/>
                <a:gd name="T79" fmla="*/ 225 h 538"/>
                <a:gd name="T80" fmla="*/ 188 w 567"/>
                <a:gd name="T81" fmla="*/ 289 h 538"/>
                <a:gd name="T82" fmla="*/ 194 w 567"/>
                <a:gd name="T83" fmla="*/ 295 h 538"/>
                <a:gd name="T84" fmla="*/ 198 w 567"/>
                <a:gd name="T85" fmla="*/ 315 h 538"/>
                <a:gd name="T86" fmla="*/ 269 w 567"/>
                <a:gd name="T87" fmla="*/ 379 h 538"/>
                <a:gd name="T88" fmla="*/ 284 w 567"/>
                <a:gd name="T89" fmla="*/ 375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7" h="538">
                  <a:moveTo>
                    <a:pt x="454" y="538"/>
                  </a:moveTo>
                  <a:lnTo>
                    <a:pt x="454" y="538"/>
                  </a:lnTo>
                  <a:lnTo>
                    <a:pt x="446" y="537"/>
                  </a:lnTo>
                  <a:lnTo>
                    <a:pt x="439" y="534"/>
                  </a:lnTo>
                  <a:lnTo>
                    <a:pt x="284" y="437"/>
                  </a:lnTo>
                  <a:lnTo>
                    <a:pt x="128" y="534"/>
                  </a:lnTo>
                  <a:lnTo>
                    <a:pt x="128" y="534"/>
                  </a:lnTo>
                  <a:lnTo>
                    <a:pt x="124" y="536"/>
                  </a:lnTo>
                  <a:lnTo>
                    <a:pt x="120" y="537"/>
                  </a:lnTo>
                  <a:lnTo>
                    <a:pt x="116" y="538"/>
                  </a:lnTo>
                  <a:lnTo>
                    <a:pt x="112" y="538"/>
                  </a:lnTo>
                  <a:lnTo>
                    <a:pt x="108" y="538"/>
                  </a:lnTo>
                  <a:lnTo>
                    <a:pt x="104" y="536"/>
                  </a:lnTo>
                  <a:lnTo>
                    <a:pt x="100" y="535"/>
                  </a:lnTo>
                  <a:lnTo>
                    <a:pt x="96" y="532"/>
                  </a:lnTo>
                  <a:lnTo>
                    <a:pt x="96" y="532"/>
                  </a:lnTo>
                  <a:lnTo>
                    <a:pt x="93" y="530"/>
                  </a:lnTo>
                  <a:lnTo>
                    <a:pt x="91" y="526"/>
                  </a:lnTo>
                  <a:lnTo>
                    <a:pt x="88" y="523"/>
                  </a:lnTo>
                  <a:lnTo>
                    <a:pt x="87" y="519"/>
                  </a:lnTo>
                  <a:lnTo>
                    <a:pt x="86" y="515"/>
                  </a:lnTo>
                  <a:lnTo>
                    <a:pt x="85" y="511"/>
                  </a:lnTo>
                  <a:lnTo>
                    <a:pt x="86" y="505"/>
                  </a:lnTo>
                  <a:lnTo>
                    <a:pt x="86" y="501"/>
                  </a:lnTo>
                  <a:lnTo>
                    <a:pt x="138" y="322"/>
                  </a:lnTo>
                  <a:lnTo>
                    <a:pt x="11" y="220"/>
                  </a:lnTo>
                  <a:lnTo>
                    <a:pt x="11" y="220"/>
                  </a:lnTo>
                  <a:lnTo>
                    <a:pt x="7" y="217"/>
                  </a:lnTo>
                  <a:lnTo>
                    <a:pt x="5" y="214"/>
                  </a:lnTo>
                  <a:lnTo>
                    <a:pt x="3" y="210"/>
                  </a:lnTo>
                  <a:lnTo>
                    <a:pt x="1" y="206"/>
                  </a:lnTo>
                  <a:lnTo>
                    <a:pt x="0" y="201"/>
                  </a:lnTo>
                  <a:lnTo>
                    <a:pt x="0" y="197"/>
                  </a:lnTo>
                  <a:lnTo>
                    <a:pt x="1" y="192"/>
                  </a:lnTo>
                  <a:lnTo>
                    <a:pt x="2" y="188"/>
                  </a:lnTo>
                  <a:lnTo>
                    <a:pt x="2" y="188"/>
                  </a:lnTo>
                  <a:lnTo>
                    <a:pt x="3" y="184"/>
                  </a:lnTo>
                  <a:lnTo>
                    <a:pt x="6" y="180"/>
                  </a:lnTo>
                  <a:lnTo>
                    <a:pt x="9" y="177"/>
                  </a:lnTo>
                  <a:lnTo>
                    <a:pt x="12" y="174"/>
                  </a:lnTo>
                  <a:lnTo>
                    <a:pt x="16" y="172"/>
                  </a:lnTo>
                  <a:lnTo>
                    <a:pt x="20" y="171"/>
                  </a:lnTo>
                  <a:lnTo>
                    <a:pt x="24" y="170"/>
                  </a:lnTo>
                  <a:lnTo>
                    <a:pt x="28" y="169"/>
                  </a:lnTo>
                  <a:lnTo>
                    <a:pt x="181" y="169"/>
                  </a:lnTo>
                  <a:lnTo>
                    <a:pt x="259" y="15"/>
                  </a:lnTo>
                  <a:lnTo>
                    <a:pt x="259" y="15"/>
                  </a:lnTo>
                  <a:lnTo>
                    <a:pt x="261" y="12"/>
                  </a:lnTo>
                  <a:lnTo>
                    <a:pt x="263" y="9"/>
                  </a:lnTo>
                  <a:lnTo>
                    <a:pt x="269" y="5"/>
                  </a:lnTo>
                  <a:lnTo>
                    <a:pt x="276" y="1"/>
                  </a:lnTo>
                  <a:lnTo>
                    <a:pt x="284" y="0"/>
                  </a:lnTo>
                  <a:lnTo>
                    <a:pt x="291" y="1"/>
                  </a:lnTo>
                  <a:lnTo>
                    <a:pt x="298" y="5"/>
                  </a:lnTo>
                  <a:lnTo>
                    <a:pt x="304" y="9"/>
                  </a:lnTo>
                  <a:lnTo>
                    <a:pt x="307" y="12"/>
                  </a:lnTo>
                  <a:lnTo>
                    <a:pt x="309" y="15"/>
                  </a:lnTo>
                  <a:lnTo>
                    <a:pt x="386" y="169"/>
                  </a:lnTo>
                  <a:lnTo>
                    <a:pt x="539" y="169"/>
                  </a:lnTo>
                  <a:lnTo>
                    <a:pt x="539" y="169"/>
                  </a:lnTo>
                  <a:lnTo>
                    <a:pt x="544" y="170"/>
                  </a:lnTo>
                  <a:lnTo>
                    <a:pt x="548" y="171"/>
                  </a:lnTo>
                  <a:lnTo>
                    <a:pt x="552" y="172"/>
                  </a:lnTo>
                  <a:lnTo>
                    <a:pt x="555" y="174"/>
                  </a:lnTo>
                  <a:lnTo>
                    <a:pt x="559" y="177"/>
                  </a:lnTo>
                  <a:lnTo>
                    <a:pt x="562" y="180"/>
                  </a:lnTo>
                  <a:lnTo>
                    <a:pt x="564" y="184"/>
                  </a:lnTo>
                  <a:lnTo>
                    <a:pt x="566" y="188"/>
                  </a:lnTo>
                  <a:lnTo>
                    <a:pt x="566" y="188"/>
                  </a:lnTo>
                  <a:lnTo>
                    <a:pt x="567" y="192"/>
                  </a:lnTo>
                  <a:lnTo>
                    <a:pt x="567" y="197"/>
                  </a:lnTo>
                  <a:lnTo>
                    <a:pt x="567" y="201"/>
                  </a:lnTo>
                  <a:lnTo>
                    <a:pt x="566" y="206"/>
                  </a:lnTo>
                  <a:lnTo>
                    <a:pt x="565" y="210"/>
                  </a:lnTo>
                  <a:lnTo>
                    <a:pt x="563" y="214"/>
                  </a:lnTo>
                  <a:lnTo>
                    <a:pt x="560" y="217"/>
                  </a:lnTo>
                  <a:lnTo>
                    <a:pt x="557" y="220"/>
                  </a:lnTo>
                  <a:lnTo>
                    <a:pt x="429" y="322"/>
                  </a:lnTo>
                  <a:lnTo>
                    <a:pt x="481" y="501"/>
                  </a:lnTo>
                  <a:lnTo>
                    <a:pt x="481" y="501"/>
                  </a:lnTo>
                  <a:lnTo>
                    <a:pt x="482" y="505"/>
                  </a:lnTo>
                  <a:lnTo>
                    <a:pt x="482" y="511"/>
                  </a:lnTo>
                  <a:lnTo>
                    <a:pt x="482" y="515"/>
                  </a:lnTo>
                  <a:lnTo>
                    <a:pt x="481" y="519"/>
                  </a:lnTo>
                  <a:lnTo>
                    <a:pt x="479" y="523"/>
                  </a:lnTo>
                  <a:lnTo>
                    <a:pt x="477" y="526"/>
                  </a:lnTo>
                  <a:lnTo>
                    <a:pt x="474" y="530"/>
                  </a:lnTo>
                  <a:lnTo>
                    <a:pt x="471" y="532"/>
                  </a:lnTo>
                  <a:lnTo>
                    <a:pt x="471" y="532"/>
                  </a:lnTo>
                  <a:lnTo>
                    <a:pt x="467" y="535"/>
                  </a:lnTo>
                  <a:lnTo>
                    <a:pt x="463" y="537"/>
                  </a:lnTo>
                  <a:lnTo>
                    <a:pt x="459" y="538"/>
                  </a:lnTo>
                  <a:lnTo>
                    <a:pt x="454" y="538"/>
                  </a:lnTo>
                  <a:lnTo>
                    <a:pt x="454" y="538"/>
                  </a:lnTo>
                  <a:close/>
                  <a:moveTo>
                    <a:pt x="284" y="375"/>
                  </a:moveTo>
                  <a:lnTo>
                    <a:pt x="284" y="375"/>
                  </a:lnTo>
                  <a:lnTo>
                    <a:pt x="291" y="376"/>
                  </a:lnTo>
                  <a:lnTo>
                    <a:pt x="299" y="379"/>
                  </a:lnTo>
                  <a:lnTo>
                    <a:pt x="406" y="446"/>
                  </a:lnTo>
                  <a:lnTo>
                    <a:pt x="370" y="319"/>
                  </a:lnTo>
                  <a:lnTo>
                    <a:pt x="370" y="319"/>
                  </a:lnTo>
                  <a:lnTo>
                    <a:pt x="369" y="315"/>
                  </a:lnTo>
                  <a:lnTo>
                    <a:pt x="369" y="311"/>
                  </a:lnTo>
                  <a:lnTo>
                    <a:pt x="370" y="302"/>
                  </a:lnTo>
                  <a:lnTo>
                    <a:pt x="374" y="295"/>
                  </a:lnTo>
                  <a:lnTo>
                    <a:pt x="376" y="291"/>
                  </a:lnTo>
                  <a:lnTo>
                    <a:pt x="379" y="289"/>
                  </a:lnTo>
                  <a:lnTo>
                    <a:pt x="458" y="226"/>
                  </a:lnTo>
                  <a:lnTo>
                    <a:pt x="369" y="226"/>
                  </a:lnTo>
                  <a:lnTo>
                    <a:pt x="369" y="226"/>
                  </a:lnTo>
                  <a:lnTo>
                    <a:pt x="361" y="225"/>
                  </a:lnTo>
                  <a:lnTo>
                    <a:pt x="354" y="222"/>
                  </a:lnTo>
                  <a:lnTo>
                    <a:pt x="348" y="217"/>
                  </a:lnTo>
                  <a:lnTo>
                    <a:pt x="344" y="211"/>
                  </a:lnTo>
                  <a:lnTo>
                    <a:pt x="284" y="91"/>
                  </a:lnTo>
                  <a:lnTo>
                    <a:pt x="224" y="211"/>
                  </a:lnTo>
                  <a:lnTo>
                    <a:pt x="224" y="211"/>
                  </a:lnTo>
                  <a:lnTo>
                    <a:pt x="219" y="217"/>
                  </a:lnTo>
                  <a:lnTo>
                    <a:pt x="213" y="222"/>
                  </a:lnTo>
                  <a:lnTo>
                    <a:pt x="206" y="225"/>
                  </a:lnTo>
                  <a:lnTo>
                    <a:pt x="199" y="226"/>
                  </a:lnTo>
                  <a:lnTo>
                    <a:pt x="109" y="226"/>
                  </a:lnTo>
                  <a:lnTo>
                    <a:pt x="188" y="289"/>
                  </a:lnTo>
                  <a:lnTo>
                    <a:pt x="188" y="289"/>
                  </a:lnTo>
                  <a:lnTo>
                    <a:pt x="191" y="291"/>
                  </a:lnTo>
                  <a:lnTo>
                    <a:pt x="194" y="295"/>
                  </a:lnTo>
                  <a:lnTo>
                    <a:pt x="197" y="302"/>
                  </a:lnTo>
                  <a:lnTo>
                    <a:pt x="199" y="311"/>
                  </a:lnTo>
                  <a:lnTo>
                    <a:pt x="198" y="315"/>
                  </a:lnTo>
                  <a:lnTo>
                    <a:pt x="197" y="319"/>
                  </a:lnTo>
                  <a:lnTo>
                    <a:pt x="161" y="446"/>
                  </a:lnTo>
                  <a:lnTo>
                    <a:pt x="269" y="379"/>
                  </a:lnTo>
                  <a:lnTo>
                    <a:pt x="269" y="379"/>
                  </a:lnTo>
                  <a:lnTo>
                    <a:pt x="276" y="376"/>
                  </a:lnTo>
                  <a:lnTo>
                    <a:pt x="284" y="375"/>
                  </a:lnTo>
                  <a:lnTo>
                    <a:pt x="284"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30" name="Group 29">
            <a:extLst>
              <a:ext uri="{FF2B5EF4-FFF2-40B4-BE49-F238E27FC236}">
                <a16:creationId xmlns:a16="http://schemas.microsoft.com/office/drawing/2014/main" id="{FDE92F0F-6169-0651-1763-792B9303E0B1}"/>
              </a:ext>
            </a:extLst>
          </p:cNvPr>
          <p:cNvGrpSpPr/>
          <p:nvPr/>
        </p:nvGrpSpPr>
        <p:grpSpPr>
          <a:xfrm>
            <a:off x="3413405" y="1572439"/>
            <a:ext cx="188866" cy="282057"/>
            <a:chOff x="2751138" y="3278188"/>
            <a:chExt cx="241300" cy="360363"/>
          </a:xfrm>
          <a:solidFill>
            <a:schemeClr val="bg1"/>
          </a:solidFill>
        </p:grpSpPr>
        <p:sp>
          <p:nvSpPr>
            <p:cNvPr id="31" name="Freeform 44">
              <a:extLst>
                <a:ext uri="{FF2B5EF4-FFF2-40B4-BE49-F238E27FC236}">
                  <a16:creationId xmlns:a16="http://schemas.microsoft.com/office/drawing/2014/main" id="{2AFF7525-3202-842E-6632-C0656C70F376}"/>
                </a:ext>
              </a:extLst>
            </p:cNvPr>
            <p:cNvSpPr>
              <a:spLocks noEditPoints="1"/>
            </p:cNvSpPr>
            <p:nvPr/>
          </p:nvSpPr>
          <p:spPr bwMode="auto">
            <a:xfrm>
              <a:off x="2751138" y="3278188"/>
              <a:ext cx="241300" cy="360363"/>
            </a:xfrm>
            <a:custGeom>
              <a:avLst/>
              <a:gdLst>
                <a:gd name="T0" fmla="*/ 476 w 1061"/>
                <a:gd name="T1" fmla="*/ 1586 h 1589"/>
                <a:gd name="T2" fmla="*/ 373 w 1061"/>
                <a:gd name="T3" fmla="*/ 1566 h 1589"/>
                <a:gd name="T4" fmla="*/ 279 w 1061"/>
                <a:gd name="T5" fmla="*/ 1525 h 1589"/>
                <a:gd name="T6" fmla="*/ 194 w 1061"/>
                <a:gd name="T7" fmla="*/ 1468 h 1589"/>
                <a:gd name="T8" fmla="*/ 121 w 1061"/>
                <a:gd name="T9" fmla="*/ 1396 h 1589"/>
                <a:gd name="T10" fmla="*/ 64 w 1061"/>
                <a:gd name="T11" fmla="*/ 1312 h 1589"/>
                <a:gd name="T12" fmla="*/ 24 w 1061"/>
                <a:gd name="T13" fmla="*/ 1217 h 1589"/>
                <a:gd name="T14" fmla="*/ 3 w 1061"/>
                <a:gd name="T15" fmla="*/ 1114 h 1589"/>
                <a:gd name="T16" fmla="*/ 1 w 1061"/>
                <a:gd name="T17" fmla="*/ 1046 h 1589"/>
                <a:gd name="T18" fmla="*/ 21 w 1061"/>
                <a:gd name="T19" fmla="*/ 935 h 1589"/>
                <a:gd name="T20" fmla="*/ 76 w 1061"/>
                <a:gd name="T21" fmla="*/ 781 h 1589"/>
                <a:gd name="T22" fmla="*/ 154 w 1061"/>
                <a:gd name="T23" fmla="*/ 614 h 1589"/>
                <a:gd name="T24" fmla="*/ 334 w 1061"/>
                <a:gd name="T25" fmla="*/ 285 h 1589"/>
                <a:gd name="T26" fmla="*/ 503 w 1061"/>
                <a:gd name="T27" fmla="*/ 15 h 1589"/>
                <a:gd name="T28" fmla="*/ 523 w 1061"/>
                <a:gd name="T29" fmla="*/ 1 h 1589"/>
                <a:gd name="T30" fmla="*/ 553 w 1061"/>
                <a:gd name="T31" fmla="*/ 9 h 1589"/>
                <a:gd name="T32" fmla="*/ 645 w 1061"/>
                <a:gd name="T33" fmla="*/ 151 h 1589"/>
                <a:gd name="T34" fmla="*/ 817 w 1061"/>
                <a:gd name="T35" fmla="*/ 443 h 1589"/>
                <a:gd name="T36" fmla="*/ 948 w 1061"/>
                <a:gd name="T37" fmla="*/ 699 h 1589"/>
                <a:gd name="T38" fmla="*/ 1016 w 1061"/>
                <a:gd name="T39" fmla="*/ 861 h 1589"/>
                <a:gd name="T40" fmla="*/ 1055 w 1061"/>
                <a:gd name="T41" fmla="*/ 1002 h 1589"/>
                <a:gd name="T42" fmla="*/ 1061 w 1061"/>
                <a:gd name="T43" fmla="*/ 1060 h 1589"/>
                <a:gd name="T44" fmla="*/ 1050 w 1061"/>
                <a:gd name="T45" fmla="*/ 1166 h 1589"/>
                <a:gd name="T46" fmla="*/ 1018 w 1061"/>
                <a:gd name="T47" fmla="*/ 1266 h 1589"/>
                <a:gd name="T48" fmla="*/ 970 w 1061"/>
                <a:gd name="T49" fmla="*/ 1356 h 1589"/>
                <a:gd name="T50" fmla="*/ 905 w 1061"/>
                <a:gd name="T51" fmla="*/ 1434 h 1589"/>
                <a:gd name="T52" fmla="*/ 827 w 1061"/>
                <a:gd name="T53" fmla="*/ 1498 h 1589"/>
                <a:gd name="T54" fmla="*/ 737 w 1061"/>
                <a:gd name="T55" fmla="*/ 1548 h 1589"/>
                <a:gd name="T56" fmla="*/ 638 w 1061"/>
                <a:gd name="T57" fmla="*/ 1578 h 1589"/>
                <a:gd name="T58" fmla="*/ 530 w 1061"/>
                <a:gd name="T59" fmla="*/ 1589 h 1589"/>
                <a:gd name="T60" fmla="*/ 480 w 1061"/>
                <a:gd name="T61" fmla="*/ 172 h 1589"/>
                <a:gd name="T62" fmla="*/ 299 w 1061"/>
                <a:gd name="T63" fmla="*/ 481 h 1589"/>
                <a:gd name="T64" fmla="*/ 153 w 1061"/>
                <a:gd name="T65" fmla="*/ 768 h 1589"/>
                <a:gd name="T66" fmla="*/ 101 w 1061"/>
                <a:gd name="T67" fmla="*/ 900 h 1589"/>
                <a:gd name="T68" fmla="*/ 71 w 1061"/>
                <a:gd name="T69" fmla="*/ 1013 h 1589"/>
                <a:gd name="T70" fmla="*/ 67 w 1061"/>
                <a:gd name="T71" fmla="*/ 1084 h 1589"/>
                <a:gd name="T72" fmla="*/ 81 w 1061"/>
                <a:gd name="T73" fmla="*/ 1176 h 1589"/>
                <a:gd name="T74" fmla="*/ 113 w 1061"/>
                <a:gd name="T75" fmla="*/ 1260 h 1589"/>
                <a:gd name="T76" fmla="*/ 158 w 1061"/>
                <a:gd name="T77" fmla="*/ 1337 h 1589"/>
                <a:gd name="T78" fmla="*/ 219 w 1061"/>
                <a:gd name="T79" fmla="*/ 1402 h 1589"/>
                <a:gd name="T80" fmla="*/ 290 w 1061"/>
                <a:gd name="T81" fmla="*/ 1456 h 1589"/>
                <a:gd name="T82" fmla="*/ 372 w 1061"/>
                <a:gd name="T83" fmla="*/ 1495 h 1589"/>
                <a:gd name="T84" fmla="*/ 460 w 1061"/>
                <a:gd name="T85" fmla="*/ 1518 h 1589"/>
                <a:gd name="T86" fmla="*/ 530 w 1061"/>
                <a:gd name="T87" fmla="*/ 1523 h 1589"/>
                <a:gd name="T88" fmla="*/ 624 w 1061"/>
                <a:gd name="T89" fmla="*/ 1514 h 1589"/>
                <a:gd name="T90" fmla="*/ 711 w 1061"/>
                <a:gd name="T91" fmla="*/ 1487 h 1589"/>
                <a:gd name="T92" fmla="*/ 790 w 1061"/>
                <a:gd name="T93" fmla="*/ 1444 h 1589"/>
                <a:gd name="T94" fmla="*/ 858 w 1061"/>
                <a:gd name="T95" fmla="*/ 1387 h 1589"/>
                <a:gd name="T96" fmla="*/ 915 w 1061"/>
                <a:gd name="T97" fmla="*/ 1318 h 1589"/>
                <a:gd name="T98" fmla="*/ 957 w 1061"/>
                <a:gd name="T99" fmla="*/ 1240 h 1589"/>
                <a:gd name="T100" fmla="*/ 984 w 1061"/>
                <a:gd name="T101" fmla="*/ 1153 h 1589"/>
                <a:gd name="T102" fmla="*/ 995 w 1061"/>
                <a:gd name="T103" fmla="*/ 1060 h 1589"/>
                <a:gd name="T104" fmla="*/ 985 w 1061"/>
                <a:gd name="T105" fmla="*/ 987 h 1589"/>
                <a:gd name="T106" fmla="*/ 949 w 1061"/>
                <a:gd name="T107" fmla="*/ 869 h 1589"/>
                <a:gd name="T108" fmla="*/ 875 w 1061"/>
                <a:gd name="T109" fmla="*/ 698 h 1589"/>
                <a:gd name="T110" fmla="*/ 722 w 1061"/>
                <a:gd name="T111" fmla="*/ 411 h 1589"/>
                <a:gd name="T112" fmla="*/ 530 w 1061"/>
                <a:gd name="T113" fmla="*/ 94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1" h="1589">
                  <a:moveTo>
                    <a:pt x="530" y="1589"/>
                  </a:moveTo>
                  <a:lnTo>
                    <a:pt x="530" y="1589"/>
                  </a:lnTo>
                  <a:lnTo>
                    <a:pt x="503" y="1588"/>
                  </a:lnTo>
                  <a:lnTo>
                    <a:pt x="476" y="1586"/>
                  </a:lnTo>
                  <a:lnTo>
                    <a:pt x="450" y="1583"/>
                  </a:lnTo>
                  <a:lnTo>
                    <a:pt x="423" y="1578"/>
                  </a:lnTo>
                  <a:lnTo>
                    <a:pt x="399" y="1573"/>
                  </a:lnTo>
                  <a:lnTo>
                    <a:pt x="373" y="1566"/>
                  </a:lnTo>
                  <a:lnTo>
                    <a:pt x="349" y="1557"/>
                  </a:lnTo>
                  <a:lnTo>
                    <a:pt x="324" y="1548"/>
                  </a:lnTo>
                  <a:lnTo>
                    <a:pt x="301" y="1537"/>
                  </a:lnTo>
                  <a:lnTo>
                    <a:pt x="279" y="1525"/>
                  </a:lnTo>
                  <a:lnTo>
                    <a:pt x="256" y="1513"/>
                  </a:lnTo>
                  <a:lnTo>
                    <a:pt x="234" y="1498"/>
                  </a:lnTo>
                  <a:lnTo>
                    <a:pt x="213" y="1484"/>
                  </a:lnTo>
                  <a:lnTo>
                    <a:pt x="194" y="1468"/>
                  </a:lnTo>
                  <a:lnTo>
                    <a:pt x="174" y="1452"/>
                  </a:lnTo>
                  <a:lnTo>
                    <a:pt x="155" y="1434"/>
                  </a:lnTo>
                  <a:lnTo>
                    <a:pt x="139" y="1416"/>
                  </a:lnTo>
                  <a:lnTo>
                    <a:pt x="121" y="1396"/>
                  </a:lnTo>
                  <a:lnTo>
                    <a:pt x="106" y="1376"/>
                  </a:lnTo>
                  <a:lnTo>
                    <a:pt x="91" y="1356"/>
                  </a:lnTo>
                  <a:lnTo>
                    <a:pt x="78" y="1334"/>
                  </a:lnTo>
                  <a:lnTo>
                    <a:pt x="64" y="1312"/>
                  </a:lnTo>
                  <a:lnTo>
                    <a:pt x="53" y="1289"/>
                  </a:lnTo>
                  <a:lnTo>
                    <a:pt x="43" y="1266"/>
                  </a:lnTo>
                  <a:lnTo>
                    <a:pt x="32" y="1242"/>
                  </a:lnTo>
                  <a:lnTo>
                    <a:pt x="24" y="1217"/>
                  </a:lnTo>
                  <a:lnTo>
                    <a:pt x="17" y="1192"/>
                  </a:lnTo>
                  <a:lnTo>
                    <a:pt x="12" y="1166"/>
                  </a:lnTo>
                  <a:lnTo>
                    <a:pt x="6" y="1140"/>
                  </a:lnTo>
                  <a:lnTo>
                    <a:pt x="3" y="1114"/>
                  </a:lnTo>
                  <a:lnTo>
                    <a:pt x="1" y="1087"/>
                  </a:lnTo>
                  <a:lnTo>
                    <a:pt x="0" y="1060"/>
                  </a:lnTo>
                  <a:lnTo>
                    <a:pt x="0" y="1060"/>
                  </a:lnTo>
                  <a:lnTo>
                    <a:pt x="1" y="1046"/>
                  </a:lnTo>
                  <a:lnTo>
                    <a:pt x="2" y="1032"/>
                  </a:lnTo>
                  <a:lnTo>
                    <a:pt x="6" y="1002"/>
                  </a:lnTo>
                  <a:lnTo>
                    <a:pt x="13" y="970"/>
                  </a:lnTo>
                  <a:lnTo>
                    <a:pt x="21" y="935"/>
                  </a:lnTo>
                  <a:lnTo>
                    <a:pt x="32" y="899"/>
                  </a:lnTo>
                  <a:lnTo>
                    <a:pt x="45" y="861"/>
                  </a:lnTo>
                  <a:lnTo>
                    <a:pt x="60" y="822"/>
                  </a:lnTo>
                  <a:lnTo>
                    <a:pt x="76" y="781"/>
                  </a:lnTo>
                  <a:lnTo>
                    <a:pt x="94" y="741"/>
                  </a:lnTo>
                  <a:lnTo>
                    <a:pt x="113" y="699"/>
                  </a:lnTo>
                  <a:lnTo>
                    <a:pt x="133" y="656"/>
                  </a:lnTo>
                  <a:lnTo>
                    <a:pt x="154" y="614"/>
                  </a:lnTo>
                  <a:lnTo>
                    <a:pt x="198" y="528"/>
                  </a:lnTo>
                  <a:lnTo>
                    <a:pt x="244" y="443"/>
                  </a:lnTo>
                  <a:lnTo>
                    <a:pt x="290" y="361"/>
                  </a:lnTo>
                  <a:lnTo>
                    <a:pt x="334" y="285"/>
                  </a:lnTo>
                  <a:lnTo>
                    <a:pt x="377" y="215"/>
                  </a:lnTo>
                  <a:lnTo>
                    <a:pt x="416" y="151"/>
                  </a:lnTo>
                  <a:lnTo>
                    <a:pt x="475" y="57"/>
                  </a:lnTo>
                  <a:lnTo>
                    <a:pt x="503" y="15"/>
                  </a:lnTo>
                  <a:lnTo>
                    <a:pt x="503" y="15"/>
                  </a:lnTo>
                  <a:lnTo>
                    <a:pt x="508" y="9"/>
                  </a:lnTo>
                  <a:lnTo>
                    <a:pt x="514" y="5"/>
                  </a:lnTo>
                  <a:lnTo>
                    <a:pt x="523" y="1"/>
                  </a:lnTo>
                  <a:lnTo>
                    <a:pt x="530" y="0"/>
                  </a:lnTo>
                  <a:lnTo>
                    <a:pt x="538" y="1"/>
                  </a:lnTo>
                  <a:lnTo>
                    <a:pt x="546" y="5"/>
                  </a:lnTo>
                  <a:lnTo>
                    <a:pt x="553" y="9"/>
                  </a:lnTo>
                  <a:lnTo>
                    <a:pt x="558" y="15"/>
                  </a:lnTo>
                  <a:lnTo>
                    <a:pt x="558" y="15"/>
                  </a:lnTo>
                  <a:lnTo>
                    <a:pt x="586" y="57"/>
                  </a:lnTo>
                  <a:lnTo>
                    <a:pt x="645" y="151"/>
                  </a:lnTo>
                  <a:lnTo>
                    <a:pt x="684" y="215"/>
                  </a:lnTo>
                  <a:lnTo>
                    <a:pt x="726" y="285"/>
                  </a:lnTo>
                  <a:lnTo>
                    <a:pt x="771" y="361"/>
                  </a:lnTo>
                  <a:lnTo>
                    <a:pt x="817" y="443"/>
                  </a:lnTo>
                  <a:lnTo>
                    <a:pt x="863" y="528"/>
                  </a:lnTo>
                  <a:lnTo>
                    <a:pt x="907" y="614"/>
                  </a:lnTo>
                  <a:lnTo>
                    <a:pt x="928" y="656"/>
                  </a:lnTo>
                  <a:lnTo>
                    <a:pt x="948" y="699"/>
                  </a:lnTo>
                  <a:lnTo>
                    <a:pt x="967" y="741"/>
                  </a:lnTo>
                  <a:lnTo>
                    <a:pt x="985" y="781"/>
                  </a:lnTo>
                  <a:lnTo>
                    <a:pt x="1001" y="822"/>
                  </a:lnTo>
                  <a:lnTo>
                    <a:pt x="1016" y="861"/>
                  </a:lnTo>
                  <a:lnTo>
                    <a:pt x="1029" y="899"/>
                  </a:lnTo>
                  <a:lnTo>
                    <a:pt x="1040" y="935"/>
                  </a:lnTo>
                  <a:lnTo>
                    <a:pt x="1048" y="970"/>
                  </a:lnTo>
                  <a:lnTo>
                    <a:pt x="1055" y="1002"/>
                  </a:lnTo>
                  <a:lnTo>
                    <a:pt x="1059" y="1032"/>
                  </a:lnTo>
                  <a:lnTo>
                    <a:pt x="1060" y="1046"/>
                  </a:lnTo>
                  <a:lnTo>
                    <a:pt x="1061" y="1060"/>
                  </a:lnTo>
                  <a:lnTo>
                    <a:pt x="1061" y="1060"/>
                  </a:lnTo>
                  <a:lnTo>
                    <a:pt x="1060" y="1087"/>
                  </a:lnTo>
                  <a:lnTo>
                    <a:pt x="1058" y="1114"/>
                  </a:lnTo>
                  <a:lnTo>
                    <a:pt x="1055" y="1140"/>
                  </a:lnTo>
                  <a:lnTo>
                    <a:pt x="1050" y="1166"/>
                  </a:lnTo>
                  <a:lnTo>
                    <a:pt x="1043" y="1192"/>
                  </a:lnTo>
                  <a:lnTo>
                    <a:pt x="1037" y="1217"/>
                  </a:lnTo>
                  <a:lnTo>
                    <a:pt x="1028" y="1242"/>
                  </a:lnTo>
                  <a:lnTo>
                    <a:pt x="1018" y="1266"/>
                  </a:lnTo>
                  <a:lnTo>
                    <a:pt x="1008" y="1289"/>
                  </a:lnTo>
                  <a:lnTo>
                    <a:pt x="997" y="1312"/>
                  </a:lnTo>
                  <a:lnTo>
                    <a:pt x="983" y="1334"/>
                  </a:lnTo>
                  <a:lnTo>
                    <a:pt x="970" y="1356"/>
                  </a:lnTo>
                  <a:lnTo>
                    <a:pt x="955" y="1376"/>
                  </a:lnTo>
                  <a:lnTo>
                    <a:pt x="940" y="1396"/>
                  </a:lnTo>
                  <a:lnTo>
                    <a:pt x="922" y="1416"/>
                  </a:lnTo>
                  <a:lnTo>
                    <a:pt x="905" y="1434"/>
                  </a:lnTo>
                  <a:lnTo>
                    <a:pt x="887" y="1452"/>
                  </a:lnTo>
                  <a:lnTo>
                    <a:pt x="867" y="1468"/>
                  </a:lnTo>
                  <a:lnTo>
                    <a:pt x="848" y="1484"/>
                  </a:lnTo>
                  <a:lnTo>
                    <a:pt x="827" y="1498"/>
                  </a:lnTo>
                  <a:lnTo>
                    <a:pt x="805" y="1513"/>
                  </a:lnTo>
                  <a:lnTo>
                    <a:pt x="783" y="1525"/>
                  </a:lnTo>
                  <a:lnTo>
                    <a:pt x="760" y="1537"/>
                  </a:lnTo>
                  <a:lnTo>
                    <a:pt x="737" y="1548"/>
                  </a:lnTo>
                  <a:lnTo>
                    <a:pt x="712" y="1557"/>
                  </a:lnTo>
                  <a:lnTo>
                    <a:pt x="688" y="1566"/>
                  </a:lnTo>
                  <a:lnTo>
                    <a:pt x="662" y="1573"/>
                  </a:lnTo>
                  <a:lnTo>
                    <a:pt x="638" y="1578"/>
                  </a:lnTo>
                  <a:lnTo>
                    <a:pt x="611" y="1583"/>
                  </a:lnTo>
                  <a:lnTo>
                    <a:pt x="585" y="1586"/>
                  </a:lnTo>
                  <a:lnTo>
                    <a:pt x="558" y="1588"/>
                  </a:lnTo>
                  <a:lnTo>
                    <a:pt x="530" y="1589"/>
                  </a:lnTo>
                  <a:lnTo>
                    <a:pt x="530" y="1589"/>
                  </a:lnTo>
                  <a:close/>
                  <a:moveTo>
                    <a:pt x="530" y="94"/>
                  </a:moveTo>
                  <a:lnTo>
                    <a:pt x="530" y="94"/>
                  </a:lnTo>
                  <a:lnTo>
                    <a:pt x="480" y="172"/>
                  </a:lnTo>
                  <a:lnTo>
                    <a:pt x="414" y="282"/>
                  </a:lnTo>
                  <a:lnTo>
                    <a:pt x="377" y="344"/>
                  </a:lnTo>
                  <a:lnTo>
                    <a:pt x="339" y="411"/>
                  </a:lnTo>
                  <a:lnTo>
                    <a:pt x="299" y="481"/>
                  </a:lnTo>
                  <a:lnTo>
                    <a:pt x="260" y="553"/>
                  </a:lnTo>
                  <a:lnTo>
                    <a:pt x="222" y="625"/>
                  </a:lnTo>
                  <a:lnTo>
                    <a:pt x="186" y="698"/>
                  </a:lnTo>
                  <a:lnTo>
                    <a:pt x="153" y="768"/>
                  </a:lnTo>
                  <a:lnTo>
                    <a:pt x="139" y="803"/>
                  </a:lnTo>
                  <a:lnTo>
                    <a:pt x="124" y="836"/>
                  </a:lnTo>
                  <a:lnTo>
                    <a:pt x="112" y="869"/>
                  </a:lnTo>
                  <a:lnTo>
                    <a:pt x="101" y="900"/>
                  </a:lnTo>
                  <a:lnTo>
                    <a:pt x="91" y="932"/>
                  </a:lnTo>
                  <a:lnTo>
                    <a:pt x="82" y="960"/>
                  </a:lnTo>
                  <a:lnTo>
                    <a:pt x="76" y="987"/>
                  </a:lnTo>
                  <a:lnTo>
                    <a:pt x="71" y="1013"/>
                  </a:lnTo>
                  <a:lnTo>
                    <a:pt x="67" y="1037"/>
                  </a:lnTo>
                  <a:lnTo>
                    <a:pt x="66" y="1060"/>
                  </a:lnTo>
                  <a:lnTo>
                    <a:pt x="66" y="1060"/>
                  </a:lnTo>
                  <a:lnTo>
                    <a:pt x="67" y="1084"/>
                  </a:lnTo>
                  <a:lnTo>
                    <a:pt x="69" y="1106"/>
                  </a:lnTo>
                  <a:lnTo>
                    <a:pt x="72" y="1130"/>
                  </a:lnTo>
                  <a:lnTo>
                    <a:pt x="76" y="1153"/>
                  </a:lnTo>
                  <a:lnTo>
                    <a:pt x="81" y="1176"/>
                  </a:lnTo>
                  <a:lnTo>
                    <a:pt x="87" y="1197"/>
                  </a:lnTo>
                  <a:lnTo>
                    <a:pt x="95" y="1219"/>
                  </a:lnTo>
                  <a:lnTo>
                    <a:pt x="104" y="1240"/>
                  </a:lnTo>
                  <a:lnTo>
                    <a:pt x="113" y="1260"/>
                  </a:lnTo>
                  <a:lnTo>
                    <a:pt x="122" y="1280"/>
                  </a:lnTo>
                  <a:lnTo>
                    <a:pt x="134" y="1300"/>
                  </a:lnTo>
                  <a:lnTo>
                    <a:pt x="146" y="1318"/>
                  </a:lnTo>
                  <a:lnTo>
                    <a:pt x="158" y="1337"/>
                  </a:lnTo>
                  <a:lnTo>
                    <a:pt x="173" y="1355"/>
                  </a:lnTo>
                  <a:lnTo>
                    <a:pt x="187" y="1371"/>
                  </a:lnTo>
                  <a:lnTo>
                    <a:pt x="203" y="1387"/>
                  </a:lnTo>
                  <a:lnTo>
                    <a:pt x="219" y="1402"/>
                  </a:lnTo>
                  <a:lnTo>
                    <a:pt x="236" y="1417"/>
                  </a:lnTo>
                  <a:lnTo>
                    <a:pt x="253" y="1431"/>
                  </a:lnTo>
                  <a:lnTo>
                    <a:pt x="271" y="1444"/>
                  </a:lnTo>
                  <a:lnTo>
                    <a:pt x="290" y="1456"/>
                  </a:lnTo>
                  <a:lnTo>
                    <a:pt x="310" y="1467"/>
                  </a:lnTo>
                  <a:lnTo>
                    <a:pt x="329" y="1478"/>
                  </a:lnTo>
                  <a:lnTo>
                    <a:pt x="350" y="1487"/>
                  </a:lnTo>
                  <a:lnTo>
                    <a:pt x="372" y="1495"/>
                  </a:lnTo>
                  <a:lnTo>
                    <a:pt x="392" y="1503"/>
                  </a:lnTo>
                  <a:lnTo>
                    <a:pt x="415" y="1509"/>
                  </a:lnTo>
                  <a:lnTo>
                    <a:pt x="437" y="1514"/>
                  </a:lnTo>
                  <a:lnTo>
                    <a:pt x="460" y="1518"/>
                  </a:lnTo>
                  <a:lnTo>
                    <a:pt x="483" y="1520"/>
                  </a:lnTo>
                  <a:lnTo>
                    <a:pt x="506" y="1522"/>
                  </a:lnTo>
                  <a:lnTo>
                    <a:pt x="530" y="1523"/>
                  </a:lnTo>
                  <a:lnTo>
                    <a:pt x="530" y="1523"/>
                  </a:lnTo>
                  <a:lnTo>
                    <a:pt x="554" y="1522"/>
                  </a:lnTo>
                  <a:lnTo>
                    <a:pt x="578" y="1520"/>
                  </a:lnTo>
                  <a:lnTo>
                    <a:pt x="601" y="1518"/>
                  </a:lnTo>
                  <a:lnTo>
                    <a:pt x="624" y="1514"/>
                  </a:lnTo>
                  <a:lnTo>
                    <a:pt x="646" y="1509"/>
                  </a:lnTo>
                  <a:lnTo>
                    <a:pt x="669" y="1503"/>
                  </a:lnTo>
                  <a:lnTo>
                    <a:pt x="689" y="1495"/>
                  </a:lnTo>
                  <a:lnTo>
                    <a:pt x="711" y="1487"/>
                  </a:lnTo>
                  <a:lnTo>
                    <a:pt x="732" y="1478"/>
                  </a:lnTo>
                  <a:lnTo>
                    <a:pt x="751" y="1467"/>
                  </a:lnTo>
                  <a:lnTo>
                    <a:pt x="771" y="1456"/>
                  </a:lnTo>
                  <a:lnTo>
                    <a:pt x="790" y="1444"/>
                  </a:lnTo>
                  <a:lnTo>
                    <a:pt x="807" y="1431"/>
                  </a:lnTo>
                  <a:lnTo>
                    <a:pt x="825" y="1417"/>
                  </a:lnTo>
                  <a:lnTo>
                    <a:pt x="843" y="1402"/>
                  </a:lnTo>
                  <a:lnTo>
                    <a:pt x="858" y="1387"/>
                  </a:lnTo>
                  <a:lnTo>
                    <a:pt x="874" y="1371"/>
                  </a:lnTo>
                  <a:lnTo>
                    <a:pt x="888" y="1355"/>
                  </a:lnTo>
                  <a:lnTo>
                    <a:pt x="902" y="1337"/>
                  </a:lnTo>
                  <a:lnTo>
                    <a:pt x="915" y="1318"/>
                  </a:lnTo>
                  <a:lnTo>
                    <a:pt x="927" y="1300"/>
                  </a:lnTo>
                  <a:lnTo>
                    <a:pt x="938" y="1280"/>
                  </a:lnTo>
                  <a:lnTo>
                    <a:pt x="948" y="1260"/>
                  </a:lnTo>
                  <a:lnTo>
                    <a:pt x="957" y="1240"/>
                  </a:lnTo>
                  <a:lnTo>
                    <a:pt x="966" y="1219"/>
                  </a:lnTo>
                  <a:lnTo>
                    <a:pt x="973" y="1197"/>
                  </a:lnTo>
                  <a:lnTo>
                    <a:pt x="979" y="1176"/>
                  </a:lnTo>
                  <a:lnTo>
                    <a:pt x="984" y="1153"/>
                  </a:lnTo>
                  <a:lnTo>
                    <a:pt x="988" y="1130"/>
                  </a:lnTo>
                  <a:lnTo>
                    <a:pt x="992" y="1106"/>
                  </a:lnTo>
                  <a:lnTo>
                    <a:pt x="994" y="1084"/>
                  </a:lnTo>
                  <a:lnTo>
                    <a:pt x="995" y="1060"/>
                  </a:lnTo>
                  <a:lnTo>
                    <a:pt x="995" y="1060"/>
                  </a:lnTo>
                  <a:lnTo>
                    <a:pt x="994" y="1037"/>
                  </a:lnTo>
                  <a:lnTo>
                    <a:pt x="991" y="1013"/>
                  </a:lnTo>
                  <a:lnTo>
                    <a:pt x="985" y="987"/>
                  </a:lnTo>
                  <a:lnTo>
                    <a:pt x="978" y="960"/>
                  </a:lnTo>
                  <a:lnTo>
                    <a:pt x="970" y="932"/>
                  </a:lnTo>
                  <a:lnTo>
                    <a:pt x="961" y="900"/>
                  </a:lnTo>
                  <a:lnTo>
                    <a:pt x="949" y="869"/>
                  </a:lnTo>
                  <a:lnTo>
                    <a:pt x="937" y="836"/>
                  </a:lnTo>
                  <a:lnTo>
                    <a:pt x="922" y="803"/>
                  </a:lnTo>
                  <a:lnTo>
                    <a:pt x="908" y="768"/>
                  </a:lnTo>
                  <a:lnTo>
                    <a:pt x="875" y="698"/>
                  </a:lnTo>
                  <a:lnTo>
                    <a:pt x="839" y="625"/>
                  </a:lnTo>
                  <a:lnTo>
                    <a:pt x="801" y="553"/>
                  </a:lnTo>
                  <a:lnTo>
                    <a:pt x="762" y="481"/>
                  </a:lnTo>
                  <a:lnTo>
                    <a:pt x="722" y="411"/>
                  </a:lnTo>
                  <a:lnTo>
                    <a:pt x="684" y="344"/>
                  </a:lnTo>
                  <a:lnTo>
                    <a:pt x="647" y="282"/>
                  </a:lnTo>
                  <a:lnTo>
                    <a:pt x="580" y="172"/>
                  </a:lnTo>
                  <a:lnTo>
                    <a:pt x="530" y="94"/>
                  </a:lnTo>
                  <a:lnTo>
                    <a:pt x="53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2" name="Freeform 45">
              <a:extLst>
                <a:ext uri="{FF2B5EF4-FFF2-40B4-BE49-F238E27FC236}">
                  <a16:creationId xmlns:a16="http://schemas.microsoft.com/office/drawing/2014/main" id="{0FA81C27-1E0D-B1B2-5F4A-B70039A3F820}"/>
                </a:ext>
              </a:extLst>
            </p:cNvPr>
            <p:cNvSpPr>
              <a:spLocks/>
            </p:cNvSpPr>
            <p:nvPr/>
          </p:nvSpPr>
          <p:spPr bwMode="auto">
            <a:xfrm>
              <a:off x="2797175" y="3414713"/>
              <a:ext cx="52388" cy="161925"/>
            </a:xfrm>
            <a:custGeom>
              <a:avLst/>
              <a:gdLst>
                <a:gd name="T0" fmla="*/ 133 w 235"/>
                <a:gd name="T1" fmla="*/ 719 h 719"/>
                <a:gd name="T2" fmla="*/ 121 w 235"/>
                <a:gd name="T3" fmla="*/ 717 h 719"/>
                <a:gd name="T4" fmla="*/ 111 w 235"/>
                <a:gd name="T5" fmla="*/ 710 h 719"/>
                <a:gd name="T6" fmla="*/ 98 w 235"/>
                <a:gd name="T7" fmla="*/ 699 h 719"/>
                <a:gd name="T8" fmla="*/ 74 w 235"/>
                <a:gd name="T9" fmla="*/ 673 h 719"/>
                <a:gd name="T10" fmla="*/ 54 w 235"/>
                <a:gd name="T11" fmla="*/ 644 h 719"/>
                <a:gd name="T12" fmla="*/ 37 w 235"/>
                <a:gd name="T13" fmla="*/ 614 h 719"/>
                <a:gd name="T14" fmla="*/ 23 w 235"/>
                <a:gd name="T15" fmla="*/ 583 h 719"/>
                <a:gd name="T16" fmla="*/ 11 w 235"/>
                <a:gd name="T17" fmla="*/ 550 h 719"/>
                <a:gd name="T18" fmla="*/ 4 w 235"/>
                <a:gd name="T19" fmla="*/ 516 h 719"/>
                <a:gd name="T20" fmla="*/ 1 w 235"/>
                <a:gd name="T21" fmla="*/ 481 h 719"/>
                <a:gd name="T22" fmla="*/ 0 w 235"/>
                <a:gd name="T23" fmla="*/ 464 h 719"/>
                <a:gd name="T24" fmla="*/ 3 w 235"/>
                <a:gd name="T25" fmla="*/ 431 h 719"/>
                <a:gd name="T26" fmla="*/ 11 w 235"/>
                <a:gd name="T27" fmla="*/ 391 h 719"/>
                <a:gd name="T28" fmla="*/ 25 w 235"/>
                <a:gd name="T29" fmla="*/ 345 h 719"/>
                <a:gd name="T30" fmla="*/ 43 w 235"/>
                <a:gd name="T31" fmla="*/ 293 h 719"/>
                <a:gd name="T32" fmla="*/ 97 w 235"/>
                <a:gd name="T33" fmla="*/ 168 h 719"/>
                <a:gd name="T34" fmla="*/ 173 w 235"/>
                <a:gd name="T35" fmla="*/ 18 h 719"/>
                <a:gd name="T36" fmla="*/ 177 w 235"/>
                <a:gd name="T37" fmla="*/ 12 h 719"/>
                <a:gd name="T38" fmla="*/ 186 w 235"/>
                <a:gd name="T39" fmla="*/ 3 h 719"/>
                <a:gd name="T40" fmla="*/ 199 w 235"/>
                <a:gd name="T41" fmla="*/ 0 h 719"/>
                <a:gd name="T42" fmla="*/ 211 w 235"/>
                <a:gd name="T43" fmla="*/ 1 h 719"/>
                <a:gd name="T44" fmla="*/ 217 w 235"/>
                <a:gd name="T45" fmla="*/ 3 h 719"/>
                <a:gd name="T46" fmla="*/ 228 w 235"/>
                <a:gd name="T47" fmla="*/ 12 h 719"/>
                <a:gd name="T48" fmla="*/ 234 w 235"/>
                <a:gd name="T49" fmla="*/ 23 h 719"/>
                <a:gd name="T50" fmla="*/ 235 w 235"/>
                <a:gd name="T51" fmla="*/ 35 h 719"/>
                <a:gd name="T52" fmla="*/ 232 w 235"/>
                <a:gd name="T53" fmla="*/ 48 h 719"/>
                <a:gd name="T54" fmla="*/ 193 w 235"/>
                <a:gd name="T55" fmla="*/ 121 h 719"/>
                <a:gd name="T56" fmla="*/ 132 w 235"/>
                <a:gd name="T57" fmla="*/ 252 h 719"/>
                <a:gd name="T58" fmla="*/ 91 w 235"/>
                <a:gd name="T59" fmla="*/ 356 h 719"/>
                <a:gd name="T60" fmla="*/ 77 w 235"/>
                <a:gd name="T61" fmla="*/ 400 h 719"/>
                <a:gd name="T62" fmla="*/ 69 w 235"/>
                <a:gd name="T63" fmla="*/ 435 h 719"/>
                <a:gd name="T64" fmla="*/ 66 w 235"/>
                <a:gd name="T65" fmla="*/ 464 h 719"/>
                <a:gd name="T66" fmla="*/ 67 w 235"/>
                <a:gd name="T67" fmla="*/ 477 h 719"/>
                <a:gd name="T68" fmla="*/ 70 w 235"/>
                <a:gd name="T69" fmla="*/ 505 h 719"/>
                <a:gd name="T70" fmla="*/ 75 w 235"/>
                <a:gd name="T71" fmla="*/ 532 h 719"/>
                <a:gd name="T72" fmla="*/ 85 w 235"/>
                <a:gd name="T73" fmla="*/ 559 h 719"/>
                <a:gd name="T74" fmla="*/ 96 w 235"/>
                <a:gd name="T75" fmla="*/ 584 h 719"/>
                <a:gd name="T76" fmla="*/ 110 w 235"/>
                <a:gd name="T77" fmla="*/ 609 h 719"/>
                <a:gd name="T78" fmla="*/ 126 w 235"/>
                <a:gd name="T79" fmla="*/ 630 h 719"/>
                <a:gd name="T80" fmla="*/ 145 w 235"/>
                <a:gd name="T81" fmla="*/ 651 h 719"/>
                <a:gd name="T82" fmla="*/ 155 w 235"/>
                <a:gd name="T83" fmla="*/ 661 h 719"/>
                <a:gd name="T84" fmla="*/ 162 w 235"/>
                <a:gd name="T85" fmla="*/ 672 h 719"/>
                <a:gd name="T86" fmla="*/ 165 w 235"/>
                <a:gd name="T87" fmla="*/ 684 h 719"/>
                <a:gd name="T88" fmla="*/ 164 w 235"/>
                <a:gd name="T89" fmla="*/ 697 h 719"/>
                <a:gd name="T90" fmla="*/ 157 w 235"/>
                <a:gd name="T91" fmla="*/ 708 h 719"/>
                <a:gd name="T92" fmla="*/ 152 w 235"/>
                <a:gd name="T93" fmla="*/ 713 h 719"/>
                <a:gd name="T94" fmla="*/ 140 w 235"/>
                <a:gd name="T95" fmla="*/ 718 h 719"/>
                <a:gd name="T96" fmla="*/ 133 w 235"/>
                <a:gd name="T97"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5" h="719">
                  <a:moveTo>
                    <a:pt x="133" y="719"/>
                  </a:moveTo>
                  <a:lnTo>
                    <a:pt x="133" y="719"/>
                  </a:lnTo>
                  <a:lnTo>
                    <a:pt x="127" y="718"/>
                  </a:lnTo>
                  <a:lnTo>
                    <a:pt x="121" y="717"/>
                  </a:lnTo>
                  <a:lnTo>
                    <a:pt x="116" y="714"/>
                  </a:lnTo>
                  <a:lnTo>
                    <a:pt x="111" y="710"/>
                  </a:lnTo>
                  <a:lnTo>
                    <a:pt x="111" y="710"/>
                  </a:lnTo>
                  <a:lnTo>
                    <a:pt x="98" y="699"/>
                  </a:lnTo>
                  <a:lnTo>
                    <a:pt x="86" y="685"/>
                  </a:lnTo>
                  <a:lnTo>
                    <a:pt x="74" y="673"/>
                  </a:lnTo>
                  <a:lnTo>
                    <a:pt x="64" y="658"/>
                  </a:lnTo>
                  <a:lnTo>
                    <a:pt x="54" y="644"/>
                  </a:lnTo>
                  <a:lnTo>
                    <a:pt x="45" y="629"/>
                  </a:lnTo>
                  <a:lnTo>
                    <a:pt x="37" y="614"/>
                  </a:lnTo>
                  <a:lnTo>
                    <a:pt x="29" y="598"/>
                  </a:lnTo>
                  <a:lnTo>
                    <a:pt x="23" y="583"/>
                  </a:lnTo>
                  <a:lnTo>
                    <a:pt x="16" y="566"/>
                  </a:lnTo>
                  <a:lnTo>
                    <a:pt x="11" y="550"/>
                  </a:lnTo>
                  <a:lnTo>
                    <a:pt x="7" y="533"/>
                  </a:lnTo>
                  <a:lnTo>
                    <a:pt x="4" y="516"/>
                  </a:lnTo>
                  <a:lnTo>
                    <a:pt x="2" y="499"/>
                  </a:lnTo>
                  <a:lnTo>
                    <a:pt x="1" y="481"/>
                  </a:lnTo>
                  <a:lnTo>
                    <a:pt x="0" y="464"/>
                  </a:lnTo>
                  <a:lnTo>
                    <a:pt x="0" y="464"/>
                  </a:lnTo>
                  <a:lnTo>
                    <a:pt x="1" y="448"/>
                  </a:lnTo>
                  <a:lnTo>
                    <a:pt x="3" y="431"/>
                  </a:lnTo>
                  <a:lnTo>
                    <a:pt x="6" y="412"/>
                  </a:lnTo>
                  <a:lnTo>
                    <a:pt x="11" y="391"/>
                  </a:lnTo>
                  <a:lnTo>
                    <a:pt x="17" y="370"/>
                  </a:lnTo>
                  <a:lnTo>
                    <a:pt x="25" y="345"/>
                  </a:lnTo>
                  <a:lnTo>
                    <a:pt x="33" y="320"/>
                  </a:lnTo>
                  <a:lnTo>
                    <a:pt x="43" y="293"/>
                  </a:lnTo>
                  <a:lnTo>
                    <a:pt x="68" y="234"/>
                  </a:lnTo>
                  <a:lnTo>
                    <a:pt x="97" y="168"/>
                  </a:lnTo>
                  <a:lnTo>
                    <a:pt x="132" y="95"/>
                  </a:lnTo>
                  <a:lnTo>
                    <a:pt x="173" y="18"/>
                  </a:lnTo>
                  <a:lnTo>
                    <a:pt x="173" y="18"/>
                  </a:lnTo>
                  <a:lnTo>
                    <a:pt x="177" y="12"/>
                  </a:lnTo>
                  <a:lnTo>
                    <a:pt x="181" y="8"/>
                  </a:lnTo>
                  <a:lnTo>
                    <a:pt x="186" y="3"/>
                  </a:lnTo>
                  <a:lnTo>
                    <a:pt x="192" y="1"/>
                  </a:lnTo>
                  <a:lnTo>
                    <a:pt x="199" y="0"/>
                  </a:lnTo>
                  <a:lnTo>
                    <a:pt x="205" y="0"/>
                  </a:lnTo>
                  <a:lnTo>
                    <a:pt x="211" y="1"/>
                  </a:lnTo>
                  <a:lnTo>
                    <a:pt x="217" y="3"/>
                  </a:lnTo>
                  <a:lnTo>
                    <a:pt x="217" y="3"/>
                  </a:lnTo>
                  <a:lnTo>
                    <a:pt x="223" y="8"/>
                  </a:lnTo>
                  <a:lnTo>
                    <a:pt x="228" y="12"/>
                  </a:lnTo>
                  <a:lnTo>
                    <a:pt x="231" y="17"/>
                  </a:lnTo>
                  <a:lnTo>
                    <a:pt x="234" y="23"/>
                  </a:lnTo>
                  <a:lnTo>
                    <a:pt x="235" y="29"/>
                  </a:lnTo>
                  <a:lnTo>
                    <a:pt x="235" y="35"/>
                  </a:lnTo>
                  <a:lnTo>
                    <a:pt x="234" y="42"/>
                  </a:lnTo>
                  <a:lnTo>
                    <a:pt x="232" y="48"/>
                  </a:lnTo>
                  <a:lnTo>
                    <a:pt x="232" y="48"/>
                  </a:lnTo>
                  <a:lnTo>
                    <a:pt x="193" y="121"/>
                  </a:lnTo>
                  <a:lnTo>
                    <a:pt x="160" y="190"/>
                  </a:lnTo>
                  <a:lnTo>
                    <a:pt x="132" y="252"/>
                  </a:lnTo>
                  <a:lnTo>
                    <a:pt x="109" y="308"/>
                  </a:lnTo>
                  <a:lnTo>
                    <a:pt x="91" y="356"/>
                  </a:lnTo>
                  <a:lnTo>
                    <a:pt x="84" y="379"/>
                  </a:lnTo>
                  <a:lnTo>
                    <a:pt x="77" y="400"/>
                  </a:lnTo>
                  <a:lnTo>
                    <a:pt x="72" y="418"/>
                  </a:lnTo>
                  <a:lnTo>
                    <a:pt x="69" y="435"/>
                  </a:lnTo>
                  <a:lnTo>
                    <a:pt x="67" y="450"/>
                  </a:lnTo>
                  <a:lnTo>
                    <a:pt x="66" y="464"/>
                  </a:lnTo>
                  <a:lnTo>
                    <a:pt x="66" y="464"/>
                  </a:lnTo>
                  <a:lnTo>
                    <a:pt x="67" y="477"/>
                  </a:lnTo>
                  <a:lnTo>
                    <a:pt x="68" y="492"/>
                  </a:lnTo>
                  <a:lnTo>
                    <a:pt x="70" y="505"/>
                  </a:lnTo>
                  <a:lnTo>
                    <a:pt x="72" y="519"/>
                  </a:lnTo>
                  <a:lnTo>
                    <a:pt x="75" y="532"/>
                  </a:lnTo>
                  <a:lnTo>
                    <a:pt x="80" y="546"/>
                  </a:lnTo>
                  <a:lnTo>
                    <a:pt x="85" y="559"/>
                  </a:lnTo>
                  <a:lnTo>
                    <a:pt x="90" y="571"/>
                  </a:lnTo>
                  <a:lnTo>
                    <a:pt x="96" y="584"/>
                  </a:lnTo>
                  <a:lnTo>
                    <a:pt x="102" y="596"/>
                  </a:lnTo>
                  <a:lnTo>
                    <a:pt x="110" y="609"/>
                  </a:lnTo>
                  <a:lnTo>
                    <a:pt x="118" y="620"/>
                  </a:lnTo>
                  <a:lnTo>
                    <a:pt x="126" y="630"/>
                  </a:lnTo>
                  <a:lnTo>
                    <a:pt x="135" y="642"/>
                  </a:lnTo>
                  <a:lnTo>
                    <a:pt x="145" y="651"/>
                  </a:lnTo>
                  <a:lnTo>
                    <a:pt x="155" y="661"/>
                  </a:lnTo>
                  <a:lnTo>
                    <a:pt x="155" y="661"/>
                  </a:lnTo>
                  <a:lnTo>
                    <a:pt x="159" y="666"/>
                  </a:lnTo>
                  <a:lnTo>
                    <a:pt x="162" y="672"/>
                  </a:lnTo>
                  <a:lnTo>
                    <a:pt x="165" y="678"/>
                  </a:lnTo>
                  <a:lnTo>
                    <a:pt x="165" y="684"/>
                  </a:lnTo>
                  <a:lnTo>
                    <a:pt x="165" y="690"/>
                  </a:lnTo>
                  <a:lnTo>
                    <a:pt x="164" y="697"/>
                  </a:lnTo>
                  <a:lnTo>
                    <a:pt x="161" y="703"/>
                  </a:lnTo>
                  <a:lnTo>
                    <a:pt x="157" y="708"/>
                  </a:lnTo>
                  <a:lnTo>
                    <a:pt x="157" y="708"/>
                  </a:lnTo>
                  <a:lnTo>
                    <a:pt x="152" y="713"/>
                  </a:lnTo>
                  <a:lnTo>
                    <a:pt x="146" y="716"/>
                  </a:lnTo>
                  <a:lnTo>
                    <a:pt x="140" y="718"/>
                  </a:lnTo>
                  <a:lnTo>
                    <a:pt x="133" y="719"/>
                  </a:lnTo>
                  <a:lnTo>
                    <a:pt x="133" y="7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34" name="Group 33">
            <a:extLst>
              <a:ext uri="{FF2B5EF4-FFF2-40B4-BE49-F238E27FC236}">
                <a16:creationId xmlns:a16="http://schemas.microsoft.com/office/drawing/2014/main" id="{55F6D5CF-F704-6D63-C1B5-6D894F41BE42}"/>
              </a:ext>
            </a:extLst>
          </p:cNvPr>
          <p:cNvGrpSpPr/>
          <p:nvPr/>
        </p:nvGrpSpPr>
        <p:grpSpPr>
          <a:xfrm>
            <a:off x="5589337" y="1593001"/>
            <a:ext cx="231339" cy="240933"/>
            <a:chOff x="4843463" y="1809750"/>
            <a:chExt cx="344488" cy="358775"/>
          </a:xfrm>
          <a:solidFill>
            <a:schemeClr val="bg1"/>
          </a:solidFill>
        </p:grpSpPr>
        <p:sp>
          <p:nvSpPr>
            <p:cNvPr id="35" name="Freeform 189">
              <a:extLst>
                <a:ext uri="{FF2B5EF4-FFF2-40B4-BE49-F238E27FC236}">
                  <a16:creationId xmlns:a16="http://schemas.microsoft.com/office/drawing/2014/main" id="{4D20195D-4381-65B0-77E4-BCFC695B7F5A}"/>
                </a:ext>
              </a:extLst>
            </p:cNvPr>
            <p:cNvSpPr>
              <a:spLocks/>
            </p:cNvSpPr>
            <p:nvPr/>
          </p:nvSpPr>
          <p:spPr bwMode="auto">
            <a:xfrm>
              <a:off x="4911725" y="1809750"/>
              <a:ext cx="14288" cy="358775"/>
            </a:xfrm>
            <a:custGeom>
              <a:avLst/>
              <a:gdLst>
                <a:gd name="T0" fmla="*/ 33 w 66"/>
                <a:gd name="T1" fmla="*/ 1587 h 1587"/>
                <a:gd name="T2" fmla="*/ 33 w 66"/>
                <a:gd name="T3" fmla="*/ 1587 h 1587"/>
                <a:gd name="T4" fmla="*/ 26 w 66"/>
                <a:gd name="T5" fmla="*/ 1586 h 1587"/>
                <a:gd name="T6" fmla="*/ 20 w 66"/>
                <a:gd name="T7" fmla="*/ 1584 h 1587"/>
                <a:gd name="T8" fmla="*/ 14 w 66"/>
                <a:gd name="T9" fmla="*/ 1581 h 1587"/>
                <a:gd name="T10" fmla="*/ 9 w 66"/>
                <a:gd name="T11" fmla="*/ 1576 h 1587"/>
                <a:gd name="T12" fmla="*/ 5 w 66"/>
                <a:gd name="T13" fmla="*/ 1572 h 1587"/>
                <a:gd name="T14" fmla="*/ 2 w 66"/>
                <a:gd name="T15" fmla="*/ 1566 h 1587"/>
                <a:gd name="T16" fmla="*/ 0 w 66"/>
                <a:gd name="T17" fmla="*/ 1560 h 1587"/>
                <a:gd name="T18" fmla="*/ 0 w 66"/>
                <a:gd name="T19" fmla="*/ 1554 h 1587"/>
                <a:gd name="T20" fmla="*/ 0 w 66"/>
                <a:gd name="T21" fmla="*/ 33 h 1587"/>
                <a:gd name="T22" fmla="*/ 0 w 66"/>
                <a:gd name="T23" fmla="*/ 33 h 1587"/>
                <a:gd name="T24" fmla="*/ 0 w 66"/>
                <a:gd name="T25" fmla="*/ 27 h 1587"/>
                <a:gd name="T26" fmla="*/ 2 w 66"/>
                <a:gd name="T27" fmla="*/ 21 h 1587"/>
                <a:gd name="T28" fmla="*/ 5 w 66"/>
                <a:gd name="T29" fmla="*/ 15 h 1587"/>
                <a:gd name="T30" fmla="*/ 9 w 66"/>
                <a:gd name="T31" fmla="*/ 10 h 1587"/>
                <a:gd name="T32" fmla="*/ 14 w 66"/>
                <a:gd name="T33" fmla="*/ 6 h 1587"/>
                <a:gd name="T34" fmla="*/ 20 w 66"/>
                <a:gd name="T35" fmla="*/ 3 h 1587"/>
                <a:gd name="T36" fmla="*/ 26 w 66"/>
                <a:gd name="T37" fmla="*/ 1 h 1587"/>
                <a:gd name="T38" fmla="*/ 33 w 66"/>
                <a:gd name="T39" fmla="*/ 0 h 1587"/>
                <a:gd name="T40" fmla="*/ 33 w 66"/>
                <a:gd name="T41" fmla="*/ 0 h 1587"/>
                <a:gd name="T42" fmla="*/ 39 w 66"/>
                <a:gd name="T43" fmla="*/ 1 h 1587"/>
                <a:gd name="T44" fmla="*/ 46 w 66"/>
                <a:gd name="T45" fmla="*/ 3 h 1587"/>
                <a:gd name="T46" fmla="*/ 51 w 66"/>
                <a:gd name="T47" fmla="*/ 6 h 1587"/>
                <a:gd name="T48" fmla="*/ 56 w 66"/>
                <a:gd name="T49" fmla="*/ 10 h 1587"/>
                <a:gd name="T50" fmla="*/ 60 w 66"/>
                <a:gd name="T51" fmla="*/ 15 h 1587"/>
                <a:gd name="T52" fmla="*/ 63 w 66"/>
                <a:gd name="T53" fmla="*/ 21 h 1587"/>
                <a:gd name="T54" fmla="*/ 65 w 66"/>
                <a:gd name="T55" fmla="*/ 27 h 1587"/>
                <a:gd name="T56" fmla="*/ 66 w 66"/>
                <a:gd name="T57" fmla="*/ 33 h 1587"/>
                <a:gd name="T58" fmla="*/ 66 w 66"/>
                <a:gd name="T59" fmla="*/ 1554 h 1587"/>
                <a:gd name="T60" fmla="*/ 66 w 66"/>
                <a:gd name="T61" fmla="*/ 1554 h 1587"/>
                <a:gd name="T62" fmla="*/ 65 w 66"/>
                <a:gd name="T63" fmla="*/ 1560 h 1587"/>
                <a:gd name="T64" fmla="*/ 63 w 66"/>
                <a:gd name="T65" fmla="*/ 1566 h 1587"/>
                <a:gd name="T66" fmla="*/ 60 w 66"/>
                <a:gd name="T67" fmla="*/ 1572 h 1587"/>
                <a:gd name="T68" fmla="*/ 56 w 66"/>
                <a:gd name="T69" fmla="*/ 1576 h 1587"/>
                <a:gd name="T70" fmla="*/ 51 w 66"/>
                <a:gd name="T71" fmla="*/ 1581 h 1587"/>
                <a:gd name="T72" fmla="*/ 46 w 66"/>
                <a:gd name="T73" fmla="*/ 1584 h 1587"/>
                <a:gd name="T74" fmla="*/ 39 w 66"/>
                <a:gd name="T75" fmla="*/ 1586 h 1587"/>
                <a:gd name="T76" fmla="*/ 33 w 66"/>
                <a:gd name="T77" fmla="*/ 1587 h 1587"/>
                <a:gd name="T78" fmla="*/ 33 w 66"/>
                <a:gd name="T79" fmla="*/ 1587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587">
                  <a:moveTo>
                    <a:pt x="33" y="1587"/>
                  </a:moveTo>
                  <a:lnTo>
                    <a:pt x="33" y="1587"/>
                  </a:lnTo>
                  <a:lnTo>
                    <a:pt x="26" y="1586"/>
                  </a:lnTo>
                  <a:lnTo>
                    <a:pt x="20" y="1584"/>
                  </a:lnTo>
                  <a:lnTo>
                    <a:pt x="14" y="1581"/>
                  </a:lnTo>
                  <a:lnTo>
                    <a:pt x="9" y="1576"/>
                  </a:lnTo>
                  <a:lnTo>
                    <a:pt x="5" y="1572"/>
                  </a:lnTo>
                  <a:lnTo>
                    <a:pt x="2" y="1566"/>
                  </a:lnTo>
                  <a:lnTo>
                    <a:pt x="0" y="1560"/>
                  </a:lnTo>
                  <a:lnTo>
                    <a:pt x="0" y="1554"/>
                  </a:lnTo>
                  <a:lnTo>
                    <a:pt x="0" y="33"/>
                  </a:lnTo>
                  <a:lnTo>
                    <a:pt x="0" y="33"/>
                  </a:lnTo>
                  <a:lnTo>
                    <a:pt x="0" y="27"/>
                  </a:lnTo>
                  <a:lnTo>
                    <a:pt x="2" y="21"/>
                  </a:lnTo>
                  <a:lnTo>
                    <a:pt x="5" y="15"/>
                  </a:lnTo>
                  <a:lnTo>
                    <a:pt x="9" y="10"/>
                  </a:lnTo>
                  <a:lnTo>
                    <a:pt x="14" y="6"/>
                  </a:lnTo>
                  <a:lnTo>
                    <a:pt x="20" y="3"/>
                  </a:lnTo>
                  <a:lnTo>
                    <a:pt x="26" y="1"/>
                  </a:lnTo>
                  <a:lnTo>
                    <a:pt x="33" y="0"/>
                  </a:lnTo>
                  <a:lnTo>
                    <a:pt x="33" y="0"/>
                  </a:lnTo>
                  <a:lnTo>
                    <a:pt x="39" y="1"/>
                  </a:lnTo>
                  <a:lnTo>
                    <a:pt x="46" y="3"/>
                  </a:lnTo>
                  <a:lnTo>
                    <a:pt x="51" y="6"/>
                  </a:lnTo>
                  <a:lnTo>
                    <a:pt x="56" y="10"/>
                  </a:lnTo>
                  <a:lnTo>
                    <a:pt x="60" y="15"/>
                  </a:lnTo>
                  <a:lnTo>
                    <a:pt x="63" y="21"/>
                  </a:lnTo>
                  <a:lnTo>
                    <a:pt x="65" y="27"/>
                  </a:lnTo>
                  <a:lnTo>
                    <a:pt x="66" y="33"/>
                  </a:lnTo>
                  <a:lnTo>
                    <a:pt x="66" y="1554"/>
                  </a:lnTo>
                  <a:lnTo>
                    <a:pt x="66" y="1554"/>
                  </a:lnTo>
                  <a:lnTo>
                    <a:pt x="65" y="1560"/>
                  </a:lnTo>
                  <a:lnTo>
                    <a:pt x="63" y="1566"/>
                  </a:lnTo>
                  <a:lnTo>
                    <a:pt x="60" y="1572"/>
                  </a:lnTo>
                  <a:lnTo>
                    <a:pt x="56" y="1576"/>
                  </a:lnTo>
                  <a:lnTo>
                    <a:pt x="51" y="1581"/>
                  </a:lnTo>
                  <a:lnTo>
                    <a:pt x="46" y="1584"/>
                  </a:lnTo>
                  <a:lnTo>
                    <a:pt x="39" y="1586"/>
                  </a:lnTo>
                  <a:lnTo>
                    <a:pt x="33" y="1587"/>
                  </a:lnTo>
                  <a:lnTo>
                    <a:pt x="33" y="15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6" name="Freeform 190">
              <a:extLst>
                <a:ext uri="{FF2B5EF4-FFF2-40B4-BE49-F238E27FC236}">
                  <a16:creationId xmlns:a16="http://schemas.microsoft.com/office/drawing/2014/main" id="{93AFEBE2-8016-867B-EDA1-B341DDE3233D}"/>
                </a:ext>
              </a:extLst>
            </p:cNvPr>
            <p:cNvSpPr>
              <a:spLocks noEditPoints="1"/>
            </p:cNvSpPr>
            <p:nvPr/>
          </p:nvSpPr>
          <p:spPr bwMode="auto">
            <a:xfrm>
              <a:off x="4843463" y="1816100"/>
              <a:ext cx="52388" cy="120650"/>
            </a:xfrm>
            <a:custGeom>
              <a:avLst/>
              <a:gdLst>
                <a:gd name="T0" fmla="*/ 199 w 232"/>
                <a:gd name="T1" fmla="*/ 529 h 529"/>
                <a:gd name="T2" fmla="*/ 187 w 232"/>
                <a:gd name="T3" fmla="*/ 527 h 529"/>
                <a:gd name="T4" fmla="*/ 178 w 232"/>
                <a:gd name="T5" fmla="*/ 522 h 529"/>
                <a:gd name="T6" fmla="*/ 161 w 232"/>
                <a:gd name="T7" fmla="*/ 508 h 529"/>
                <a:gd name="T8" fmla="*/ 132 w 232"/>
                <a:gd name="T9" fmla="*/ 482 h 529"/>
                <a:gd name="T10" fmla="*/ 107 w 232"/>
                <a:gd name="T11" fmla="*/ 454 h 529"/>
                <a:gd name="T12" fmla="*/ 85 w 232"/>
                <a:gd name="T13" fmla="*/ 425 h 529"/>
                <a:gd name="T14" fmla="*/ 66 w 232"/>
                <a:gd name="T15" fmla="*/ 396 h 529"/>
                <a:gd name="T16" fmla="*/ 51 w 232"/>
                <a:gd name="T17" fmla="*/ 366 h 529"/>
                <a:gd name="T18" fmla="*/ 37 w 232"/>
                <a:gd name="T19" fmla="*/ 336 h 529"/>
                <a:gd name="T20" fmla="*/ 23 w 232"/>
                <a:gd name="T21" fmla="*/ 289 h 529"/>
                <a:gd name="T22" fmla="*/ 9 w 232"/>
                <a:gd name="T23" fmla="*/ 226 h 529"/>
                <a:gd name="T24" fmla="*/ 3 w 232"/>
                <a:gd name="T25" fmla="*/ 162 h 529"/>
                <a:gd name="T26" fmla="*/ 0 w 232"/>
                <a:gd name="T27" fmla="*/ 98 h 529"/>
                <a:gd name="T28" fmla="*/ 0 w 232"/>
                <a:gd name="T29" fmla="*/ 33 h 529"/>
                <a:gd name="T30" fmla="*/ 2 w 232"/>
                <a:gd name="T31" fmla="*/ 23 h 529"/>
                <a:gd name="T32" fmla="*/ 6 w 232"/>
                <a:gd name="T33" fmla="*/ 15 h 529"/>
                <a:gd name="T34" fmla="*/ 13 w 232"/>
                <a:gd name="T35" fmla="*/ 8 h 529"/>
                <a:gd name="T36" fmla="*/ 22 w 232"/>
                <a:gd name="T37" fmla="*/ 2 h 529"/>
                <a:gd name="T38" fmla="*/ 27 w 232"/>
                <a:gd name="T39" fmla="*/ 1 h 529"/>
                <a:gd name="T40" fmla="*/ 37 w 232"/>
                <a:gd name="T41" fmla="*/ 0 h 529"/>
                <a:gd name="T42" fmla="*/ 47 w 232"/>
                <a:gd name="T43" fmla="*/ 3 h 529"/>
                <a:gd name="T44" fmla="*/ 55 w 232"/>
                <a:gd name="T45" fmla="*/ 9 h 529"/>
                <a:gd name="T46" fmla="*/ 223 w 232"/>
                <a:gd name="T47" fmla="*/ 210 h 529"/>
                <a:gd name="T48" fmla="*/ 228 w 232"/>
                <a:gd name="T49" fmla="*/ 216 h 529"/>
                <a:gd name="T50" fmla="*/ 231 w 232"/>
                <a:gd name="T51" fmla="*/ 226 h 529"/>
                <a:gd name="T52" fmla="*/ 232 w 232"/>
                <a:gd name="T53" fmla="*/ 496 h 529"/>
                <a:gd name="T54" fmla="*/ 231 w 232"/>
                <a:gd name="T55" fmla="*/ 501 h 529"/>
                <a:gd name="T56" fmla="*/ 229 w 232"/>
                <a:gd name="T57" fmla="*/ 510 h 529"/>
                <a:gd name="T58" fmla="*/ 223 w 232"/>
                <a:gd name="T59" fmla="*/ 518 h 529"/>
                <a:gd name="T60" fmla="*/ 217 w 232"/>
                <a:gd name="T61" fmla="*/ 524 h 529"/>
                <a:gd name="T62" fmla="*/ 213 w 232"/>
                <a:gd name="T63" fmla="*/ 526 h 529"/>
                <a:gd name="T64" fmla="*/ 199 w 232"/>
                <a:gd name="T65" fmla="*/ 529 h 529"/>
                <a:gd name="T66" fmla="*/ 67 w 232"/>
                <a:gd name="T67" fmla="*/ 126 h 529"/>
                <a:gd name="T68" fmla="*/ 69 w 232"/>
                <a:gd name="T69" fmla="*/ 166 h 529"/>
                <a:gd name="T70" fmla="*/ 77 w 232"/>
                <a:gd name="T71" fmla="*/ 224 h 529"/>
                <a:gd name="T72" fmla="*/ 84 w 232"/>
                <a:gd name="T73" fmla="*/ 261 h 529"/>
                <a:gd name="T74" fmla="*/ 95 w 232"/>
                <a:gd name="T75" fmla="*/ 298 h 529"/>
                <a:gd name="T76" fmla="*/ 110 w 232"/>
                <a:gd name="T77" fmla="*/ 335 h 529"/>
                <a:gd name="T78" fmla="*/ 128 w 232"/>
                <a:gd name="T79" fmla="*/ 370 h 529"/>
                <a:gd name="T80" fmla="*/ 152 w 232"/>
                <a:gd name="T81" fmla="*/ 404 h 529"/>
                <a:gd name="T82" fmla="*/ 166 w 232"/>
                <a:gd name="T83" fmla="*/ 24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29">
                  <a:moveTo>
                    <a:pt x="199" y="529"/>
                  </a:moveTo>
                  <a:lnTo>
                    <a:pt x="199" y="529"/>
                  </a:lnTo>
                  <a:lnTo>
                    <a:pt x="193" y="529"/>
                  </a:lnTo>
                  <a:lnTo>
                    <a:pt x="187" y="527"/>
                  </a:lnTo>
                  <a:lnTo>
                    <a:pt x="182" y="525"/>
                  </a:lnTo>
                  <a:lnTo>
                    <a:pt x="178" y="522"/>
                  </a:lnTo>
                  <a:lnTo>
                    <a:pt x="178" y="522"/>
                  </a:lnTo>
                  <a:lnTo>
                    <a:pt x="161" y="508"/>
                  </a:lnTo>
                  <a:lnTo>
                    <a:pt x="147" y="495"/>
                  </a:lnTo>
                  <a:lnTo>
                    <a:pt x="132" y="482"/>
                  </a:lnTo>
                  <a:lnTo>
                    <a:pt x="119" y="468"/>
                  </a:lnTo>
                  <a:lnTo>
                    <a:pt x="107" y="454"/>
                  </a:lnTo>
                  <a:lnTo>
                    <a:pt x="95" y="439"/>
                  </a:lnTo>
                  <a:lnTo>
                    <a:pt x="85" y="425"/>
                  </a:lnTo>
                  <a:lnTo>
                    <a:pt x="75" y="410"/>
                  </a:lnTo>
                  <a:lnTo>
                    <a:pt x="66" y="396"/>
                  </a:lnTo>
                  <a:lnTo>
                    <a:pt x="58" y="381"/>
                  </a:lnTo>
                  <a:lnTo>
                    <a:pt x="51" y="366"/>
                  </a:lnTo>
                  <a:lnTo>
                    <a:pt x="43" y="350"/>
                  </a:lnTo>
                  <a:lnTo>
                    <a:pt x="37" y="336"/>
                  </a:lnTo>
                  <a:lnTo>
                    <a:pt x="32" y="320"/>
                  </a:lnTo>
                  <a:lnTo>
                    <a:pt x="23" y="289"/>
                  </a:lnTo>
                  <a:lnTo>
                    <a:pt x="14" y="258"/>
                  </a:lnTo>
                  <a:lnTo>
                    <a:pt x="9" y="226"/>
                  </a:lnTo>
                  <a:lnTo>
                    <a:pt x="5" y="194"/>
                  </a:lnTo>
                  <a:lnTo>
                    <a:pt x="3" y="162"/>
                  </a:lnTo>
                  <a:lnTo>
                    <a:pt x="1" y="130"/>
                  </a:lnTo>
                  <a:lnTo>
                    <a:pt x="0" y="98"/>
                  </a:lnTo>
                  <a:lnTo>
                    <a:pt x="0" y="33"/>
                  </a:lnTo>
                  <a:lnTo>
                    <a:pt x="0" y="33"/>
                  </a:lnTo>
                  <a:lnTo>
                    <a:pt x="0" y="28"/>
                  </a:lnTo>
                  <a:lnTo>
                    <a:pt x="2" y="23"/>
                  </a:lnTo>
                  <a:lnTo>
                    <a:pt x="3" y="19"/>
                  </a:lnTo>
                  <a:lnTo>
                    <a:pt x="6" y="15"/>
                  </a:lnTo>
                  <a:lnTo>
                    <a:pt x="9" y="11"/>
                  </a:lnTo>
                  <a:lnTo>
                    <a:pt x="13" y="8"/>
                  </a:lnTo>
                  <a:lnTo>
                    <a:pt x="18" y="4"/>
                  </a:lnTo>
                  <a:lnTo>
                    <a:pt x="22" y="2"/>
                  </a:lnTo>
                  <a:lnTo>
                    <a:pt x="22" y="2"/>
                  </a:lnTo>
                  <a:lnTo>
                    <a:pt x="27" y="1"/>
                  </a:lnTo>
                  <a:lnTo>
                    <a:pt x="32" y="0"/>
                  </a:lnTo>
                  <a:lnTo>
                    <a:pt x="37" y="0"/>
                  </a:lnTo>
                  <a:lnTo>
                    <a:pt x="41" y="1"/>
                  </a:lnTo>
                  <a:lnTo>
                    <a:pt x="47" y="3"/>
                  </a:lnTo>
                  <a:lnTo>
                    <a:pt x="51" y="6"/>
                  </a:lnTo>
                  <a:lnTo>
                    <a:pt x="55" y="9"/>
                  </a:lnTo>
                  <a:lnTo>
                    <a:pt x="59" y="12"/>
                  </a:lnTo>
                  <a:lnTo>
                    <a:pt x="223" y="210"/>
                  </a:lnTo>
                  <a:lnTo>
                    <a:pt x="223" y="210"/>
                  </a:lnTo>
                  <a:lnTo>
                    <a:pt x="228" y="216"/>
                  </a:lnTo>
                  <a:lnTo>
                    <a:pt x="230" y="221"/>
                  </a:lnTo>
                  <a:lnTo>
                    <a:pt x="231" y="226"/>
                  </a:lnTo>
                  <a:lnTo>
                    <a:pt x="232" y="232"/>
                  </a:lnTo>
                  <a:lnTo>
                    <a:pt x="232" y="496"/>
                  </a:lnTo>
                  <a:lnTo>
                    <a:pt x="232" y="496"/>
                  </a:lnTo>
                  <a:lnTo>
                    <a:pt x="231" y="501"/>
                  </a:lnTo>
                  <a:lnTo>
                    <a:pt x="230" y="505"/>
                  </a:lnTo>
                  <a:lnTo>
                    <a:pt x="229" y="510"/>
                  </a:lnTo>
                  <a:lnTo>
                    <a:pt x="227" y="514"/>
                  </a:lnTo>
                  <a:lnTo>
                    <a:pt x="223" y="518"/>
                  </a:lnTo>
                  <a:lnTo>
                    <a:pt x="220" y="521"/>
                  </a:lnTo>
                  <a:lnTo>
                    <a:pt x="217" y="524"/>
                  </a:lnTo>
                  <a:lnTo>
                    <a:pt x="213" y="526"/>
                  </a:lnTo>
                  <a:lnTo>
                    <a:pt x="213" y="526"/>
                  </a:lnTo>
                  <a:lnTo>
                    <a:pt x="206" y="528"/>
                  </a:lnTo>
                  <a:lnTo>
                    <a:pt x="199" y="529"/>
                  </a:lnTo>
                  <a:lnTo>
                    <a:pt x="199" y="529"/>
                  </a:lnTo>
                  <a:close/>
                  <a:moveTo>
                    <a:pt x="67" y="126"/>
                  </a:moveTo>
                  <a:lnTo>
                    <a:pt x="67" y="126"/>
                  </a:lnTo>
                  <a:lnTo>
                    <a:pt x="69" y="166"/>
                  </a:lnTo>
                  <a:lnTo>
                    <a:pt x="73" y="204"/>
                  </a:lnTo>
                  <a:lnTo>
                    <a:pt x="77" y="224"/>
                  </a:lnTo>
                  <a:lnTo>
                    <a:pt x="80" y="243"/>
                  </a:lnTo>
                  <a:lnTo>
                    <a:pt x="84" y="261"/>
                  </a:lnTo>
                  <a:lnTo>
                    <a:pt x="89" y="280"/>
                  </a:lnTo>
                  <a:lnTo>
                    <a:pt x="95" y="298"/>
                  </a:lnTo>
                  <a:lnTo>
                    <a:pt x="101" y="317"/>
                  </a:lnTo>
                  <a:lnTo>
                    <a:pt x="110" y="335"/>
                  </a:lnTo>
                  <a:lnTo>
                    <a:pt x="118" y="352"/>
                  </a:lnTo>
                  <a:lnTo>
                    <a:pt x="128" y="370"/>
                  </a:lnTo>
                  <a:lnTo>
                    <a:pt x="140" y="386"/>
                  </a:lnTo>
                  <a:lnTo>
                    <a:pt x="152" y="404"/>
                  </a:lnTo>
                  <a:lnTo>
                    <a:pt x="166" y="419"/>
                  </a:lnTo>
                  <a:lnTo>
                    <a:pt x="166" y="244"/>
                  </a:lnTo>
                  <a:lnTo>
                    <a:pt x="67"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7" name="Freeform 191">
              <a:extLst>
                <a:ext uri="{FF2B5EF4-FFF2-40B4-BE49-F238E27FC236}">
                  <a16:creationId xmlns:a16="http://schemas.microsoft.com/office/drawing/2014/main" id="{111476B2-95A4-65B8-49D7-FB4EE485D3C0}"/>
                </a:ext>
              </a:extLst>
            </p:cNvPr>
            <p:cNvSpPr>
              <a:spLocks noEditPoints="1"/>
            </p:cNvSpPr>
            <p:nvPr/>
          </p:nvSpPr>
          <p:spPr bwMode="auto">
            <a:xfrm>
              <a:off x="4843463" y="1928813"/>
              <a:ext cx="52388" cy="120650"/>
            </a:xfrm>
            <a:custGeom>
              <a:avLst/>
              <a:gdLst>
                <a:gd name="T0" fmla="*/ 199 w 232"/>
                <a:gd name="T1" fmla="*/ 530 h 530"/>
                <a:gd name="T2" fmla="*/ 187 w 232"/>
                <a:gd name="T3" fmla="*/ 528 h 530"/>
                <a:gd name="T4" fmla="*/ 178 w 232"/>
                <a:gd name="T5" fmla="*/ 523 h 530"/>
                <a:gd name="T6" fmla="*/ 161 w 232"/>
                <a:gd name="T7" fmla="*/ 509 h 530"/>
                <a:gd name="T8" fmla="*/ 132 w 232"/>
                <a:gd name="T9" fmla="*/ 481 h 530"/>
                <a:gd name="T10" fmla="*/ 107 w 232"/>
                <a:gd name="T11" fmla="*/ 453 h 530"/>
                <a:gd name="T12" fmla="*/ 85 w 232"/>
                <a:gd name="T13" fmla="*/ 425 h 530"/>
                <a:gd name="T14" fmla="*/ 66 w 232"/>
                <a:gd name="T15" fmla="*/ 395 h 530"/>
                <a:gd name="T16" fmla="*/ 51 w 232"/>
                <a:gd name="T17" fmla="*/ 365 h 530"/>
                <a:gd name="T18" fmla="*/ 37 w 232"/>
                <a:gd name="T19" fmla="*/ 335 h 530"/>
                <a:gd name="T20" fmla="*/ 23 w 232"/>
                <a:gd name="T21" fmla="*/ 289 h 530"/>
                <a:gd name="T22" fmla="*/ 9 w 232"/>
                <a:gd name="T23" fmla="*/ 226 h 530"/>
                <a:gd name="T24" fmla="*/ 3 w 232"/>
                <a:gd name="T25" fmla="*/ 163 h 530"/>
                <a:gd name="T26" fmla="*/ 0 w 232"/>
                <a:gd name="T27" fmla="*/ 97 h 530"/>
                <a:gd name="T28" fmla="*/ 0 w 232"/>
                <a:gd name="T29" fmla="*/ 33 h 530"/>
                <a:gd name="T30" fmla="*/ 2 w 232"/>
                <a:gd name="T31" fmla="*/ 24 h 530"/>
                <a:gd name="T32" fmla="*/ 6 w 232"/>
                <a:gd name="T33" fmla="*/ 15 h 530"/>
                <a:gd name="T34" fmla="*/ 13 w 232"/>
                <a:gd name="T35" fmla="*/ 7 h 530"/>
                <a:gd name="T36" fmla="*/ 22 w 232"/>
                <a:gd name="T37" fmla="*/ 2 h 530"/>
                <a:gd name="T38" fmla="*/ 27 w 232"/>
                <a:gd name="T39" fmla="*/ 1 h 530"/>
                <a:gd name="T40" fmla="*/ 37 w 232"/>
                <a:gd name="T41" fmla="*/ 1 h 530"/>
                <a:gd name="T42" fmla="*/ 47 w 232"/>
                <a:gd name="T43" fmla="*/ 3 h 530"/>
                <a:gd name="T44" fmla="*/ 55 w 232"/>
                <a:gd name="T45" fmla="*/ 8 h 530"/>
                <a:gd name="T46" fmla="*/ 223 w 232"/>
                <a:gd name="T47" fmla="*/ 210 h 530"/>
                <a:gd name="T48" fmla="*/ 228 w 232"/>
                <a:gd name="T49" fmla="*/ 215 h 530"/>
                <a:gd name="T50" fmla="*/ 231 w 232"/>
                <a:gd name="T51" fmla="*/ 226 h 530"/>
                <a:gd name="T52" fmla="*/ 232 w 232"/>
                <a:gd name="T53" fmla="*/ 497 h 530"/>
                <a:gd name="T54" fmla="*/ 231 w 232"/>
                <a:gd name="T55" fmla="*/ 501 h 530"/>
                <a:gd name="T56" fmla="*/ 229 w 232"/>
                <a:gd name="T57" fmla="*/ 510 h 530"/>
                <a:gd name="T58" fmla="*/ 223 w 232"/>
                <a:gd name="T59" fmla="*/ 518 h 530"/>
                <a:gd name="T60" fmla="*/ 217 w 232"/>
                <a:gd name="T61" fmla="*/ 524 h 530"/>
                <a:gd name="T62" fmla="*/ 213 w 232"/>
                <a:gd name="T63" fmla="*/ 526 h 530"/>
                <a:gd name="T64" fmla="*/ 199 w 232"/>
                <a:gd name="T65" fmla="*/ 530 h 530"/>
                <a:gd name="T66" fmla="*/ 67 w 232"/>
                <a:gd name="T67" fmla="*/ 126 h 530"/>
                <a:gd name="T68" fmla="*/ 69 w 232"/>
                <a:gd name="T69" fmla="*/ 166 h 530"/>
                <a:gd name="T70" fmla="*/ 77 w 232"/>
                <a:gd name="T71" fmla="*/ 224 h 530"/>
                <a:gd name="T72" fmla="*/ 84 w 232"/>
                <a:gd name="T73" fmla="*/ 262 h 530"/>
                <a:gd name="T74" fmla="*/ 95 w 232"/>
                <a:gd name="T75" fmla="*/ 298 h 530"/>
                <a:gd name="T76" fmla="*/ 110 w 232"/>
                <a:gd name="T77" fmla="*/ 334 h 530"/>
                <a:gd name="T78" fmla="*/ 128 w 232"/>
                <a:gd name="T79" fmla="*/ 370 h 530"/>
                <a:gd name="T80" fmla="*/ 152 w 232"/>
                <a:gd name="T81" fmla="*/ 404 h 530"/>
                <a:gd name="T82" fmla="*/ 166 w 232"/>
                <a:gd name="T83" fmla="*/ 244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30">
                  <a:moveTo>
                    <a:pt x="199" y="530"/>
                  </a:moveTo>
                  <a:lnTo>
                    <a:pt x="199" y="530"/>
                  </a:lnTo>
                  <a:lnTo>
                    <a:pt x="193" y="529"/>
                  </a:lnTo>
                  <a:lnTo>
                    <a:pt x="187" y="528"/>
                  </a:lnTo>
                  <a:lnTo>
                    <a:pt x="182" y="526"/>
                  </a:lnTo>
                  <a:lnTo>
                    <a:pt x="178" y="523"/>
                  </a:lnTo>
                  <a:lnTo>
                    <a:pt x="178" y="523"/>
                  </a:lnTo>
                  <a:lnTo>
                    <a:pt x="161" y="509"/>
                  </a:lnTo>
                  <a:lnTo>
                    <a:pt x="147" y="496"/>
                  </a:lnTo>
                  <a:lnTo>
                    <a:pt x="132" y="481"/>
                  </a:lnTo>
                  <a:lnTo>
                    <a:pt x="119" y="468"/>
                  </a:lnTo>
                  <a:lnTo>
                    <a:pt x="107" y="453"/>
                  </a:lnTo>
                  <a:lnTo>
                    <a:pt x="95" y="440"/>
                  </a:lnTo>
                  <a:lnTo>
                    <a:pt x="85" y="425"/>
                  </a:lnTo>
                  <a:lnTo>
                    <a:pt x="75" y="410"/>
                  </a:lnTo>
                  <a:lnTo>
                    <a:pt x="66" y="395"/>
                  </a:lnTo>
                  <a:lnTo>
                    <a:pt x="58" y="381"/>
                  </a:lnTo>
                  <a:lnTo>
                    <a:pt x="51" y="365"/>
                  </a:lnTo>
                  <a:lnTo>
                    <a:pt x="43" y="351"/>
                  </a:lnTo>
                  <a:lnTo>
                    <a:pt x="37" y="335"/>
                  </a:lnTo>
                  <a:lnTo>
                    <a:pt x="32" y="320"/>
                  </a:lnTo>
                  <a:lnTo>
                    <a:pt x="23" y="289"/>
                  </a:lnTo>
                  <a:lnTo>
                    <a:pt x="14" y="258"/>
                  </a:lnTo>
                  <a:lnTo>
                    <a:pt x="9" y="226"/>
                  </a:lnTo>
                  <a:lnTo>
                    <a:pt x="5" y="195"/>
                  </a:lnTo>
                  <a:lnTo>
                    <a:pt x="3" y="163"/>
                  </a:lnTo>
                  <a:lnTo>
                    <a:pt x="1" y="129"/>
                  </a:lnTo>
                  <a:lnTo>
                    <a:pt x="0" y="97"/>
                  </a:lnTo>
                  <a:lnTo>
                    <a:pt x="0" y="33"/>
                  </a:lnTo>
                  <a:lnTo>
                    <a:pt x="0" y="33"/>
                  </a:lnTo>
                  <a:lnTo>
                    <a:pt x="0" y="28"/>
                  </a:lnTo>
                  <a:lnTo>
                    <a:pt x="2" y="24"/>
                  </a:lnTo>
                  <a:lnTo>
                    <a:pt x="3" y="19"/>
                  </a:lnTo>
                  <a:lnTo>
                    <a:pt x="6" y="15"/>
                  </a:lnTo>
                  <a:lnTo>
                    <a:pt x="9" y="10"/>
                  </a:lnTo>
                  <a:lnTo>
                    <a:pt x="13" y="7"/>
                  </a:lnTo>
                  <a:lnTo>
                    <a:pt x="18" y="4"/>
                  </a:lnTo>
                  <a:lnTo>
                    <a:pt x="22" y="2"/>
                  </a:lnTo>
                  <a:lnTo>
                    <a:pt x="22" y="2"/>
                  </a:lnTo>
                  <a:lnTo>
                    <a:pt x="27" y="1"/>
                  </a:lnTo>
                  <a:lnTo>
                    <a:pt x="32" y="0"/>
                  </a:lnTo>
                  <a:lnTo>
                    <a:pt x="37" y="1"/>
                  </a:lnTo>
                  <a:lnTo>
                    <a:pt x="41" y="1"/>
                  </a:lnTo>
                  <a:lnTo>
                    <a:pt x="47" y="3"/>
                  </a:lnTo>
                  <a:lnTo>
                    <a:pt x="51" y="5"/>
                  </a:lnTo>
                  <a:lnTo>
                    <a:pt x="55" y="8"/>
                  </a:lnTo>
                  <a:lnTo>
                    <a:pt x="59" y="13"/>
                  </a:lnTo>
                  <a:lnTo>
                    <a:pt x="223" y="210"/>
                  </a:lnTo>
                  <a:lnTo>
                    <a:pt x="223" y="210"/>
                  </a:lnTo>
                  <a:lnTo>
                    <a:pt x="228" y="215"/>
                  </a:lnTo>
                  <a:lnTo>
                    <a:pt x="230" y="221"/>
                  </a:lnTo>
                  <a:lnTo>
                    <a:pt x="231" y="226"/>
                  </a:lnTo>
                  <a:lnTo>
                    <a:pt x="232" y="232"/>
                  </a:lnTo>
                  <a:lnTo>
                    <a:pt x="232" y="497"/>
                  </a:lnTo>
                  <a:lnTo>
                    <a:pt x="232" y="497"/>
                  </a:lnTo>
                  <a:lnTo>
                    <a:pt x="231" y="501"/>
                  </a:lnTo>
                  <a:lnTo>
                    <a:pt x="230" y="505"/>
                  </a:lnTo>
                  <a:lnTo>
                    <a:pt x="229" y="510"/>
                  </a:lnTo>
                  <a:lnTo>
                    <a:pt x="227" y="514"/>
                  </a:lnTo>
                  <a:lnTo>
                    <a:pt x="223" y="518"/>
                  </a:lnTo>
                  <a:lnTo>
                    <a:pt x="220" y="521"/>
                  </a:lnTo>
                  <a:lnTo>
                    <a:pt x="217" y="524"/>
                  </a:lnTo>
                  <a:lnTo>
                    <a:pt x="213" y="526"/>
                  </a:lnTo>
                  <a:lnTo>
                    <a:pt x="213" y="526"/>
                  </a:lnTo>
                  <a:lnTo>
                    <a:pt x="206" y="529"/>
                  </a:lnTo>
                  <a:lnTo>
                    <a:pt x="199" y="530"/>
                  </a:lnTo>
                  <a:lnTo>
                    <a:pt x="199" y="530"/>
                  </a:lnTo>
                  <a:close/>
                  <a:moveTo>
                    <a:pt x="67" y="126"/>
                  </a:moveTo>
                  <a:lnTo>
                    <a:pt x="67" y="126"/>
                  </a:lnTo>
                  <a:lnTo>
                    <a:pt x="69" y="166"/>
                  </a:lnTo>
                  <a:lnTo>
                    <a:pt x="73" y="205"/>
                  </a:lnTo>
                  <a:lnTo>
                    <a:pt x="77" y="224"/>
                  </a:lnTo>
                  <a:lnTo>
                    <a:pt x="80" y="243"/>
                  </a:lnTo>
                  <a:lnTo>
                    <a:pt x="84" y="262"/>
                  </a:lnTo>
                  <a:lnTo>
                    <a:pt x="89" y="281"/>
                  </a:lnTo>
                  <a:lnTo>
                    <a:pt x="95" y="298"/>
                  </a:lnTo>
                  <a:lnTo>
                    <a:pt x="101" y="317"/>
                  </a:lnTo>
                  <a:lnTo>
                    <a:pt x="110" y="334"/>
                  </a:lnTo>
                  <a:lnTo>
                    <a:pt x="118" y="352"/>
                  </a:lnTo>
                  <a:lnTo>
                    <a:pt x="128" y="370"/>
                  </a:lnTo>
                  <a:lnTo>
                    <a:pt x="140" y="387"/>
                  </a:lnTo>
                  <a:lnTo>
                    <a:pt x="152" y="404"/>
                  </a:lnTo>
                  <a:lnTo>
                    <a:pt x="166" y="420"/>
                  </a:lnTo>
                  <a:lnTo>
                    <a:pt x="166" y="244"/>
                  </a:lnTo>
                  <a:lnTo>
                    <a:pt x="67"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8" name="Freeform 192">
              <a:extLst>
                <a:ext uri="{FF2B5EF4-FFF2-40B4-BE49-F238E27FC236}">
                  <a16:creationId xmlns:a16="http://schemas.microsoft.com/office/drawing/2014/main" id="{38F48312-6DEE-41F4-DF15-222EECD95489}"/>
                </a:ext>
              </a:extLst>
            </p:cNvPr>
            <p:cNvSpPr>
              <a:spLocks noEditPoints="1"/>
            </p:cNvSpPr>
            <p:nvPr/>
          </p:nvSpPr>
          <p:spPr bwMode="auto">
            <a:xfrm>
              <a:off x="4843463" y="2041525"/>
              <a:ext cx="52388" cy="120650"/>
            </a:xfrm>
            <a:custGeom>
              <a:avLst/>
              <a:gdLst>
                <a:gd name="T0" fmla="*/ 199 w 232"/>
                <a:gd name="T1" fmla="*/ 529 h 529"/>
                <a:gd name="T2" fmla="*/ 187 w 232"/>
                <a:gd name="T3" fmla="*/ 527 h 529"/>
                <a:gd name="T4" fmla="*/ 178 w 232"/>
                <a:gd name="T5" fmla="*/ 522 h 529"/>
                <a:gd name="T6" fmla="*/ 161 w 232"/>
                <a:gd name="T7" fmla="*/ 508 h 529"/>
                <a:gd name="T8" fmla="*/ 132 w 232"/>
                <a:gd name="T9" fmla="*/ 481 h 529"/>
                <a:gd name="T10" fmla="*/ 107 w 232"/>
                <a:gd name="T11" fmla="*/ 453 h 529"/>
                <a:gd name="T12" fmla="*/ 85 w 232"/>
                <a:gd name="T13" fmla="*/ 424 h 529"/>
                <a:gd name="T14" fmla="*/ 66 w 232"/>
                <a:gd name="T15" fmla="*/ 395 h 529"/>
                <a:gd name="T16" fmla="*/ 51 w 232"/>
                <a:gd name="T17" fmla="*/ 365 h 529"/>
                <a:gd name="T18" fmla="*/ 37 w 232"/>
                <a:gd name="T19" fmla="*/ 334 h 529"/>
                <a:gd name="T20" fmla="*/ 23 w 232"/>
                <a:gd name="T21" fmla="*/ 288 h 529"/>
                <a:gd name="T22" fmla="*/ 9 w 232"/>
                <a:gd name="T23" fmla="*/ 226 h 529"/>
                <a:gd name="T24" fmla="*/ 3 w 232"/>
                <a:gd name="T25" fmla="*/ 161 h 529"/>
                <a:gd name="T26" fmla="*/ 0 w 232"/>
                <a:gd name="T27" fmla="*/ 97 h 529"/>
                <a:gd name="T28" fmla="*/ 0 w 232"/>
                <a:gd name="T29" fmla="*/ 33 h 529"/>
                <a:gd name="T30" fmla="*/ 2 w 232"/>
                <a:gd name="T31" fmla="*/ 23 h 529"/>
                <a:gd name="T32" fmla="*/ 6 w 232"/>
                <a:gd name="T33" fmla="*/ 13 h 529"/>
                <a:gd name="T34" fmla="*/ 13 w 232"/>
                <a:gd name="T35" fmla="*/ 6 h 529"/>
                <a:gd name="T36" fmla="*/ 22 w 232"/>
                <a:gd name="T37" fmla="*/ 1 h 529"/>
                <a:gd name="T38" fmla="*/ 27 w 232"/>
                <a:gd name="T39" fmla="*/ 0 h 529"/>
                <a:gd name="T40" fmla="*/ 37 w 232"/>
                <a:gd name="T41" fmla="*/ 0 h 529"/>
                <a:gd name="T42" fmla="*/ 47 w 232"/>
                <a:gd name="T43" fmla="*/ 2 h 529"/>
                <a:gd name="T44" fmla="*/ 55 w 232"/>
                <a:gd name="T45" fmla="*/ 7 h 529"/>
                <a:gd name="T46" fmla="*/ 223 w 232"/>
                <a:gd name="T47" fmla="*/ 210 h 529"/>
                <a:gd name="T48" fmla="*/ 228 w 232"/>
                <a:gd name="T49" fmla="*/ 214 h 529"/>
                <a:gd name="T50" fmla="*/ 231 w 232"/>
                <a:gd name="T51" fmla="*/ 226 h 529"/>
                <a:gd name="T52" fmla="*/ 232 w 232"/>
                <a:gd name="T53" fmla="*/ 496 h 529"/>
                <a:gd name="T54" fmla="*/ 231 w 232"/>
                <a:gd name="T55" fmla="*/ 500 h 529"/>
                <a:gd name="T56" fmla="*/ 229 w 232"/>
                <a:gd name="T57" fmla="*/ 509 h 529"/>
                <a:gd name="T58" fmla="*/ 223 w 232"/>
                <a:gd name="T59" fmla="*/ 516 h 529"/>
                <a:gd name="T60" fmla="*/ 217 w 232"/>
                <a:gd name="T61" fmla="*/ 523 h 529"/>
                <a:gd name="T62" fmla="*/ 213 w 232"/>
                <a:gd name="T63" fmla="*/ 526 h 529"/>
                <a:gd name="T64" fmla="*/ 199 w 232"/>
                <a:gd name="T65" fmla="*/ 529 h 529"/>
                <a:gd name="T66" fmla="*/ 67 w 232"/>
                <a:gd name="T67" fmla="*/ 125 h 529"/>
                <a:gd name="T68" fmla="*/ 69 w 232"/>
                <a:gd name="T69" fmla="*/ 164 h 529"/>
                <a:gd name="T70" fmla="*/ 77 w 232"/>
                <a:gd name="T71" fmla="*/ 222 h 529"/>
                <a:gd name="T72" fmla="*/ 84 w 232"/>
                <a:gd name="T73" fmla="*/ 261 h 529"/>
                <a:gd name="T74" fmla="*/ 95 w 232"/>
                <a:gd name="T75" fmla="*/ 298 h 529"/>
                <a:gd name="T76" fmla="*/ 110 w 232"/>
                <a:gd name="T77" fmla="*/ 334 h 529"/>
                <a:gd name="T78" fmla="*/ 128 w 232"/>
                <a:gd name="T79" fmla="*/ 368 h 529"/>
                <a:gd name="T80" fmla="*/ 152 w 232"/>
                <a:gd name="T81" fmla="*/ 403 h 529"/>
                <a:gd name="T82" fmla="*/ 166 w 232"/>
                <a:gd name="T83" fmla="*/ 243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29">
                  <a:moveTo>
                    <a:pt x="199" y="529"/>
                  </a:moveTo>
                  <a:lnTo>
                    <a:pt x="199" y="529"/>
                  </a:lnTo>
                  <a:lnTo>
                    <a:pt x="193" y="528"/>
                  </a:lnTo>
                  <a:lnTo>
                    <a:pt x="187" y="527"/>
                  </a:lnTo>
                  <a:lnTo>
                    <a:pt x="182" y="525"/>
                  </a:lnTo>
                  <a:lnTo>
                    <a:pt x="178" y="522"/>
                  </a:lnTo>
                  <a:lnTo>
                    <a:pt x="178" y="522"/>
                  </a:lnTo>
                  <a:lnTo>
                    <a:pt x="161" y="508"/>
                  </a:lnTo>
                  <a:lnTo>
                    <a:pt x="147" y="495"/>
                  </a:lnTo>
                  <a:lnTo>
                    <a:pt x="132" y="481"/>
                  </a:lnTo>
                  <a:lnTo>
                    <a:pt x="119" y="467"/>
                  </a:lnTo>
                  <a:lnTo>
                    <a:pt x="107" y="453"/>
                  </a:lnTo>
                  <a:lnTo>
                    <a:pt x="95" y="439"/>
                  </a:lnTo>
                  <a:lnTo>
                    <a:pt x="85" y="424"/>
                  </a:lnTo>
                  <a:lnTo>
                    <a:pt x="75" y="410"/>
                  </a:lnTo>
                  <a:lnTo>
                    <a:pt x="66" y="395"/>
                  </a:lnTo>
                  <a:lnTo>
                    <a:pt x="58" y="380"/>
                  </a:lnTo>
                  <a:lnTo>
                    <a:pt x="51" y="365"/>
                  </a:lnTo>
                  <a:lnTo>
                    <a:pt x="43" y="350"/>
                  </a:lnTo>
                  <a:lnTo>
                    <a:pt x="37" y="334"/>
                  </a:lnTo>
                  <a:lnTo>
                    <a:pt x="32" y="319"/>
                  </a:lnTo>
                  <a:lnTo>
                    <a:pt x="23" y="288"/>
                  </a:lnTo>
                  <a:lnTo>
                    <a:pt x="14" y="257"/>
                  </a:lnTo>
                  <a:lnTo>
                    <a:pt x="9" y="226"/>
                  </a:lnTo>
                  <a:lnTo>
                    <a:pt x="5" y="193"/>
                  </a:lnTo>
                  <a:lnTo>
                    <a:pt x="3" y="161"/>
                  </a:lnTo>
                  <a:lnTo>
                    <a:pt x="1" y="129"/>
                  </a:lnTo>
                  <a:lnTo>
                    <a:pt x="0" y="97"/>
                  </a:lnTo>
                  <a:lnTo>
                    <a:pt x="0" y="33"/>
                  </a:lnTo>
                  <a:lnTo>
                    <a:pt x="0" y="33"/>
                  </a:lnTo>
                  <a:lnTo>
                    <a:pt x="0" y="28"/>
                  </a:lnTo>
                  <a:lnTo>
                    <a:pt x="2" y="23"/>
                  </a:lnTo>
                  <a:lnTo>
                    <a:pt x="3" y="18"/>
                  </a:lnTo>
                  <a:lnTo>
                    <a:pt x="6" y="13"/>
                  </a:lnTo>
                  <a:lnTo>
                    <a:pt x="9" y="9"/>
                  </a:lnTo>
                  <a:lnTo>
                    <a:pt x="13" y="6"/>
                  </a:lnTo>
                  <a:lnTo>
                    <a:pt x="18" y="4"/>
                  </a:lnTo>
                  <a:lnTo>
                    <a:pt x="22" y="1"/>
                  </a:lnTo>
                  <a:lnTo>
                    <a:pt x="22" y="1"/>
                  </a:lnTo>
                  <a:lnTo>
                    <a:pt x="27" y="0"/>
                  </a:lnTo>
                  <a:lnTo>
                    <a:pt x="32" y="0"/>
                  </a:lnTo>
                  <a:lnTo>
                    <a:pt x="37" y="0"/>
                  </a:lnTo>
                  <a:lnTo>
                    <a:pt x="41" y="1"/>
                  </a:lnTo>
                  <a:lnTo>
                    <a:pt x="47" y="2"/>
                  </a:lnTo>
                  <a:lnTo>
                    <a:pt x="51" y="5"/>
                  </a:lnTo>
                  <a:lnTo>
                    <a:pt x="55" y="7"/>
                  </a:lnTo>
                  <a:lnTo>
                    <a:pt x="59" y="11"/>
                  </a:lnTo>
                  <a:lnTo>
                    <a:pt x="223" y="210"/>
                  </a:lnTo>
                  <a:lnTo>
                    <a:pt x="223" y="210"/>
                  </a:lnTo>
                  <a:lnTo>
                    <a:pt x="228" y="214"/>
                  </a:lnTo>
                  <a:lnTo>
                    <a:pt x="230" y="219"/>
                  </a:lnTo>
                  <a:lnTo>
                    <a:pt x="231" y="226"/>
                  </a:lnTo>
                  <a:lnTo>
                    <a:pt x="232" y="231"/>
                  </a:lnTo>
                  <a:lnTo>
                    <a:pt x="232" y="496"/>
                  </a:lnTo>
                  <a:lnTo>
                    <a:pt x="232" y="496"/>
                  </a:lnTo>
                  <a:lnTo>
                    <a:pt x="231" y="500"/>
                  </a:lnTo>
                  <a:lnTo>
                    <a:pt x="230" y="505"/>
                  </a:lnTo>
                  <a:lnTo>
                    <a:pt x="229" y="509"/>
                  </a:lnTo>
                  <a:lnTo>
                    <a:pt x="227" y="513"/>
                  </a:lnTo>
                  <a:lnTo>
                    <a:pt x="223" y="516"/>
                  </a:lnTo>
                  <a:lnTo>
                    <a:pt x="220" y="521"/>
                  </a:lnTo>
                  <a:lnTo>
                    <a:pt x="217" y="523"/>
                  </a:lnTo>
                  <a:lnTo>
                    <a:pt x="213" y="526"/>
                  </a:lnTo>
                  <a:lnTo>
                    <a:pt x="213" y="526"/>
                  </a:lnTo>
                  <a:lnTo>
                    <a:pt x="206" y="528"/>
                  </a:lnTo>
                  <a:lnTo>
                    <a:pt x="199" y="529"/>
                  </a:lnTo>
                  <a:lnTo>
                    <a:pt x="199" y="529"/>
                  </a:lnTo>
                  <a:close/>
                  <a:moveTo>
                    <a:pt x="67" y="125"/>
                  </a:moveTo>
                  <a:lnTo>
                    <a:pt x="67" y="125"/>
                  </a:lnTo>
                  <a:lnTo>
                    <a:pt x="69" y="164"/>
                  </a:lnTo>
                  <a:lnTo>
                    <a:pt x="73" y="204"/>
                  </a:lnTo>
                  <a:lnTo>
                    <a:pt x="77" y="222"/>
                  </a:lnTo>
                  <a:lnTo>
                    <a:pt x="80" y="242"/>
                  </a:lnTo>
                  <a:lnTo>
                    <a:pt x="84" y="261"/>
                  </a:lnTo>
                  <a:lnTo>
                    <a:pt x="89" y="279"/>
                  </a:lnTo>
                  <a:lnTo>
                    <a:pt x="95" y="298"/>
                  </a:lnTo>
                  <a:lnTo>
                    <a:pt x="101" y="316"/>
                  </a:lnTo>
                  <a:lnTo>
                    <a:pt x="110" y="334"/>
                  </a:lnTo>
                  <a:lnTo>
                    <a:pt x="118" y="352"/>
                  </a:lnTo>
                  <a:lnTo>
                    <a:pt x="128" y="368"/>
                  </a:lnTo>
                  <a:lnTo>
                    <a:pt x="140" y="386"/>
                  </a:lnTo>
                  <a:lnTo>
                    <a:pt x="152" y="403"/>
                  </a:lnTo>
                  <a:lnTo>
                    <a:pt x="166" y="419"/>
                  </a:lnTo>
                  <a:lnTo>
                    <a:pt x="166" y="243"/>
                  </a:lnTo>
                  <a:lnTo>
                    <a:pt x="67"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9" name="Freeform 193">
              <a:extLst>
                <a:ext uri="{FF2B5EF4-FFF2-40B4-BE49-F238E27FC236}">
                  <a16:creationId xmlns:a16="http://schemas.microsoft.com/office/drawing/2014/main" id="{BA7B9D36-E831-20EA-3071-A03C183B1EC1}"/>
                </a:ext>
              </a:extLst>
            </p:cNvPr>
            <p:cNvSpPr>
              <a:spLocks noEditPoints="1"/>
            </p:cNvSpPr>
            <p:nvPr/>
          </p:nvSpPr>
          <p:spPr bwMode="auto">
            <a:xfrm>
              <a:off x="4940300" y="1816100"/>
              <a:ext cx="53975" cy="120650"/>
            </a:xfrm>
            <a:custGeom>
              <a:avLst/>
              <a:gdLst>
                <a:gd name="T0" fmla="*/ 34 w 232"/>
                <a:gd name="T1" fmla="*/ 529 h 529"/>
                <a:gd name="T2" fmla="*/ 20 w 232"/>
                <a:gd name="T3" fmla="*/ 526 h 529"/>
                <a:gd name="T4" fmla="*/ 16 w 232"/>
                <a:gd name="T5" fmla="*/ 524 h 529"/>
                <a:gd name="T6" fmla="*/ 9 w 232"/>
                <a:gd name="T7" fmla="*/ 518 h 529"/>
                <a:gd name="T8" fmla="*/ 4 w 232"/>
                <a:gd name="T9" fmla="*/ 510 h 529"/>
                <a:gd name="T10" fmla="*/ 1 w 232"/>
                <a:gd name="T11" fmla="*/ 501 h 529"/>
                <a:gd name="T12" fmla="*/ 0 w 232"/>
                <a:gd name="T13" fmla="*/ 232 h 529"/>
                <a:gd name="T14" fmla="*/ 1 w 232"/>
                <a:gd name="T15" fmla="*/ 226 h 529"/>
                <a:gd name="T16" fmla="*/ 6 w 232"/>
                <a:gd name="T17" fmla="*/ 216 h 529"/>
                <a:gd name="T18" fmla="*/ 174 w 232"/>
                <a:gd name="T19" fmla="*/ 12 h 529"/>
                <a:gd name="T20" fmla="*/ 177 w 232"/>
                <a:gd name="T21" fmla="*/ 9 h 529"/>
                <a:gd name="T22" fmla="*/ 186 w 232"/>
                <a:gd name="T23" fmla="*/ 3 h 529"/>
                <a:gd name="T24" fmla="*/ 196 w 232"/>
                <a:gd name="T25" fmla="*/ 0 h 529"/>
                <a:gd name="T26" fmla="*/ 205 w 232"/>
                <a:gd name="T27" fmla="*/ 1 h 529"/>
                <a:gd name="T28" fmla="*/ 211 w 232"/>
                <a:gd name="T29" fmla="*/ 2 h 529"/>
                <a:gd name="T30" fmla="*/ 220 w 232"/>
                <a:gd name="T31" fmla="*/ 8 h 529"/>
                <a:gd name="T32" fmla="*/ 226 w 232"/>
                <a:gd name="T33" fmla="*/ 15 h 529"/>
                <a:gd name="T34" fmla="*/ 231 w 232"/>
                <a:gd name="T35" fmla="*/ 23 h 529"/>
                <a:gd name="T36" fmla="*/ 232 w 232"/>
                <a:gd name="T37" fmla="*/ 33 h 529"/>
                <a:gd name="T38" fmla="*/ 232 w 232"/>
                <a:gd name="T39" fmla="*/ 98 h 529"/>
                <a:gd name="T40" fmla="*/ 229 w 232"/>
                <a:gd name="T41" fmla="*/ 162 h 529"/>
                <a:gd name="T42" fmla="*/ 223 w 232"/>
                <a:gd name="T43" fmla="*/ 226 h 529"/>
                <a:gd name="T44" fmla="*/ 211 w 232"/>
                <a:gd name="T45" fmla="*/ 289 h 529"/>
                <a:gd name="T46" fmla="*/ 195 w 232"/>
                <a:gd name="T47" fmla="*/ 336 h 529"/>
                <a:gd name="T48" fmla="*/ 183 w 232"/>
                <a:gd name="T49" fmla="*/ 366 h 529"/>
                <a:gd name="T50" fmla="*/ 166 w 232"/>
                <a:gd name="T51" fmla="*/ 396 h 529"/>
                <a:gd name="T52" fmla="*/ 147 w 232"/>
                <a:gd name="T53" fmla="*/ 425 h 529"/>
                <a:gd name="T54" fmla="*/ 126 w 232"/>
                <a:gd name="T55" fmla="*/ 454 h 529"/>
                <a:gd name="T56" fmla="*/ 100 w 232"/>
                <a:gd name="T57" fmla="*/ 482 h 529"/>
                <a:gd name="T58" fmla="*/ 71 w 232"/>
                <a:gd name="T59" fmla="*/ 508 h 529"/>
                <a:gd name="T60" fmla="*/ 54 w 232"/>
                <a:gd name="T61" fmla="*/ 522 h 529"/>
                <a:gd name="T62" fmla="*/ 45 w 232"/>
                <a:gd name="T63" fmla="*/ 527 h 529"/>
                <a:gd name="T64" fmla="*/ 34 w 232"/>
                <a:gd name="T65" fmla="*/ 529 h 529"/>
                <a:gd name="T66" fmla="*/ 67 w 232"/>
                <a:gd name="T67" fmla="*/ 244 h 529"/>
                <a:gd name="T68" fmla="*/ 67 w 232"/>
                <a:gd name="T69" fmla="*/ 419 h 529"/>
                <a:gd name="T70" fmla="*/ 94 w 232"/>
                <a:gd name="T71" fmla="*/ 386 h 529"/>
                <a:gd name="T72" fmla="*/ 114 w 232"/>
                <a:gd name="T73" fmla="*/ 352 h 529"/>
                <a:gd name="T74" fmla="*/ 131 w 232"/>
                <a:gd name="T75" fmla="*/ 317 h 529"/>
                <a:gd name="T76" fmla="*/ 143 w 232"/>
                <a:gd name="T77" fmla="*/ 280 h 529"/>
                <a:gd name="T78" fmla="*/ 153 w 232"/>
                <a:gd name="T79" fmla="*/ 243 h 529"/>
                <a:gd name="T80" fmla="*/ 159 w 232"/>
                <a:gd name="T81" fmla="*/ 204 h 529"/>
                <a:gd name="T82" fmla="*/ 165 w 232"/>
                <a:gd name="T83" fmla="*/ 1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29">
                  <a:moveTo>
                    <a:pt x="34" y="529"/>
                  </a:moveTo>
                  <a:lnTo>
                    <a:pt x="34" y="529"/>
                  </a:lnTo>
                  <a:lnTo>
                    <a:pt x="26" y="528"/>
                  </a:lnTo>
                  <a:lnTo>
                    <a:pt x="20" y="526"/>
                  </a:lnTo>
                  <a:lnTo>
                    <a:pt x="20" y="526"/>
                  </a:lnTo>
                  <a:lnTo>
                    <a:pt x="16" y="524"/>
                  </a:lnTo>
                  <a:lnTo>
                    <a:pt x="12" y="521"/>
                  </a:lnTo>
                  <a:lnTo>
                    <a:pt x="9" y="518"/>
                  </a:lnTo>
                  <a:lnTo>
                    <a:pt x="6" y="514"/>
                  </a:lnTo>
                  <a:lnTo>
                    <a:pt x="4" y="510"/>
                  </a:lnTo>
                  <a:lnTo>
                    <a:pt x="2" y="505"/>
                  </a:lnTo>
                  <a:lnTo>
                    <a:pt x="1" y="501"/>
                  </a:lnTo>
                  <a:lnTo>
                    <a:pt x="0" y="496"/>
                  </a:lnTo>
                  <a:lnTo>
                    <a:pt x="0" y="232"/>
                  </a:lnTo>
                  <a:lnTo>
                    <a:pt x="0" y="232"/>
                  </a:lnTo>
                  <a:lnTo>
                    <a:pt x="1" y="226"/>
                  </a:lnTo>
                  <a:lnTo>
                    <a:pt x="2" y="221"/>
                  </a:lnTo>
                  <a:lnTo>
                    <a:pt x="6" y="216"/>
                  </a:lnTo>
                  <a:lnTo>
                    <a:pt x="9" y="210"/>
                  </a:lnTo>
                  <a:lnTo>
                    <a:pt x="174" y="12"/>
                  </a:lnTo>
                  <a:lnTo>
                    <a:pt x="174" y="12"/>
                  </a:lnTo>
                  <a:lnTo>
                    <a:pt x="177" y="9"/>
                  </a:lnTo>
                  <a:lnTo>
                    <a:pt x="182" y="6"/>
                  </a:lnTo>
                  <a:lnTo>
                    <a:pt x="186" y="3"/>
                  </a:lnTo>
                  <a:lnTo>
                    <a:pt x="191" y="1"/>
                  </a:lnTo>
                  <a:lnTo>
                    <a:pt x="196" y="0"/>
                  </a:lnTo>
                  <a:lnTo>
                    <a:pt x="200" y="0"/>
                  </a:lnTo>
                  <a:lnTo>
                    <a:pt x="205" y="1"/>
                  </a:lnTo>
                  <a:lnTo>
                    <a:pt x="211" y="2"/>
                  </a:lnTo>
                  <a:lnTo>
                    <a:pt x="211" y="2"/>
                  </a:lnTo>
                  <a:lnTo>
                    <a:pt x="216" y="4"/>
                  </a:lnTo>
                  <a:lnTo>
                    <a:pt x="220" y="8"/>
                  </a:lnTo>
                  <a:lnTo>
                    <a:pt x="223" y="11"/>
                  </a:lnTo>
                  <a:lnTo>
                    <a:pt x="226" y="15"/>
                  </a:lnTo>
                  <a:lnTo>
                    <a:pt x="229" y="19"/>
                  </a:lnTo>
                  <a:lnTo>
                    <a:pt x="231" y="23"/>
                  </a:lnTo>
                  <a:lnTo>
                    <a:pt x="232" y="28"/>
                  </a:lnTo>
                  <a:lnTo>
                    <a:pt x="232" y="33"/>
                  </a:lnTo>
                  <a:lnTo>
                    <a:pt x="232" y="33"/>
                  </a:lnTo>
                  <a:lnTo>
                    <a:pt x="232" y="98"/>
                  </a:lnTo>
                  <a:lnTo>
                    <a:pt x="231" y="130"/>
                  </a:lnTo>
                  <a:lnTo>
                    <a:pt x="229" y="162"/>
                  </a:lnTo>
                  <a:lnTo>
                    <a:pt x="227" y="194"/>
                  </a:lnTo>
                  <a:lnTo>
                    <a:pt x="223" y="226"/>
                  </a:lnTo>
                  <a:lnTo>
                    <a:pt x="218" y="258"/>
                  </a:lnTo>
                  <a:lnTo>
                    <a:pt x="211" y="289"/>
                  </a:lnTo>
                  <a:lnTo>
                    <a:pt x="201" y="320"/>
                  </a:lnTo>
                  <a:lnTo>
                    <a:pt x="195" y="336"/>
                  </a:lnTo>
                  <a:lnTo>
                    <a:pt x="189" y="350"/>
                  </a:lnTo>
                  <a:lnTo>
                    <a:pt x="183" y="366"/>
                  </a:lnTo>
                  <a:lnTo>
                    <a:pt x="174" y="381"/>
                  </a:lnTo>
                  <a:lnTo>
                    <a:pt x="166" y="396"/>
                  </a:lnTo>
                  <a:lnTo>
                    <a:pt x="158" y="410"/>
                  </a:lnTo>
                  <a:lnTo>
                    <a:pt x="147" y="425"/>
                  </a:lnTo>
                  <a:lnTo>
                    <a:pt x="137" y="439"/>
                  </a:lnTo>
                  <a:lnTo>
                    <a:pt x="126" y="454"/>
                  </a:lnTo>
                  <a:lnTo>
                    <a:pt x="113" y="468"/>
                  </a:lnTo>
                  <a:lnTo>
                    <a:pt x="100" y="482"/>
                  </a:lnTo>
                  <a:lnTo>
                    <a:pt x="86" y="495"/>
                  </a:lnTo>
                  <a:lnTo>
                    <a:pt x="71" y="508"/>
                  </a:lnTo>
                  <a:lnTo>
                    <a:pt x="54" y="522"/>
                  </a:lnTo>
                  <a:lnTo>
                    <a:pt x="54" y="522"/>
                  </a:lnTo>
                  <a:lnTo>
                    <a:pt x="50" y="525"/>
                  </a:lnTo>
                  <a:lnTo>
                    <a:pt x="45" y="527"/>
                  </a:lnTo>
                  <a:lnTo>
                    <a:pt x="40" y="529"/>
                  </a:lnTo>
                  <a:lnTo>
                    <a:pt x="34" y="529"/>
                  </a:lnTo>
                  <a:lnTo>
                    <a:pt x="34" y="529"/>
                  </a:lnTo>
                  <a:close/>
                  <a:moveTo>
                    <a:pt x="67" y="244"/>
                  </a:moveTo>
                  <a:lnTo>
                    <a:pt x="67" y="419"/>
                  </a:lnTo>
                  <a:lnTo>
                    <a:pt x="67" y="419"/>
                  </a:lnTo>
                  <a:lnTo>
                    <a:pt x="81" y="404"/>
                  </a:lnTo>
                  <a:lnTo>
                    <a:pt x="94" y="386"/>
                  </a:lnTo>
                  <a:lnTo>
                    <a:pt x="104" y="370"/>
                  </a:lnTo>
                  <a:lnTo>
                    <a:pt x="114" y="352"/>
                  </a:lnTo>
                  <a:lnTo>
                    <a:pt x="124" y="335"/>
                  </a:lnTo>
                  <a:lnTo>
                    <a:pt x="131" y="317"/>
                  </a:lnTo>
                  <a:lnTo>
                    <a:pt x="138" y="298"/>
                  </a:lnTo>
                  <a:lnTo>
                    <a:pt x="143" y="280"/>
                  </a:lnTo>
                  <a:lnTo>
                    <a:pt x="148" y="261"/>
                  </a:lnTo>
                  <a:lnTo>
                    <a:pt x="153" y="243"/>
                  </a:lnTo>
                  <a:lnTo>
                    <a:pt x="157" y="224"/>
                  </a:lnTo>
                  <a:lnTo>
                    <a:pt x="159" y="204"/>
                  </a:lnTo>
                  <a:lnTo>
                    <a:pt x="163" y="166"/>
                  </a:lnTo>
                  <a:lnTo>
                    <a:pt x="165" y="126"/>
                  </a:lnTo>
                  <a:lnTo>
                    <a:pt x="67"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0" name="Freeform 194">
              <a:extLst>
                <a:ext uri="{FF2B5EF4-FFF2-40B4-BE49-F238E27FC236}">
                  <a16:creationId xmlns:a16="http://schemas.microsoft.com/office/drawing/2014/main" id="{8EEA6664-C3B9-2D97-7F9D-C0B6E894D842}"/>
                </a:ext>
              </a:extLst>
            </p:cNvPr>
            <p:cNvSpPr>
              <a:spLocks noEditPoints="1"/>
            </p:cNvSpPr>
            <p:nvPr/>
          </p:nvSpPr>
          <p:spPr bwMode="auto">
            <a:xfrm>
              <a:off x="4940300" y="1928813"/>
              <a:ext cx="53975" cy="120650"/>
            </a:xfrm>
            <a:custGeom>
              <a:avLst/>
              <a:gdLst>
                <a:gd name="T0" fmla="*/ 34 w 232"/>
                <a:gd name="T1" fmla="*/ 530 h 530"/>
                <a:gd name="T2" fmla="*/ 20 w 232"/>
                <a:gd name="T3" fmla="*/ 526 h 530"/>
                <a:gd name="T4" fmla="*/ 16 w 232"/>
                <a:gd name="T5" fmla="*/ 524 h 530"/>
                <a:gd name="T6" fmla="*/ 9 w 232"/>
                <a:gd name="T7" fmla="*/ 518 h 530"/>
                <a:gd name="T8" fmla="*/ 4 w 232"/>
                <a:gd name="T9" fmla="*/ 510 h 530"/>
                <a:gd name="T10" fmla="*/ 1 w 232"/>
                <a:gd name="T11" fmla="*/ 501 h 530"/>
                <a:gd name="T12" fmla="*/ 0 w 232"/>
                <a:gd name="T13" fmla="*/ 232 h 530"/>
                <a:gd name="T14" fmla="*/ 1 w 232"/>
                <a:gd name="T15" fmla="*/ 226 h 530"/>
                <a:gd name="T16" fmla="*/ 6 w 232"/>
                <a:gd name="T17" fmla="*/ 215 h 530"/>
                <a:gd name="T18" fmla="*/ 174 w 232"/>
                <a:gd name="T19" fmla="*/ 13 h 530"/>
                <a:gd name="T20" fmla="*/ 177 w 232"/>
                <a:gd name="T21" fmla="*/ 8 h 530"/>
                <a:gd name="T22" fmla="*/ 186 w 232"/>
                <a:gd name="T23" fmla="*/ 3 h 530"/>
                <a:gd name="T24" fmla="*/ 196 w 232"/>
                <a:gd name="T25" fmla="*/ 1 h 530"/>
                <a:gd name="T26" fmla="*/ 205 w 232"/>
                <a:gd name="T27" fmla="*/ 1 h 530"/>
                <a:gd name="T28" fmla="*/ 211 w 232"/>
                <a:gd name="T29" fmla="*/ 2 h 530"/>
                <a:gd name="T30" fmla="*/ 220 w 232"/>
                <a:gd name="T31" fmla="*/ 7 h 530"/>
                <a:gd name="T32" fmla="*/ 226 w 232"/>
                <a:gd name="T33" fmla="*/ 15 h 530"/>
                <a:gd name="T34" fmla="*/ 231 w 232"/>
                <a:gd name="T35" fmla="*/ 24 h 530"/>
                <a:gd name="T36" fmla="*/ 232 w 232"/>
                <a:gd name="T37" fmla="*/ 33 h 530"/>
                <a:gd name="T38" fmla="*/ 232 w 232"/>
                <a:gd name="T39" fmla="*/ 97 h 530"/>
                <a:gd name="T40" fmla="*/ 229 w 232"/>
                <a:gd name="T41" fmla="*/ 163 h 530"/>
                <a:gd name="T42" fmla="*/ 223 w 232"/>
                <a:gd name="T43" fmla="*/ 226 h 530"/>
                <a:gd name="T44" fmla="*/ 211 w 232"/>
                <a:gd name="T45" fmla="*/ 289 h 530"/>
                <a:gd name="T46" fmla="*/ 195 w 232"/>
                <a:gd name="T47" fmla="*/ 335 h 530"/>
                <a:gd name="T48" fmla="*/ 183 w 232"/>
                <a:gd name="T49" fmla="*/ 365 h 530"/>
                <a:gd name="T50" fmla="*/ 166 w 232"/>
                <a:gd name="T51" fmla="*/ 395 h 530"/>
                <a:gd name="T52" fmla="*/ 147 w 232"/>
                <a:gd name="T53" fmla="*/ 425 h 530"/>
                <a:gd name="T54" fmla="*/ 126 w 232"/>
                <a:gd name="T55" fmla="*/ 453 h 530"/>
                <a:gd name="T56" fmla="*/ 100 w 232"/>
                <a:gd name="T57" fmla="*/ 481 h 530"/>
                <a:gd name="T58" fmla="*/ 71 w 232"/>
                <a:gd name="T59" fmla="*/ 509 h 530"/>
                <a:gd name="T60" fmla="*/ 54 w 232"/>
                <a:gd name="T61" fmla="*/ 523 h 530"/>
                <a:gd name="T62" fmla="*/ 45 w 232"/>
                <a:gd name="T63" fmla="*/ 528 h 530"/>
                <a:gd name="T64" fmla="*/ 34 w 232"/>
                <a:gd name="T65" fmla="*/ 530 h 530"/>
                <a:gd name="T66" fmla="*/ 67 w 232"/>
                <a:gd name="T67" fmla="*/ 244 h 530"/>
                <a:gd name="T68" fmla="*/ 67 w 232"/>
                <a:gd name="T69" fmla="*/ 420 h 530"/>
                <a:gd name="T70" fmla="*/ 94 w 232"/>
                <a:gd name="T71" fmla="*/ 387 h 530"/>
                <a:gd name="T72" fmla="*/ 114 w 232"/>
                <a:gd name="T73" fmla="*/ 352 h 530"/>
                <a:gd name="T74" fmla="*/ 131 w 232"/>
                <a:gd name="T75" fmla="*/ 317 h 530"/>
                <a:gd name="T76" fmla="*/ 143 w 232"/>
                <a:gd name="T77" fmla="*/ 281 h 530"/>
                <a:gd name="T78" fmla="*/ 153 w 232"/>
                <a:gd name="T79" fmla="*/ 243 h 530"/>
                <a:gd name="T80" fmla="*/ 159 w 232"/>
                <a:gd name="T81" fmla="*/ 205 h 530"/>
                <a:gd name="T82" fmla="*/ 165 w 232"/>
                <a:gd name="T83" fmla="*/ 12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30">
                  <a:moveTo>
                    <a:pt x="34" y="530"/>
                  </a:moveTo>
                  <a:lnTo>
                    <a:pt x="34" y="530"/>
                  </a:lnTo>
                  <a:lnTo>
                    <a:pt x="26" y="529"/>
                  </a:lnTo>
                  <a:lnTo>
                    <a:pt x="20" y="526"/>
                  </a:lnTo>
                  <a:lnTo>
                    <a:pt x="20" y="526"/>
                  </a:lnTo>
                  <a:lnTo>
                    <a:pt x="16" y="524"/>
                  </a:lnTo>
                  <a:lnTo>
                    <a:pt x="12" y="521"/>
                  </a:lnTo>
                  <a:lnTo>
                    <a:pt x="9" y="518"/>
                  </a:lnTo>
                  <a:lnTo>
                    <a:pt x="6" y="514"/>
                  </a:lnTo>
                  <a:lnTo>
                    <a:pt x="4" y="510"/>
                  </a:lnTo>
                  <a:lnTo>
                    <a:pt x="2" y="505"/>
                  </a:lnTo>
                  <a:lnTo>
                    <a:pt x="1" y="501"/>
                  </a:lnTo>
                  <a:lnTo>
                    <a:pt x="0" y="497"/>
                  </a:lnTo>
                  <a:lnTo>
                    <a:pt x="0" y="232"/>
                  </a:lnTo>
                  <a:lnTo>
                    <a:pt x="0" y="232"/>
                  </a:lnTo>
                  <a:lnTo>
                    <a:pt x="1" y="226"/>
                  </a:lnTo>
                  <a:lnTo>
                    <a:pt x="2" y="221"/>
                  </a:lnTo>
                  <a:lnTo>
                    <a:pt x="6" y="215"/>
                  </a:lnTo>
                  <a:lnTo>
                    <a:pt x="9" y="210"/>
                  </a:lnTo>
                  <a:lnTo>
                    <a:pt x="174" y="13"/>
                  </a:lnTo>
                  <a:lnTo>
                    <a:pt x="174" y="13"/>
                  </a:lnTo>
                  <a:lnTo>
                    <a:pt x="177" y="8"/>
                  </a:lnTo>
                  <a:lnTo>
                    <a:pt x="182" y="5"/>
                  </a:lnTo>
                  <a:lnTo>
                    <a:pt x="186" y="3"/>
                  </a:lnTo>
                  <a:lnTo>
                    <a:pt x="191" y="1"/>
                  </a:lnTo>
                  <a:lnTo>
                    <a:pt x="196" y="1"/>
                  </a:lnTo>
                  <a:lnTo>
                    <a:pt x="200" y="0"/>
                  </a:lnTo>
                  <a:lnTo>
                    <a:pt x="205" y="1"/>
                  </a:lnTo>
                  <a:lnTo>
                    <a:pt x="211" y="2"/>
                  </a:lnTo>
                  <a:lnTo>
                    <a:pt x="211" y="2"/>
                  </a:lnTo>
                  <a:lnTo>
                    <a:pt x="216" y="4"/>
                  </a:lnTo>
                  <a:lnTo>
                    <a:pt x="220" y="7"/>
                  </a:lnTo>
                  <a:lnTo>
                    <a:pt x="223" y="10"/>
                  </a:lnTo>
                  <a:lnTo>
                    <a:pt x="226" y="15"/>
                  </a:lnTo>
                  <a:lnTo>
                    <a:pt x="229" y="19"/>
                  </a:lnTo>
                  <a:lnTo>
                    <a:pt x="231" y="24"/>
                  </a:lnTo>
                  <a:lnTo>
                    <a:pt x="232" y="28"/>
                  </a:lnTo>
                  <a:lnTo>
                    <a:pt x="232" y="33"/>
                  </a:lnTo>
                  <a:lnTo>
                    <a:pt x="232" y="33"/>
                  </a:lnTo>
                  <a:lnTo>
                    <a:pt x="232" y="97"/>
                  </a:lnTo>
                  <a:lnTo>
                    <a:pt x="231" y="129"/>
                  </a:lnTo>
                  <a:lnTo>
                    <a:pt x="229" y="163"/>
                  </a:lnTo>
                  <a:lnTo>
                    <a:pt x="227" y="195"/>
                  </a:lnTo>
                  <a:lnTo>
                    <a:pt x="223" y="226"/>
                  </a:lnTo>
                  <a:lnTo>
                    <a:pt x="218" y="258"/>
                  </a:lnTo>
                  <a:lnTo>
                    <a:pt x="211" y="289"/>
                  </a:lnTo>
                  <a:lnTo>
                    <a:pt x="201" y="320"/>
                  </a:lnTo>
                  <a:lnTo>
                    <a:pt x="195" y="335"/>
                  </a:lnTo>
                  <a:lnTo>
                    <a:pt x="189" y="351"/>
                  </a:lnTo>
                  <a:lnTo>
                    <a:pt x="183" y="365"/>
                  </a:lnTo>
                  <a:lnTo>
                    <a:pt x="174" y="381"/>
                  </a:lnTo>
                  <a:lnTo>
                    <a:pt x="166" y="395"/>
                  </a:lnTo>
                  <a:lnTo>
                    <a:pt x="158" y="410"/>
                  </a:lnTo>
                  <a:lnTo>
                    <a:pt x="147" y="425"/>
                  </a:lnTo>
                  <a:lnTo>
                    <a:pt x="137" y="440"/>
                  </a:lnTo>
                  <a:lnTo>
                    <a:pt x="126" y="453"/>
                  </a:lnTo>
                  <a:lnTo>
                    <a:pt x="113" y="468"/>
                  </a:lnTo>
                  <a:lnTo>
                    <a:pt x="100" y="481"/>
                  </a:lnTo>
                  <a:lnTo>
                    <a:pt x="86" y="496"/>
                  </a:lnTo>
                  <a:lnTo>
                    <a:pt x="71" y="509"/>
                  </a:lnTo>
                  <a:lnTo>
                    <a:pt x="54" y="523"/>
                  </a:lnTo>
                  <a:lnTo>
                    <a:pt x="54" y="523"/>
                  </a:lnTo>
                  <a:lnTo>
                    <a:pt x="50" y="526"/>
                  </a:lnTo>
                  <a:lnTo>
                    <a:pt x="45" y="528"/>
                  </a:lnTo>
                  <a:lnTo>
                    <a:pt x="40" y="529"/>
                  </a:lnTo>
                  <a:lnTo>
                    <a:pt x="34" y="530"/>
                  </a:lnTo>
                  <a:lnTo>
                    <a:pt x="34" y="530"/>
                  </a:lnTo>
                  <a:close/>
                  <a:moveTo>
                    <a:pt x="67" y="244"/>
                  </a:moveTo>
                  <a:lnTo>
                    <a:pt x="67" y="420"/>
                  </a:lnTo>
                  <a:lnTo>
                    <a:pt x="67" y="420"/>
                  </a:lnTo>
                  <a:lnTo>
                    <a:pt x="81" y="404"/>
                  </a:lnTo>
                  <a:lnTo>
                    <a:pt x="94" y="387"/>
                  </a:lnTo>
                  <a:lnTo>
                    <a:pt x="104" y="370"/>
                  </a:lnTo>
                  <a:lnTo>
                    <a:pt x="114" y="352"/>
                  </a:lnTo>
                  <a:lnTo>
                    <a:pt x="124" y="334"/>
                  </a:lnTo>
                  <a:lnTo>
                    <a:pt x="131" y="317"/>
                  </a:lnTo>
                  <a:lnTo>
                    <a:pt x="138" y="298"/>
                  </a:lnTo>
                  <a:lnTo>
                    <a:pt x="143" y="281"/>
                  </a:lnTo>
                  <a:lnTo>
                    <a:pt x="148" y="262"/>
                  </a:lnTo>
                  <a:lnTo>
                    <a:pt x="153" y="243"/>
                  </a:lnTo>
                  <a:lnTo>
                    <a:pt x="157" y="224"/>
                  </a:lnTo>
                  <a:lnTo>
                    <a:pt x="159" y="205"/>
                  </a:lnTo>
                  <a:lnTo>
                    <a:pt x="163" y="166"/>
                  </a:lnTo>
                  <a:lnTo>
                    <a:pt x="165" y="126"/>
                  </a:lnTo>
                  <a:lnTo>
                    <a:pt x="67"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1" name="Freeform 195">
              <a:extLst>
                <a:ext uri="{FF2B5EF4-FFF2-40B4-BE49-F238E27FC236}">
                  <a16:creationId xmlns:a16="http://schemas.microsoft.com/office/drawing/2014/main" id="{F24729E3-BBC0-2538-3AAE-E501D76781F1}"/>
                </a:ext>
              </a:extLst>
            </p:cNvPr>
            <p:cNvSpPr>
              <a:spLocks noEditPoints="1"/>
            </p:cNvSpPr>
            <p:nvPr/>
          </p:nvSpPr>
          <p:spPr bwMode="auto">
            <a:xfrm>
              <a:off x="4940300" y="2041525"/>
              <a:ext cx="53975" cy="120650"/>
            </a:xfrm>
            <a:custGeom>
              <a:avLst/>
              <a:gdLst>
                <a:gd name="T0" fmla="*/ 34 w 232"/>
                <a:gd name="T1" fmla="*/ 529 h 529"/>
                <a:gd name="T2" fmla="*/ 20 w 232"/>
                <a:gd name="T3" fmla="*/ 526 h 529"/>
                <a:gd name="T4" fmla="*/ 16 w 232"/>
                <a:gd name="T5" fmla="*/ 523 h 529"/>
                <a:gd name="T6" fmla="*/ 9 w 232"/>
                <a:gd name="T7" fmla="*/ 516 h 529"/>
                <a:gd name="T8" fmla="*/ 4 w 232"/>
                <a:gd name="T9" fmla="*/ 509 h 529"/>
                <a:gd name="T10" fmla="*/ 1 w 232"/>
                <a:gd name="T11" fmla="*/ 500 h 529"/>
                <a:gd name="T12" fmla="*/ 0 w 232"/>
                <a:gd name="T13" fmla="*/ 231 h 529"/>
                <a:gd name="T14" fmla="*/ 1 w 232"/>
                <a:gd name="T15" fmla="*/ 226 h 529"/>
                <a:gd name="T16" fmla="*/ 6 w 232"/>
                <a:gd name="T17" fmla="*/ 214 h 529"/>
                <a:gd name="T18" fmla="*/ 174 w 232"/>
                <a:gd name="T19" fmla="*/ 11 h 529"/>
                <a:gd name="T20" fmla="*/ 177 w 232"/>
                <a:gd name="T21" fmla="*/ 7 h 529"/>
                <a:gd name="T22" fmla="*/ 186 w 232"/>
                <a:gd name="T23" fmla="*/ 2 h 529"/>
                <a:gd name="T24" fmla="*/ 196 w 232"/>
                <a:gd name="T25" fmla="*/ 0 h 529"/>
                <a:gd name="T26" fmla="*/ 205 w 232"/>
                <a:gd name="T27" fmla="*/ 0 h 529"/>
                <a:gd name="T28" fmla="*/ 211 w 232"/>
                <a:gd name="T29" fmla="*/ 1 h 529"/>
                <a:gd name="T30" fmla="*/ 220 w 232"/>
                <a:gd name="T31" fmla="*/ 6 h 529"/>
                <a:gd name="T32" fmla="*/ 226 w 232"/>
                <a:gd name="T33" fmla="*/ 13 h 529"/>
                <a:gd name="T34" fmla="*/ 231 w 232"/>
                <a:gd name="T35" fmla="*/ 23 h 529"/>
                <a:gd name="T36" fmla="*/ 232 w 232"/>
                <a:gd name="T37" fmla="*/ 33 h 529"/>
                <a:gd name="T38" fmla="*/ 232 w 232"/>
                <a:gd name="T39" fmla="*/ 97 h 529"/>
                <a:gd name="T40" fmla="*/ 229 w 232"/>
                <a:gd name="T41" fmla="*/ 161 h 529"/>
                <a:gd name="T42" fmla="*/ 223 w 232"/>
                <a:gd name="T43" fmla="*/ 226 h 529"/>
                <a:gd name="T44" fmla="*/ 211 w 232"/>
                <a:gd name="T45" fmla="*/ 288 h 529"/>
                <a:gd name="T46" fmla="*/ 195 w 232"/>
                <a:gd name="T47" fmla="*/ 334 h 529"/>
                <a:gd name="T48" fmla="*/ 183 w 232"/>
                <a:gd name="T49" fmla="*/ 365 h 529"/>
                <a:gd name="T50" fmla="*/ 166 w 232"/>
                <a:gd name="T51" fmla="*/ 395 h 529"/>
                <a:gd name="T52" fmla="*/ 147 w 232"/>
                <a:gd name="T53" fmla="*/ 424 h 529"/>
                <a:gd name="T54" fmla="*/ 126 w 232"/>
                <a:gd name="T55" fmla="*/ 453 h 529"/>
                <a:gd name="T56" fmla="*/ 100 w 232"/>
                <a:gd name="T57" fmla="*/ 481 h 529"/>
                <a:gd name="T58" fmla="*/ 71 w 232"/>
                <a:gd name="T59" fmla="*/ 508 h 529"/>
                <a:gd name="T60" fmla="*/ 54 w 232"/>
                <a:gd name="T61" fmla="*/ 522 h 529"/>
                <a:gd name="T62" fmla="*/ 45 w 232"/>
                <a:gd name="T63" fmla="*/ 527 h 529"/>
                <a:gd name="T64" fmla="*/ 34 w 232"/>
                <a:gd name="T65" fmla="*/ 529 h 529"/>
                <a:gd name="T66" fmla="*/ 67 w 232"/>
                <a:gd name="T67" fmla="*/ 243 h 529"/>
                <a:gd name="T68" fmla="*/ 67 w 232"/>
                <a:gd name="T69" fmla="*/ 419 h 529"/>
                <a:gd name="T70" fmla="*/ 94 w 232"/>
                <a:gd name="T71" fmla="*/ 386 h 529"/>
                <a:gd name="T72" fmla="*/ 114 w 232"/>
                <a:gd name="T73" fmla="*/ 352 h 529"/>
                <a:gd name="T74" fmla="*/ 131 w 232"/>
                <a:gd name="T75" fmla="*/ 316 h 529"/>
                <a:gd name="T76" fmla="*/ 143 w 232"/>
                <a:gd name="T77" fmla="*/ 279 h 529"/>
                <a:gd name="T78" fmla="*/ 153 w 232"/>
                <a:gd name="T79" fmla="*/ 242 h 529"/>
                <a:gd name="T80" fmla="*/ 159 w 232"/>
                <a:gd name="T81" fmla="*/ 204 h 529"/>
                <a:gd name="T82" fmla="*/ 165 w 232"/>
                <a:gd name="T83" fmla="*/ 12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29">
                  <a:moveTo>
                    <a:pt x="34" y="529"/>
                  </a:moveTo>
                  <a:lnTo>
                    <a:pt x="34" y="529"/>
                  </a:lnTo>
                  <a:lnTo>
                    <a:pt x="26" y="528"/>
                  </a:lnTo>
                  <a:lnTo>
                    <a:pt x="20" y="526"/>
                  </a:lnTo>
                  <a:lnTo>
                    <a:pt x="20" y="526"/>
                  </a:lnTo>
                  <a:lnTo>
                    <a:pt x="16" y="523"/>
                  </a:lnTo>
                  <a:lnTo>
                    <a:pt x="12" y="521"/>
                  </a:lnTo>
                  <a:lnTo>
                    <a:pt x="9" y="516"/>
                  </a:lnTo>
                  <a:lnTo>
                    <a:pt x="6" y="513"/>
                  </a:lnTo>
                  <a:lnTo>
                    <a:pt x="4" y="509"/>
                  </a:lnTo>
                  <a:lnTo>
                    <a:pt x="2" y="505"/>
                  </a:lnTo>
                  <a:lnTo>
                    <a:pt x="1" y="500"/>
                  </a:lnTo>
                  <a:lnTo>
                    <a:pt x="0" y="496"/>
                  </a:lnTo>
                  <a:lnTo>
                    <a:pt x="0" y="231"/>
                  </a:lnTo>
                  <a:lnTo>
                    <a:pt x="0" y="231"/>
                  </a:lnTo>
                  <a:lnTo>
                    <a:pt x="1" y="226"/>
                  </a:lnTo>
                  <a:lnTo>
                    <a:pt x="2" y="219"/>
                  </a:lnTo>
                  <a:lnTo>
                    <a:pt x="6" y="214"/>
                  </a:lnTo>
                  <a:lnTo>
                    <a:pt x="9" y="210"/>
                  </a:lnTo>
                  <a:lnTo>
                    <a:pt x="174" y="11"/>
                  </a:lnTo>
                  <a:lnTo>
                    <a:pt x="174" y="11"/>
                  </a:lnTo>
                  <a:lnTo>
                    <a:pt x="177" y="7"/>
                  </a:lnTo>
                  <a:lnTo>
                    <a:pt x="182" y="5"/>
                  </a:lnTo>
                  <a:lnTo>
                    <a:pt x="186" y="2"/>
                  </a:lnTo>
                  <a:lnTo>
                    <a:pt x="191" y="1"/>
                  </a:lnTo>
                  <a:lnTo>
                    <a:pt x="196" y="0"/>
                  </a:lnTo>
                  <a:lnTo>
                    <a:pt x="200" y="0"/>
                  </a:lnTo>
                  <a:lnTo>
                    <a:pt x="205" y="0"/>
                  </a:lnTo>
                  <a:lnTo>
                    <a:pt x="211" y="1"/>
                  </a:lnTo>
                  <a:lnTo>
                    <a:pt x="211" y="1"/>
                  </a:lnTo>
                  <a:lnTo>
                    <a:pt x="216" y="4"/>
                  </a:lnTo>
                  <a:lnTo>
                    <a:pt x="220" y="6"/>
                  </a:lnTo>
                  <a:lnTo>
                    <a:pt x="223" y="9"/>
                  </a:lnTo>
                  <a:lnTo>
                    <a:pt x="226" y="13"/>
                  </a:lnTo>
                  <a:lnTo>
                    <a:pt x="229" y="18"/>
                  </a:lnTo>
                  <a:lnTo>
                    <a:pt x="231" y="23"/>
                  </a:lnTo>
                  <a:lnTo>
                    <a:pt x="232" y="28"/>
                  </a:lnTo>
                  <a:lnTo>
                    <a:pt x="232" y="33"/>
                  </a:lnTo>
                  <a:lnTo>
                    <a:pt x="232" y="33"/>
                  </a:lnTo>
                  <a:lnTo>
                    <a:pt x="232" y="97"/>
                  </a:lnTo>
                  <a:lnTo>
                    <a:pt x="231" y="129"/>
                  </a:lnTo>
                  <a:lnTo>
                    <a:pt x="229" y="161"/>
                  </a:lnTo>
                  <a:lnTo>
                    <a:pt x="227" y="193"/>
                  </a:lnTo>
                  <a:lnTo>
                    <a:pt x="223" y="226"/>
                  </a:lnTo>
                  <a:lnTo>
                    <a:pt x="218" y="257"/>
                  </a:lnTo>
                  <a:lnTo>
                    <a:pt x="211" y="288"/>
                  </a:lnTo>
                  <a:lnTo>
                    <a:pt x="201" y="319"/>
                  </a:lnTo>
                  <a:lnTo>
                    <a:pt x="195" y="334"/>
                  </a:lnTo>
                  <a:lnTo>
                    <a:pt x="189" y="350"/>
                  </a:lnTo>
                  <a:lnTo>
                    <a:pt x="183" y="365"/>
                  </a:lnTo>
                  <a:lnTo>
                    <a:pt x="174" y="380"/>
                  </a:lnTo>
                  <a:lnTo>
                    <a:pt x="166" y="395"/>
                  </a:lnTo>
                  <a:lnTo>
                    <a:pt x="158" y="410"/>
                  </a:lnTo>
                  <a:lnTo>
                    <a:pt x="147" y="424"/>
                  </a:lnTo>
                  <a:lnTo>
                    <a:pt x="137" y="439"/>
                  </a:lnTo>
                  <a:lnTo>
                    <a:pt x="126" y="453"/>
                  </a:lnTo>
                  <a:lnTo>
                    <a:pt x="113" y="467"/>
                  </a:lnTo>
                  <a:lnTo>
                    <a:pt x="100" y="481"/>
                  </a:lnTo>
                  <a:lnTo>
                    <a:pt x="86" y="495"/>
                  </a:lnTo>
                  <a:lnTo>
                    <a:pt x="71" y="508"/>
                  </a:lnTo>
                  <a:lnTo>
                    <a:pt x="54" y="522"/>
                  </a:lnTo>
                  <a:lnTo>
                    <a:pt x="54" y="522"/>
                  </a:lnTo>
                  <a:lnTo>
                    <a:pt x="50" y="525"/>
                  </a:lnTo>
                  <a:lnTo>
                    <a:pt x="45" y="527"/>
                  </a:lnTo>
                  <a:lnTo>
                    <a:pt x="40" y="528"/>
                  </a:lnTo>
                  <a:lnTo>
                    <a:pt x="34" y="529"/>
                  </a:lnTo>
                  <a:lnTo>
                    <a:pt x="34" y="529"/>
                  </a:lnTo>
                  <a:close/>
                  <a:moveTo>
                    <a:pt x="67" y="243"/>
                  </a:moveTo>
                  <a:lnTo>
                    <a:pt x="67" y="419"/>
                  </a:lnTo>
                  <a:lnTo>
                    <a:pt x="67" y="419"/>
                  </a:lnTo>
                  <a:lnTo>
                    <a:pt x="81" y="403"/>
                  </a:lnTo>
                  <a:lnTo>
                    <a:pt x="94" y="386"/>
                  </a:lnTo>
                  <a:lnTo>
                    <a:pt x="104" y="368"/>
                  </a:lnTo>
                  <a:lnTo>
                    <a:pt x="114" y="352"/>
                  </a:lnTo>
                  <a:lnTo>
                    <a:pt x="124" y="334"/>
                  </a:lnTo>
                  <a:lnTo>
                    <a:pt x="131" y="316"/>
                  </a:lnTo>
                  <a:lnTo>
                    <a:pt x="138" y="298"/>
                  </a:lnTo>
                  <a:lnTo>
                    <a:pt x="143" y="279"/>
                  </a:lnTo>
                  <a:lnTo>
                    <a:pt x="148" y="261"/>
                  </a:lnTo>
                  <a:lnTo>
                    <a:pt x="153" y="242"/>
                  </a:lnTo>
                  <a:lnTo>
                    <a:pt x="157" y="222"/>
                  </a:lnTo>
                  <a:lnTo>
                    <a:pt x="159" y="204"/>
                  </a:lnTo>
                  <a:lnTo>
                    <a:pt x="163" y="164"/>
                  </a:lnTo>
                  <a:lnTo>
                    <a:pt x="165" y="125"/>
                  </a:lnTo>
                  <a:lnTo>
                    <a:pt x="67"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2" name="Freeform 196">
              <a:extLst>
                <a:ext uri="{FF2B5EF4-FFF2-40B4-BE49-F238E27FC236}">
                  <a16:creationId xmlns:a16="http://schemas.microsoft.com/office/drawing/2014/main" id="{FB02C8CC-CEE1-4380-43D7-F36604769EDD}"/>
                </a:ext>
              </a:extLst>
            </p:cNvPr>
            <p:cNvSpPr>
              <a:spLocks/>
            </p:cNvSpPr>
            <p:nvPr/>
          </p:nvSpPr>
          <p:spPr bwMode="auto">
            <a:xfrm>
              <a:off x="5105400" y="1809750"/>
              <a:ext cx="15875" cy="358775"/>
            </a:xfrm>
            <a:custGeom>
              <a:avLst/>
              <a:gdLst>
                <a:gd name="T0" fmla="*/ 33 w 66"/>
                <a:gd name="T1" fmla="*/ 1587 h 1587"/>
                <a:gd name="T2" fmla="*/ 33 w 66"/>
                <a:gd name="T3" fmla="*/ 1587 h 1587"/>
                <a:gd name="T4" fmla="*/ 27 w 66"/>
                <a:gd name="T5" fmla="*/ 1586 h 1587"/>
                <a:gd name="T6" fmla="*/ 21 w 66"/>
                <a:gd name="T7" fmla="*/ 1584 h 1587"/>
                <a:gd name="T8" fmla="*/ 14 w 66"/>
                <a:gd name="T9" fmla="*/ 1581 h 1587"/>
                <a:gd name="T10" fmla="*/ 10 w 66"/>
                <a:gd name="T11" fmla="*/ 1576 h 1587"/>
                <a:gd name="T12" fmla="*/ 6 w 66"/>
                <a:gd name="T13" fmla="*/ 1572 h 1587"/>
                <a:gd name="T14" fmla="*/ 3 w 66"/>
                <a:gd name="T15" fmla="*/ 1566 h 1587"/>
                <a:gd name="T16" fmla="*/ 1 w 66"/>
                <a:gd name="T17" fmla="*/ 1560 h 1587"/>
                <a:gd name="T18" fmla="*/ 0 w 66"/>
                <a:gd name="T19" fmla="*/ 1554 h 1587"/>
                <a:gd name="T20" fmla="*/ 0 w 66"/>
                <a:gd name="T21" fmla="*/ 33 h 1587"/>
                <a:gd name="T22" fmla="*/ 0 w 66"/>
                <a:gd name="T23" fmla="*/ 33 h 1587"/>
                <a:gd name="T24" fmla="*/ 1 w 66"/>
                <a:gd name="T25" fmla="*/ 27 h 1587"/>
                <a:gd name="T26" fmla="*/ 3 w 66"/>
                <a:gd name="T27" fmla="*/ 21 h 1587"/>
                <a:gd name="T28" fmla="*/ 6 w 66"/>
                <a:gd name="T29" fmla="*/ 15 h 1587"/>
                <a:gd name="T30" fmla="*/ 10 w 66"/>
                <a:gd name="T31" fmla="*/ 10 h 1587"/>
                <a:gd name="T32" fmla="*/ 14 w 66"/>
                <a:gd name="T33" fmla="*/ 6 h 1587"/>
                <a:gd name="T34" fmla="*/ 21 w 66"/>
                <a:gd name="T35" fmla="*/ 3 h 1587"/>
                <a:gd name="T36" fmla="*/ 27 w 66"/>
                <a:gd name="T37" fmla="*/ 1 h 1587"/>
                <a:gd name="T38" fmla="*/ 33 w 66"/>
                <a:gd name="T39" fmla="*/ 0 h 1587"/>
                <a:gd name="T40" fmla="*/ 33 w 66"/>
                <a:gd name="T41" fmla="*/ 0 h 1587"/>
                <a:gd name="T42" fmla="*/ 40 w 66"/>
                <a:gd name="T43" fmla="*/ 1 h 1587"/>
                <a:gd name="T44" fmla="*/ 47 w 66"/>
                <a:gd name="T45" fmla="*/ 3 h 1587"/>
                <a:gd name="T46" fmla="*/ 52 w 66"/>
                <a:gd name="T47" fmla="*/ 6 h 1587"/>
                <a:gd name="T48" fmla="*/ 57 w 66"/>
                <a:gd name="T49" fmla="*/ 10 h 1587"/>
                <a:gd name="T50" fmla="*/ 61 w 66"/>
                <a:gd name="T51" fmla="*/ 15 h 1587"/>
                <a:gd name="T52" fmla="*/ 64 w 66"/>
                <a:gd name="T53" fmla="*/ 21 h 1587"/>
                <a:gd name="T54" fmla="*/ 66 w 66"/>
                <a:gd name="T55" fmla="*/ 27 h 1587"/>
                <a:gd name="T56" fmla="*/ 66 w 66"/>
                <a:gd name="T57" fmla="*/ 33 h 1587"/>
                <a:gd name="T58" fmla="*/ 66 w 66"/>
                <a:gd name="T59" fmla="*/ 1554 h 1587"/>
                <a:gd name="T60" fmla="*/ 66 w 66"/>
                <a:gd name="T61" fmla="*/ 1554 h 1587"/>
                <a:gd name="T62" fmla="*/ 66 w 66"/>
                <a:gd name="T63" fmla="*/ 1560 h 1587"/>
                <a:gd name="T64" fmla="*/ 64 w 66"/>
                <a:gd name="T65" fmla="*/ 1566 h 1587"/>
                <a:gd name="T66" fmla="*/ 61 w 66"/>
                <a:gd name="T67" fmla="*/ 1572 h 1587"/>
                <a:gd name="T68" fmla="*/ 57 w 66"/>
                <a:gd name="T69" fmla="*/ 1576 h 1587"/>
                <a:gd name="T70" fmla="*/ 52 w 66"/>
                <a:gd name="T71" fmla="*/ 1581 h 1587"/>
                <a:gd name="T72" fmla="*/ 47 w 66"/>
                <a:gd name="T73" fmla="*/ 1584 h 1587"/>
                <a:gd name="T74" fmla="*/ 40 w 66"/>
                <a:gd name="T75" fmla="*/ 1586 h 1587"/>
                <a:gd name="T76" fmla="*/ 33 w 66"/>
                <a:gd name="T77" fmla="*/ 1587 h 1587"/>
                <a:gd name="T78" fmla="*/ 33 w 66"/>
                <a:gd name="T79" fmla="*/ 1587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587">
                  <a:moveTo>
                    <a:pt x="33" y="1587"/>
                  </a:moveTo>
                  <a:lnTo>
                    <a:pt x="33" y="1587"/>
                  </a:lnTo>
                  <a:lnTo>
                    <a:pt x="27" y="1586"/>
                  </a:lnTo>
                  <a:lnTo>
                    <a:pt x="21" y="1584"/>
                  </a:lnTo>
                  <a:lnTo>
                    <a:pt x="14" y="1581"/>
                  </a:lnTo>
                  <a:lnTo>
                    <a:pt x="10" y="1576"/>
                  </a:lnTo>
                  <a:lnTo>
                    <a:pt x="6" y="1572"/>
                  </a:lnTo>
                  <a:lnTo>
                    <a:pt x="3" y="1566"/>
                  </a:lnTo>
                  <a:lnTo>
                    <a:pt x="1" y="1560"/>
                  </a:lnTo>
                  <a:lnTo>
                    <a:pt x="0" y="1554"/>
                  </a:lnTo>
                  <a:lnTo>
                    <a:pt x="0" y="33"/>
                  </a:lnTo>
                  <a:lnTo>
                    <a:pt x="0" y="33"/>
                  </a:lnTo>
                  <a:lnTo>
                    <a:pt x="1" y="27"/>
                  </a:lnTo>
                  <a:lnTo>
                    <a:pt x="3" y="21"/>
                  </a:lnTo>
                  <a:lnTo>
                    <a:pt x="6" y="15"/>
                  </a:lnTo>
                  <a:lnTo>
                    <a:pt x="10" y="10"/>
                  </a:lnTo>
                  <a:lnTo>
                    <a:pt x="14" y="6"/>
                  </a:lnTo>
                  <a:lnTo>
                    <a:pt x="21" y="3"/>
                  </a:lnTo>
                  <a:lnTo>
                    <a:pt x="27" y="1"/>
                  </a:lnTo>
                  <a:lnTo>
                    <a:pt x="33" y="0"/>
                  </a:lnTo>
                  <a:lnTo>
                    <a:pt x="33" y="0"/>
                  </a:lnTo>
                  <a:lnTo>
                    <a:pt x="40" y="1"/>
                  </a:lnTo>
                  <a:lnTo>
                    <a:pt x="47" y="3"/>
                  </a:lnTo>
                  <a:lnTo>
                    <a:pt x="52" y="6"/>
                  </a:lnTo>
                  <a:lnTo>
                    <a:pt x="57" y="10"/>
                  </a:lnTo>
                  <a:lnTo>
                    <a:pt x="61" y="15"/>
                  </a:lnTo>
                  <a:lnTo>
                    <a:pt x="64" y="21"/>
                  </a:lnTo>
                  <a:lnTo>
                    <a:pt x="66" y="27"/>
                  </a:lnTo>
                  <a:lnTo>
                    <a:pt x="66" y="33"/>
                  </a:lnTo>
                  <a:lnTo>
                    <a:pt x="66" y="1554"/>
                  </a:lnTo>
                  <a:lnTo>
                    <a:pt x="66" y="1554"/>
                  </a:lnTo>
                  <a:lnTo>
                    <a:pt x="66" y="1560"/>
                  </a:lnTo>
                  <a:lnTo>
                    <a:pt x="64" y="1566"/>
                  </a:lnTo>
                  <a:lnTo>
                    <a:pt x="61" y="1572"/>
                  </a:lnTo>
                  <a:lnTo>
                    <a:pt x="57" y="1576"/>
                  </a:lnTo>
                  <a:lnTo>
                    <a:pt x="52" y="1581"/>
                  </a:lnTo>
                  <a:lnTo>
                    <a:pt x="47" y="1584"/>
                  </a:lnTo>
                  <a:lnTo>
                    <a:pt x="40" y="1586"/>
                  </a:lnTo>
                  <a:lnTo>
                    <a:pt x="33" y="1587"/>
                  </a:lnTo>
                  <a:lnTo>
                    <a:pt x="33" y="15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3" name="Freeform 197">
              <a:extLst>
                <a:ext uri="{FF2B5EF4-FFF2-40B4-BE49-F238E27FC236}">
                  <a16:creationId xmlns:a16="http://schemas.microsoft.com/office/drawing/2014/main" id="{C80379D1-A9C7-C53B-649F-6458CE5D3773}"/>
                </a:ext>
              </a:extLst>
            </p:cNvPr>
            <p:cNvSpPr>
              <a:spLocks noEditPoints="1"/>
            </p:cNvSpPr>
            <p:nvPr/>
          </p:nvSpPr>
          <p:spPr bwMode="auto">
            <a:xfrm>
              <a:off x="5038725" y="1816100"/>
              <a:ext cx="52388" cy="120650"/>
            </a:xfrm>
            <a:custGeom>
              <a:avLst/>
              <a:gdLst>
                <a:gd name="T0" fmla="*/ 199 w 231"/>
                <a:gd name="T1" fmla="*/ 529 h 529"/>
                <a:gd name="T2" fmla="*/ 187 w 231"/>
                <a:gd name="T3" fmla="*/ 527 h 529"/>
                <a:gd name="T4" fmla="*/ 178 w 231"/>
                <a:gd name="T5" fmla="*/ 522 h 529"/>
                <a:gd name="T6" fmla="*/ 161 w 231"/>
                <a:gd name="T7" fmla="*/ 508 h 529"/>
                <a:gd name="T8" fmla="*/ 132 w 231"/>
                <a:gd name="T9" fmla="*/ 482 h 529"/>
                <a:gd name="T10" fmla="*/ 107 w 231"/>
                <a:gd name="T11" fmla="*/ 454 h 529"/>
                <a:gd name="T12" fmla="*/ 85 w 231"/>
                <a:gd name="T13" fmla="*/ 425 h 529"/>
                <a:gd name="T14" fmla="*/ 66 w 231"/>
                <a:gd name="T15" fmla="*/ 396 h 529"/>
                <a:gd name="T16" fmla="*/ 50 w 231"/>
                <a:gd name="T17" fmla="*/ 366 h 529"/>
                <a:gd name="T18" fmla="*/ 37 w 231"/>
                <a:gd name="T19" fmla="*/ 336 h 529"/>
                <a:gd name="T20" fmla="*/ 22 w 231"/>
                <a:gd name="T21" fmla="*/ 289 h 529"/>
                <a:gd name="T22" fmla="*/ 9 w 231"/>
                <a:gd name="T23" fmla="*/ 226 h 529"/>
                <a:gd name="T24" fmla="*/ 3 w 231"/>
                <a:gd name="T25" fmla="*/ 162 h 529"/>
                <a:gd name="T26" fmla="*/ 0 w 231"/>
                <a:gd name="T27" fmla="*/ 98 h 529"/>
                <a:gd name="T28" fmla="*/ 0 w 231"/>
                <a:gd name="T29" fmla="*/ 33 h 529"/>
                <a:gd name="T30" fmla="*/ 1 w 231"/>
                <a:gd name="T31" fmla="*/ 23 h 529"/>
                <a:gd name="T32" fmla="*/ 6 w 231"/>
                <a:gd name="T33" fmla="*/ 15 h 529"/>
                <a:gd name="T34" fmla="*/ 12 w 231"/>
                <a:gd name="T35" fmla="*/ 8 h 529"/>
                <a:gd name="T36" fmla="*/ 22 w 231"/>
                <a:gd name="T37" fmla="*/ 2 h 529"/>
                <a:gd name="T38" fmla="*/ 27 w 231"/>
                <a:gd name="T39" fmla="*/ 1 h 529"/>
                <a:gd name="T40" fmla="*/ 36 w 231"/>
                <a:gd name="T41" fmla="*/ 0 h 529"/>
                <a:gd name="T42" fmla="*/ 46 w 231"/>
                <a:gd name="T43" fmla="*/ 3 h 529"/>
                <a:gd name="T44" fmla="*/ 55 w 231"/>
                <a:gd name="T45" fmla="*/ 9 h 529"/>
                <a:gd name="T46" fmla="*/ 223 w 231"/>
                <a:gd name="T47" fmla="*/ 210 h 529"/>
                <a:gd name="T48" fmla="*/ 227 w 231"/>
                <a:gd name="T49" fmla="*/ 216 h 529"/>
                <a:gd name="T50" fmla="*/ 231 w 231"/>
                <a:gd name="T51" fmla="*/ 226 h 529"/>
                <a:gd name="T52" fmla="*/ 231 w 231"/>
                <a:gd name="T53" fmla="*/ 496 h 529"/>
                <a:gd name="T54" fmla="*/ 231 w 231"/>
                <a:gd name="T55" fmla="*/ 501 h 529"/>
                <a:gd name="T56" fmla="*/ 229 w 231"/>
                <a:gd name="T57" fmla="*/ 510 h 529"/>
                <a:gd name="T58" fmla="*/ 223 w 231"/>
                <a:gd name="T59" fmla="*/ 518 h 529"/>
                <a:gd name="T60" fmla="*/ 216 w 231"/>
                <a:gd name="T61" fmla="*/ 524 h 529"/>
                <a:gd name="T62" fmla="*/ 212 w 231"/>
                <a:gd name="T63" fmla="*/ 526 h 529"/>
                <a:gd name="T64" fmla="*/ 199 w 231"/>
                <a:gd name="T65" fmla="*/ 529 h 529"/>
                <a:gd name="T66" fmla="*/ 67 w 231"/>
                <a:gd name="T67" fmla="*/ 126 h 529"/>
                <a:gd name="T68" fmla="*/ 69 w 231"/>
                <a:gd name="T69" fmla="*/ 166 h 529"/>
                <a:gd name="T70" fmla="*/ 75 w 231"/>
                <a:gd name="T71" fmla="*/ 224 h 529"/>
                <a:gd name="T72" fmla="*/ 84 w 231"/>
                <a:gd name="T73" fmla="*/ 261 h 529"/>
                <a:gd name="T74" fmla="*/ 94 w 231"/>
                <a:gd name="T75" fmla="*/ 298 h 529"/>
                <a:gd name="T76" fmla="*/ 109 w 231"/>
                <a:gd name="T77" fmla="*/ 335 h 529"/>
                <a:gd name="T78" fmla="*/ 127 w 231"/>
                <a:gd name="T79" fmla="*/ 370 h 529"/>
                <a:gd name="T80" fmla="*/ 151 w 231"/>
                <a:gd name="T81" fmla="*/ 404 h 529"/>
                <a:gd name="T82" fmla="*/ 166 w 231"/>
                <a:gd name="T83" fmla="*/ 24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1" h="529">
                  <a:moveTo>
                    <a:pt x="199" y="529"/>
                  </a:moveTo>
                  <a:lnTo>
                    <a:pt x="199" y="529"/>
                  </a:lnTo>
                  <a:lnTo>
                    <a:pt x="192" y="529"/>
                  </a:lnTo>
                  <a:lnTo>
                    <a:pt x="187" y="527"/>
                  </a:lnTo>
                  <a:lnTo>
                    <a:pt x="182" y="525"/>
                  </a:lnTo>
                  <a:lnTo>
                    <a:pt x="178" y="522"/>
                  </a:lnTo>
                  <a:lnTo>
                    <a:pt x="178" y="522"/>
                  </a:lnTo>
                  <a:lnTo>
                    <a:pt x="161" y="508"/>
                  </a:lnTo>
                  <a:lnTo>
                    <a:pt x="146" y="495"/>
                  </a:lnTo>
                  <a:lnTo>
                    <a:pt x="132" y="482"/>
                  </a:lnTo>
                  <a:lnTo>
                    <a:pt x="119" y="468"/>
                  </a:lnTo>
                  <a:lnTo>
                    <a:pt x="107" y="454"/>
                  </a:lnTo>
                  <a:lnTo>
                    <a:pt x="95" y="439"/>
                  </a:lnTo>
                  <a:lnTo>
                    <a:pt x="85" y="425"/>
                  </a:lnTo>
                  <a:lnTo>
                    <a:pt x="74" y="410"/>
                  </a:lnTo>
                  <a:lnTo>
                    <a:pt x="66" y="396"/>
                  </a:lnTo>
                  <a:lnTo>
                    <a:pt x="58" y="381"/>
                  </a:lnTo>
                  <a:lnTo>
                    <a:pt x="50" y="366"/>
                  </a:lnTo>
                  <a:lnTo>
                    <a:pt x="43" y="350"/>
                  </a:lnTo>
                  <a:lnTo>
                    <a:pt x="37" y="336"/>
                  </a:lnTo>
                  <a:lnTo>
                    <a:pt x="31" y="320"/>
                  </a:lnTo>
                  <a:lnTo>
                    <a:pt x="22" y="289"/>
                  </a:lnTo>
                  <a:lnTo>
                    <a:pt x="14" y="258"/>
                  </a:lnTo>
                  <a:lnTo>
                    <a:pt x="9" y="226"/>
                  </a:lnTo>
                  <a:lnTo>
                    <a:pt x="5" y="194"/>
                  </a:lnTo>
                  <a:lnTo>
                    <a:pt x="3" y="162"/>
                  </a:lnTo>
                  <a:lnTo>
                    <a:pt x="1" y="130"/>
                  </a:lnTo>
                  <a:lnTo>
                    <a:pt x="0" y="98"/>
                  </a:lnTo>
                  <a:lnTo>
                    <a:pt x="0" y="33"/>
                  </a:lnTo>
                  <a:lnTo>
                    <a:pt x="0" y="33"/>
                  </a:lnTo>
                  <a:lnTo>
                    <a:pt x="0" y="28"/>
                  </a:lnTo>
                  <a:lnTo>
                    <a:pt x="1" y="23"/>
                  </a:lnTo>
                  <a:lnTo>
                    <a:pt x="3" y="19"/>
                  </a:lnTo>
                  <a:lnTo>
                    <a:pt x="6" y="15"/>
                  </a:lnTo>
                  <a:lnTo>
                    <a:pt x="9" y="11"/>
                  </a:lnTo>
                  <a:lnTo>
                    <a:pt x="12" y="8"/>
                  </a:lnTo>
                  <a:lnTo>
                    <a:pt x="16" y="4"/>
                  </a:lnTo>
                  <a:lnTo>
                    <a:pt x="22" y="2"/>
                  </a:lnTo>
                  <a:lnTo>
                    <a:pt x="22" y="2"/>
                  </a:lnTo>
                  <a:lnTo>
                    <a:pt x="27" y="1"/>
                  </a:lnTo>
                  <a:lnTo>
                    <a:pt x="32" y="0"/>
                  </a:lnTo>
                  <a:lnTo>
                    <a:pt x="36" y="0"/>
                  </a:lnTo>
                  <a:lnTo>
                    <a:pt x="41" y="1"/>
                  </a:lnTo>
                  <a:lnTo>
                    <a:pt x="46" y="3"/>
                  </a:lnTo>
                  <a:lnTo>
                    <a:pt x="51" y="6"/>
                  </a:lnTo>
                  <a:lnTo>
                    <a:pt x="55" y="9"/>
                  </a:lnTo>
                  <a:lnTo>
                    <a:pt x="58" y="12"/>
                  </a:lnTo>
                  <a:lnTo>
                    <a:pt x="223" y="210"/>
                  </a:lnTo>
                  <a:lnTo>
                    <a:pt x="223" y="210"/>
                  </a:lnTo>
                  <a:lnTo>
                    <a:pt x="227" y="216"/>
                  </a:lnTo>
                  <a:lnTo>
                    <a:pt x="230" y="221"/>
                  </a:lnTo>
                  <a:lnTo>
                    <a:pt x="231" y="226"/>
                  </a:lnTo>
                  <a:lnTo>
                    <a:pt x="231" y="232"/>
                  </a:lnTo>
                  <a:lnTo>
                    <a:pt x="231" y="496"/>
                  </a:lnTo>
                  <a:lnTo>
                    <a:pt x="231" y="496"/>
                  </a:lnTo>
                  <a:lnTo>
                    <a:pt x="231" y="501"/>
                  </a:lnTo>
                  <a:lnTo>
                    <a:pt x="230" y="505"/>
                  </a:lnTo>
                  <a:lnTo>
                    <a:pt x="229" y="510"/>
                  </a:lnTo>
                  <a:lnTo>
                    <a:pt x="227" y="514"/>
                  </a:lnTo>
                  <a:lnTo>
                    <a:pt x="223" y="518"/>
                  </a:lnTo>
                  <a:lnTo>
                    <a:pt x="220" y="521"/>
                  </a:lnTo>
                  <a:lnTo>
                    <a:pt x="216" y="524"/>
                  </a:lnTo>
                  <a:lnTo>
                    <a:pt x="212" y="526"/>
                  </a:lnTo>
                  <a:lnTo>
                    <a:pt x="212" y="526"/>
                  </a:lnTo>
                  <a:lnTo>
                    <a:pt x="206" y="528"/>
                  </a:lnTo>
                  <a:lnTo>
                    <a:pt x="199" y="529"/>
                  </a:lnTo>
                  <a:lnTo>
                    <a:pt x="199" y="529"/>
                  </a:lnTo>
                  <a:close/>
                  <a:moveTo>
                    <a:pt x="67" y="126"/>
                  </a:moveTo>
                  <a:lnTo>
                    <a:pt x="67" y="126"/>
                  </a:lnTo>
                  <a:lnTo>
                    <a:pt x="69" y="166"/>
                  </a:lnTo>
                  <a:lnTo>
                    <a:pt x="73" y="204"/>
                  </a:lnTo>
                  <a:lnTo>
                    <a:pt x="75" y="224"/>
                  </a:lnTo>
                  <a:lnTo>
                    <a:pt x="80" y="243"/>
                  </a:lnTo>
                  <a:lnTo>
                    <a:pt x="84" y="261"/>
                  </a:lnTo>
                  <a:lnTo>
                    <a:pt x="89" y="280"/>
                  </a:lnTo>
                  <a:lnTo>
                    <a:pt x="94" y="298"/>
                  </a:lnTo>
                  <a:lnTo>
                    <a:pt x="101" y="317"/>
                  </a:lnTo>
                  <a:lnTo>
                    <a:pt x="109" y="335"/>
                  </a:lnTo>
                  <a:lnTo>
                    <a:pt x="118" y="352"/>
                  </a:lnTo>
                  <a:lnTo>
                    <a:pt x="127" y="370"/>
                  </a:lnTo>
                  <a:lnTo>
                    <a:pt x="139" y="386"/>
                  </a:lnTo>
                  <a:lnTo>
                    <a:pt x="151" y="404"/>
                  </a:lnTo>
                  <a:lnTo>
                    <a:pt x="166" y="419"/>
                  </a:lnTo>
                  <a:lnTo>
                    <a:pt x="166" y="244"/>
                  </a:lnTo>
                  <a:lnTo>
                    <a:pt x="67"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4" name="Freeform 198">
              <a:extLst>
                <a:ext uri="{FF2B5EF4-FFF2-40B4-BE49-F238E27FC236}">
                  <a16:creationId xmlns:a16="http://schemas.microsoft.com/office/drawing/2014/main" id="{C08742D0-F179-420E-CCC7-741684E321FE}"/>
                </a:ext>
              </a:extLst>
            </p:cNvPr>
            <p:cNvSpPr>
              <a:spLocks noEditPoints="1"/>
            </p:cNvSpPr>
            <p:nvPr/>
          </p:nvSpPr>
          <p:spPr bwMode="auto">
            <a:xfrm>
              <a:off x="5038725" y="1928813"/>
              <a:ext cx="52388" cy="120650"/>
            </a:xfrm>
            <a:custGeom>
              <a:avLst/>
              <a:gdLst>
                <a:gd name="T0" fmla="*/ 199 w 231"/>
                <a:gd name="T1" fmla="*/ 530 h 530"/>
                <a:gd name="T2" fmla="*/ 187 w 231"/>
                <a:gd name="T3" fmla="*/ 528 h 530"/>
                <a:gd name="T4" fmla="*/ 178 w 231"/>
                <a:gd name="T5" fmla="*/ 523 h 530"/>
                <a:gd name="T6" fmla="*/ 161 w 231"/>
                <a:gd name="T7" fmla="*/ 509 h 530"/>
                <a:gd name="T8" fmla="*/ 132 w 231"/>
                <a:gd name="T9" fmla="*/ 481 h 530"/>
                <a:gd name="T10" fmla="*/ 107 w 231"/>
                <a:gd name="T11" fmla="*/ 453 h 530"/>
                <a:gd name="T12" fmla="*/ 85 w 231"/>
                <a:gd name="T13" fmla="*/ 425 h 530"/>
                <a:gd name="T14" fmla="*/ 66 w 231"/>
                <a:gd name="T15" fmla="*/ 395 h 530"/>
                <a:gd name="T16" fmla="*/ 50 w 231"/>
                <a:gd name="T17" fmla="*/ 365 h 530"/>
                <a:gd name="T18" fmla="*/ 37 w 231"/>
                <a:gd name="T19" fmla="*/ 335 h 530"/>
                <a:gd name="T20" fmla="*/ 22 w 231"/>
                <a:gd name="T21" fmla="*/ 289 h 530"/>
                <a:gd name="T22" fmla="*/ 9 w 231"/>
                <a:gd name="T23" fmla="*/ 226 h 530"/>
                <a:gd name="T24" fmla="*/ 3 w 231"/>
                <a:gd name="T25" fmla="*/ 163 h 530"/>
                <a:gd name="T26" fmla="*/ 0 w 231"/>
                <a:gd name="T27" fmla="*/ 97 h 530"/>
                <a:gd name="T28" fmla="*/ 0 w 231"/>
                <a:gd name="T29" fmla="*/ 33 h 530"/>
                <a:gd name="T30" fmla="*/ 1 w 231"/>
                <a:gd name="T31" fmla="*/ 24 h 530"/>
                <a:gd name="T32" fmla="*/ 6 w 231"/>
                <a:gd name="T33" fmla="*/ 15 h 530"/>
                <a:gd name="T34" fmla="*/ 12 w 231"/>
                <a:gd name="T35" fmla="*/ 7 h 530"/>
                <a:gd name="T36" fmla="*/ 22 w 231"/>
                <a:gd name="T37" fmla="*/ 2 h 530"/>
                <a:gd name="T38" fmla="*/ 27 w 231"/>
                <a:gd name="T39" fmla="*/ 1 h 530"/>
                <a:gd name="T40" fmla="*/ 36 w 231"/>
                <a:gd name="T41" fmla="*/ 1 h 530"/>
                <a:gd name="T42" fmla="*/ 46 w 231"/>
                <a:gd name="T43" fmla="*/ 3 h 530"/>
                <a:gd name="T44" fmla="*/ 55 w 231"/>
                <a:gd name="T45" fmla="*/ 8 h 530"/>
                <a:gd name="T46" fmla="*/ 223 w 231"/>
                <a:gd name="T47" fmla="*/ 210 h 530"/>
                <a:gd name="T48" fmla="*/ 227 w 231"/>
                <a:gd name="T49" fmla="*/ 215 h 530"/>
                <a:gd name="T50" fmla="*/ 231 w 231"/>
                <a:gd name="T51" fmla="*/ 226 h 530"/>
                <a:gd name="T52" fmla="*/ 231 w 231"/>
                <a:gd name="T53" fmla="*/ 497 h 530"/>
                <a:gd name="T54" fmla="*/ 231 w 231"/>
                <a:gd name="T55" fmla="*/ 501 h 530"/>
                <a:gd name="T56" fmla="*/ 229 w 231"/>
                <a:gd name="T57" fmla="*/ 510 h 530"/>
                <a:gd name="T58" fmla="*/ 223 w 231"/>
                <a:gd name="T59" fmla="*/ 518 h 530"/>
                <a:gd name="T60" fmla="*/ 216 w 231"/>
                <a:gd name="T61" fmla="*/ 524 h 530"/>
                <a:gd name="T62" fmla="*/ 212 w 231"/>
                <a:gd name="T63" fmla="*/ 526 h 530"/>
                <a:gd name="T64" fmla="*/ 199 w 231"/>
                <a:gd name="T65" fmla="*/ 530 h 530"/>
                <a:gd name="T66" fmla="*/ 67 w 231"/>
                <a:gd name="T67" fmla="*/ 126 h 530"/>
                <a:gd name="T68" fmla="*/ 69 w 231"/>
                <a:gd name="T69" fmla="*/ 166 h 530"/>
                <a:gd name="T70" fmla="*/ 75 w 231"/>
                <a:gd name="T71" fmla="*/ 224 h 530"/>
                <a:gd name="T72" fmla="*/ 84 w 231"/>
                <a:gd name="T73" fmla="*/ 262 h 530"/>
                <a:gd name="T74" fmla="*/ 94 w 231"/>
                <a:gd name="T75" fmla="*/ 298 h 530"/>
                <a:gd name="T76" fmla="*/ 109 w 231"/>
                <a:gd name="T77" fmla="*/ 334 h 530"/>
                <a:gd name="T78" fmla="*/ 127 w 231"/>
                <a:gd name="T79" fmla="*/ 370 h 530"/>
                <a:gd name="T80" fmla="*/ 151 w 231"/>
                <a:gd name="T81" fmla="*/ 404 h 530"/>
                <a:gd name="T82" fmla="*/ 166 w 231"/>
                <a:gd name="T83" fmla="*/ 244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1" h="530">
                  <a:moveTo>
                    <a:pt x="199" y="530"/>
                  </a:moveTo>
                  <a:lnTo>
                    <a:pt x="199" y="530"/>
                  </a:lnTo>
                  <a:lnTo>
                    <a:pt x="192" y="529"/>
                  </a:lnTo>
                  <a:lnTo>
                    <a:pt x="187" y="528"/>
                  </a:lnTo>
                  <a:lnTo>
                    <a:pt x="182" y="526"/>
                  </a:lnTo>
                  <a:lnTo>
                    <a:pt x="178" y="523"/>
                  </a:lnTo>
                  <a:lnTo>
                    <a:pt x="178" y="523"/>
                  </a:lnTo>
                  <a:lnTo>
                    <a:pt x="161" y="509"/>
                  </a:lnTo>
                  <a:lnTo>
                    <a:pt x="146" y="496"/>
                  </a:lnTo>
                  <a:lnTo>
                    <a:pt x="132" y="481"/>
                  </a:lnTo>
                  <a:lnTo>
                    <a:pt x="119" y="468"/>
                  </a:lnTo>
                  <a:lnTo>
                    <a:pt x="107" y="453"/>
                  </a:lnTo>
                  <a:lnTo>
                    <a:pt x="95" y="440"/>
                  </a:lnTo>
                  <a:lnTo>
                    <a:pt x="85" y="425"/>
                  </a:lnTo>
                  <a:lnTo>
                    <a:pt x="74" y="410"/>
                  </a:lnTo>
                  <a:lnTo>
                    <a:pt x="66" y="395"/>
                  </a:lnTo>
                  <a:lnTo>
                    <a:pt x="58" y="381"/>
                  </a:lnTo>
                  <a:lnTo>
                    <a:pt x="50" y="365"/>
                  </a:lnTo>
                  <a:lnTo>
                    <a:pt x="43" y="351"/>
                  </a:lnTo>
                  <a:lnTo>
                    <a:pt x="37" y="335"/>
                  </a:lnTo>
                  <a:lnTo>
                    <a:pt x="31" y="320"/>
                  </a:lnTo>
                  <a:lnTo>
                    <a:pt x="22" y="289"/>
                  </a:lnTo>
                  <a:lnTo>
                    <a:pt x="14" y="258"/>
                  </a:lnTo>
                  <a:lnTo>
                    <a:pt x="9" y="226"/>
                  </a:lnTo>
                  <a:lnTo>
                    <a:pt x="5" y="195"/>
                  </a:lnTo>
                  <a:lnTo>
                    <a:pt x="3" y="163"/>
                  </a:lnTo>
                  <a:lnTo>
                    <a:pt x="1" y="129"/>
                  </a:lnTo>
                  <a:lnTo>
                    <a:pt x="0" y="97"/>
                  </a:lnTo>
                  <a:lnTo>
                    <a:pt x="0" y="33"/>
                  </a:lnTo>
                  <a:lnTo>
                    <a:pt x="0" y="33"/>
                  </a:lnTo>
                  <a:lnTo>
                    <a:pt x="0" y="28"/>
                  </a:lnTo>
                  <a:lnTo>
                    <a:pt x="1" y="24"/>
                  </a:lnTo>
                  <a:lnTo>
                    <a:pt x="3" y="19"/>
                  </a:lnTo>
                  <a:lnTo>
                    <a:pt x="6" y="15"/>
                  </a:lnTo>
                  <a:lnTo>
                    <a:pt x="9" y="10"/>
                  </a:lnTo>
                  <a:lnTo>
                    <a:pt x="12" y="7"/>
                  </a:lnTo>
                  <a:lnTo>
                    <a:pt x="16" y="4"/>
                  </a:lnTo>
                  <a:lnTo>
                    <a:pt x="22" y="2"/>
                  </a:lnTo>
                  <a:lnTo>
                    <a:pt x="22" y="2"/>
                  </a:lnTo>
                  <a:lnTo>
                    <a:pt x="27" y="1"/>
                  </a:lnTo>
                  <a:lnTo>
                    <a:pt x="32" y="0"/>
                  </a:lnTo>
                  <a:lnTo>
                    <a:pt x="36" y="1"/>
                  </a:lnTo>
                  <a:lnTo>
                    <a:pt x="41" y="1"/>
                  </a:lnTo>
                  <a:lnTo>
                    <a:pt x="46" y="3"/>
                  </a:lnTo>
                  <a:lnTo>
                    <a:pt x="51" y="5"/>
                  </a:lnTo>
                  <a:lnTo>
                    <a:pt x="55" y="8"/>
                  </a:lnTo>
                  <a:lnTo>
                    <a:pt x="58" y="13"/>
                  </a:lnTo>
                  <a:lnTo>
                    <a:pt x="223" y="210"/>
                  </a:lnTo>
                  <a:lnTo>
                    <a:pt x="223" y="210"/>
                  </a:lnTo>
                  <a:lnTo>
                    <a:pt x="227" y="215"/>
                  </a:lnTo>
                  <a:lnTo>
                    <a:pt x="230" y="221"/>
                  </a:lnTo>
                  <a:lnTo>
                    <a:pt x="231" y="226"/>
                  </a:lnTo>
                  <a:lnTo>
                    <a:pt x="231" y="232"/>
                  </a:lnTo>
                  <a:lnTo>
                    <a:pt x="231" y="497"/>
                  </a:lnTo>
                  <a:lnTo>
                    <a:pt x="231" y="497"/>
                  </a:lnTo>
                  <a:lnTo>
                    <a:pt x="231" y="501"/>
                  </a:lnTo>
                  <a:lnTo>
                    <a:pt x="230" y="505"/>
                  </a:lnTo>
                  <a:lnTo>
                    <a:pt x="229" y="510"/>
                  </a:lnTo>
                  <a:lnTo>
                    <a:pt x="227" y="514"/>
                  </a:lnTo>
                  <a:lnTo>
                    <a:pt x="223" y="518"/>
                  </a:lnTo>
                  <a:lnTo>
                    <a:pt x="220" y="521"/>
                  </a:lnTo>
                  <a:lnTo>
                    <a:pt x="216" y="524"/>
                  </a:lnTo>
                  <a:lnTo>
                    <a:pt x="212" y="526"/>
                  </a:lnTo>
                  <a:lnTo>
                    <a:pt x="212" y="526"/>
                  </a:lnTo>
                  <a:lnTo>
                    <a:pt x="206" y="529"/>
                  </a:lnTo>
                  <a:lnTo>
                    <a:pt x="199" y="530"/>
                  </a:lnTo>
                  <a:lnTo>
                    <a:pt x="199" y="530"/>
                  </a:lnTo>
                  <a:close/>
                  <a:moveTo>
                    <a:pt x="67" y="126"/>
                  </a:moveTo>
                  <a:lnTo>
                    <a:pt x="67" y="126"/>
                  </a:lnTo>
                  <a:lnTo>
                    <a:pt x="69" y="166"/>
                  </a:lnTo>
                  <a:lnTo>
                    <a:pt x="73" y="205"/>
                  </a:lnTo>
                  <a:lnTo>
                    <a:pt x="75" y="224"/>
                  </a:lnTo>
                  <a:lnTo>
                    <a:pt x="80" y="243"/>
                  </a:lnTo>
                  <a:lnTo>
                    <a:pt x="84" y="262"/>
                  </a:lnTo>
                  <a:lnTo>
                    <a:pt x="89" y="281"/>
                  </a:lnTo>
                  <a:lnTo>
                    <a:pt x="94" y="298"/>
                  </a:lnTo>
                  <a:lnTo>
                    <a:pt x="101" y="317"/>
                  </a:lnTo>
                  <a:lnTo>
                    <a:pt x="109" y="334"/>
                  </a:lnTo>
                  <a:lnTo>
                    <a:pt x="118" y="352"/>
                  </a:lnTo>
                  <a:lnTo>
                    <a:pt x="127" y="370"/>
                  </a:lnTo>
                  <a:lnTo>
                    <a:pt x="139" y="387"/>
                  </a:lnTo>
                  <a:lnTo>
                    <a:pt x="151" y="404"/>
                  </a:lnTo>
                  <a:lnTo>
                    <a:pt x="166" y="420"/>
                  </a:lnTo>
                  <a:lnTo>
                    <a:pt x="166" y="244"/>
                  </a:lnTo>
                  <a:lnTo>
                    <a:pt x="67"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5" name="Freeform 199">
              <a:extLst>
                <a:ext uri="{FF2B5EF4-FFF2-40B4-BE49-F238E27FC236}">
                  <a16:creationId xmlns:a16="http://schemas.microsoft.com/office/drawing/2014/main" id="{EA92C3BD-12BF-C65E-F814-21788CDF6DA2}"/>
                </a:ext>
              </a:extLst>
            </p:cNvPr>
            <p:cNvSpPr>
              <a:spLocks noEditPoints="1"/>
            </p:cNvSpPr>
            <p:nvPr/>
          </p:nvSpPr>
          <p:spPr bwMode="auto">
            <a:xfrm>
              <a:off x="5038725" y="2041525"/>
              <a:ext cx="52388" cy="120650"/>
            </a:xfrm>
            <a:custGeom>
              <a:avLst/>
              <a:gdLst>
                <a:gd name="T0" fmla="*/ 199 w 231"/>
                <a:gd name="T1" fmla="*/ 529 h 529"/>
                <a:gd name="T2" fmla="*/ 187 w 231"/>
                <a:gd name="T3" fmla="*/ 527 h 529"/>
                <a:gd name="T4" fmla="*/ 178 w 231"/>
                <a:gd name="T5" fmla="*/ 522 h 529"/>
                <a:gd name="T6" fmla="*/ 161 w 231"/>
                <a:gd name="T7" fmla="*/ 508 h 529"/>
                <a:gd name="T8" fmla="*/ 132 w 231"/>
                <a:gd name="T9" fmla="*/ 481 h 529"/>
                <a:gd name="T10" fmla="*/ 107 w 231"/>
                <a:gd name="T11" fmla="*/ 453 h 529"/>
                <a:gd name="T12" fmla="*/ 85 w 231"/>
                <a:gd name="T13" fmla="*/ 424 h 529"/>
                <a:gd name="T14" fmla="*/ 66 w 231"/>
                <a:gd name="T15" fmla="*/ 395 h 529"/>
                <a:gd name="T16" fmla="*/ 50 w 231"/>
                <a:gd name="T17" fmla="*/ 365 h 529"/>
                <a:gd name="T18" fmla="*/ 37 w 231"/>
                <a:gd name="T19" fmla="*/ 334 h 529"/>
                <a:gd name="T20" fmla="*/ 22 w 231"/>
                <a:gd name="T21" fmla="*/ 288 h 529"/>
                <a:gd name="T22" fmla="*/ 9 w 231"/>
                <a:gd name="T23" fmla="*/ 226 h 529"/>
                <a:gd name="T24" fmla="*/ 3 w 231"/>
                <a:gd name="T25" fmla="*/ 161 h 529"/>
                <a:gd name="T26" fmla="*/ 0 w 231"/>
                <a:gd name="T27" fmla="*/ 97 h 529"/>
                <a:gd name="T28" fmla="*/ 0 w 231"/>
                <a:gd name="T29" fmla="*/ 33 h 529"/>
                <a:gd name="T30" fmla="*/ 1 w 231"/>
                <a:gd name="T31" fmla="*/ 23 h 529"/>
                <a:gd name="T32" fmla="*/ 6 w 231"/>
                <a:gd name="T33" fmla="*/ 13 h 529"/>
                <a:gd name="T34" fmla="*/ 12 w 231"/>
                <a:gd name="T35" fmla="*/ 6 h 529"/>
                <a:gd name="T36" fmla="*/ 22 w 231"/>
                <a:gd name="T37" fmla="*/ 1 h 529"/>
                <a:gd name="T38" fmla="*/ 27 w 231"/>
                <a:gd name="T39" fmla="*/ 0 h 529"/>
                <a:gd name="T40" fmla="*/ 36 w 231"/>
                <a:gd name="T41" fmla="*/ 0 h 529"/>
                <a:gd name="T42" fmla="*/ 46 w 231"/>
                <a:gd name="T43" fmla="*/ 2 h 529"/>
                <a:gd name="T44" fmla="*/ 55 w 231"/>
                <a:gd name="T45" fmla="*/ 7 h 529"/>
                <a:gd name="T46" fmla="*/ 223 w 231"/>
                <a:gd name="T47" fmla="*/ 210 h 529"/>
                <a:gd name="T48" fmla="*/ 227 w 231"/>
                <a:gd name="T49" fmla="*/ 214 h 529"/>
                <a:gd name="T50" fmla="*/ 231 w 231"/>
                <a:gd name="T51" fmla="*/ 226 h 529"/>
                <a:gd name="T52" fmla="*/ 231 w 231"/>
                <a:gd name="T53" fmla="*/ 496 h 529"/>
                <a:gd name="T54" fmla="*/ 231 w 231"/>
                <a:gd name="T55" fmla="*/ 500 h 529"/>
                <a:gd name="T56" fmla="*/ 229 w 231"/>
                <a:gd name="T57" fmla="*/ 509 h 529"/>
                <a:gd name="T58" fmla="*/ 223 w 231"/>
                <a:gd name="T59" fmla="*/ 516 h 529"/>
                <a:gd name="T60" fmla="*/ 216 w 231"/>
                <a:gd name="T61" fmla="*/ 523 h 529"/>
                <a:gd name="T62" fmla="*/ 212 w 231"/>
                <a:gd name="T63" fmla="*/ 526 h 529"/>
                <a:gd name="T64" fmla="*/ 199 w 231"/>
                <a:gd name="T65" fmla="*/ 529 h 529"/>
                <a:gd name="T66" fmla="*/ 67 w 231"/>
                <a:gd name="T67" fmla="*/ 125 h 529"/>
                <a:gd name="T68" fmla="*/ 69 w 231"/>
                <a:gd name="T69" fmla="*/ 164 h 529"/>
                <a:gd name="T70" fmla="*/ 75 w 231"/>
                <a:gd name="T71" fmla="*/ 222 h 529"/>
                <a:gd name="T72" fmla="*/ 84 w 231"/>
                <a:gd name="T73" fmla="*/ 261 h 529"/>
                <a:gd name="T74" fmla="*/ 94 w 231"/>
                <a:gd name="T75" fmla="*/ 298 h 529"/>
                <a:gd name="T76" fmla="*/ 109 w 231"/>
                <a:gd name="T77" fmla="*/ 334 h 529"/>
                <a:gd name="T78" fmla="*/ 127 w 231"/>
                <a:gd name="T79" fmla="*/ 368 h 529"/>
                <a:gd name="T80" fmla="*/ 151 w 231"/>
                <a:gd name="T81" fmla="*/ 403 h 529"/>
                <a:gd name="T82" fmla="*/ 166 w 231"/>
                <a:gd name="T83" fmla="*/ 243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1" h="529">
                  <a:moveTo>
                    <a:pt x="199" y="529"/>
                  </a:moveTo>
                  <a:lnTo>
                    <a:pt x="199" y="529"/>
                  </a:lnTo>
                  <a:lnTo>
                    <a:pt x="192" y="528"/>
                  </a:lnTo>
                  <a:lnTo>
                    <a:pt x="187" y="527"/>
                  </a:lnTo>
                  <a:lnTo>
                    <a:pt x="182" y="525"/>
                  </a:lnTo>
                  <a:lnTo>
                    <a:pt x="178" y="522"/>
                  </a:lnTo>
                  <a:lnTo>
                    <a:pt x="178" y="522"/>
                  </a:lnTo>
                  <a:lnTo>
                    <a:pt x="161" y="508"/>
                  </a:lnTo>
                  <a:lnTo>
                    <a:pt x="146" y="495"/>
                  </a:lnTo>
                  <a:lnTo>
                    <a:pt x="132" y="481"/>
                  </a:lnTo>
                  <a:lnTo>
                    <a:pt x="119" y="467"/>
                  </a:lnTo>
                  <a:lnTo>
                    <a:pt x="107" y="453"/>
                  </a:lnTo>
                  <a:lnTo>
                    <a:pt x="95" y="439"/>
                  </a:lnTo>
                  <a:lnTo>
                    <a:pt x="85" y="424"/>
                  </a:lnTo>
                  <a:lnTo>
                    <a:pt x="74" y="410"/>
                  </a:lnTo>
                  <a:lnTo>
                    <a:pt x="66" y="395"/>
                  </a:lnTo>
                  <a:lnTo>
                    <a:pt x="58" y="380"/>
                  </a:lnTo>
                  <a:lnTo>
                    <a:pt x="50" y="365"/>
                  </a:lnTo>
                  <a:lnTo>
                    <a:pt x="43" y="350"/>
                  </a:lnTo>
                  <a:lnTo>
                    <a:pt x="37" y="334"/>
                  </a:lnTo>
                  <a:lnTo>
                    <a:pt x="31" y="319"/>
                  </a:lnTo>
                  <a:lnTo>
                    <a:pt x="22" y="288"/>
                  </a:lnTo>
                  <a:lnTo>
                    <a:pt x="14" y="257"/>
                  </a:lnTo>
                  <a:lnTo>
                    <a:pt x="9" y="226"/>
                  </a:lnTo>
                  <a:lnTo>
                    <a:pt x="5" y="193"/>
                  </a:lnTo>
                  <a:lnTo>
                    <a:pt x="3" y="161"/>
                  </a:lnTo>
                  <a:lnTo>
                    <a:pt x="1" y="129"/>
                  </a:lnTo>
                  <a:lnTo>
                    <a:pt x="0" y="97"/>
                  </a:lnTo>
                  <a:lnTo>
                    <a:pt x="0" y="33"/>
                  </a:lnTo>
                  <a:lnTo>
                    <a:pt x="0" y="33"/>
                  </a:lnTo>
                  <a:lnTo>
                    <a:pt x="0" y="28"/>
                  </a:lnTo>
                  <a:lnTo>
                    <a:pt x="1" y="23"/>
                  </a:lnTo>
                  <a:lnTo>
                    <a:pt x="3" y="18"/>
                  </a:lnTo>
                  <a:lnTo>
                    <a:pt x="6" y="13"/>
                  </a:lnTo>
                  <a:lnTo>
                    <a:pt x="9" y="9"/>
                  </a:lnTo>
                  <a:lnTo>
                    <a:pt x="12" y="6"/>
                  </a:lnTo>
                  <a:lnTo>
                    <a:pt x="16" y="4"/>
                  </a:lnTo>
                  <a:lnTo>
                    <a:pt x="22" y="1"/>
                  </a:lnTo>
                  <a:lnTo>
                    <a:pt x="22" y="1"/>
                  </a:lnTo>
                  <a:lnTo>
                    <a:pt x="27" y="0"/>
                  </a:lnTo>
                  <a:lnTo>
                    <a:pt x="32" y="0"/>
                  </a:lnTo>
                  <a:lnTo>
                    <a:pt x="36" y="0"/>
                  </a:lnTo>
                  <a:lnTo>
                    <a:pt x="41" y="1"/>
                  </a:lnTo>
                  <a:lnTo>
                    <a:pt x="46" y="2"/>
                  </a:lnTo>
                  <a:lnTo>
                    <a:pt x="51" y="5"/>
                  </a:lnTo>
                  <a:lnTo>
                    <a:pt x="55" y="7"/>
                  </a:lnTo>
                  <a:lnTo>
                    <a:pt x="58" y="11"/>
                  </a:lnTo>
                  <a:lnTo>
                    <a:pt x="223" y="210"/>
                  </a:lnTo>
                  <a:lnTo>
                    <a:pt x="223" y="210"/>
                  </a:lnTo>
                  <a:lnTo>
                    <a:pt x="227" y="214"/>
                  </a:lnTo>
                  <a:lnTo>
                    <a:pt x="230" y="219"/>
                  </a:lnTo>
                  <a:lnTo>
                    <a:pt x="231" y="226"/>
                  </a:lnTo>
                  <a:lnTo>
                    <a:pt x="231" y="231"/>
                  </a:lnTo>
                  <a:lnTo>
                    <a:pt x="231" y="496"/>
                  </a:lnTo>
                  <a:lnTo>
                    <a:pt x="231" y="496"/>
                  </a:lnTo>
                  <a:lnTo>
                    <a:pt x="231" y="500"/>
                  </a:lnTo>
                  <a:lnTo>
                    <a:pt x="230" y="505"/>
                  </a:lnTo>
                  <a:lnTo>
                    <a:pt x="229" y="509"/>
                  </a:lnTo>
                  <a:lnTo>
                    <a:pt x="227" y="513"/>
                  </a:lnTo>
                  <a:lnTo>
                    <a:pt x="223" y="516"/>
                  </a:lnTo>
                  <a:lnTo>
                    <a:pt x="220" y="521"/>
                  </a:lnTo>
                  <a:lnTo>
                    <a:pt x="216" y="523"/>
                  </a:lnTo>
                  <a:lnTo>
                    <a:pt x="212" y="526"/>
                  </a:lnTo>
                  <a:lnTo>
                    <a:pt x="212" y="526"/>
                  </a:lnTo>
                  <a:lnTo>
                    <a:pt x="206" y="528"/>
                  </a:lnTo>
                  <a:lnTo>
                    <a:pt x="199" y="529"/>
                  </a:lnTo>
                  <a:lnTo>
                    <a:pt x="199" y="529"/>
                  </a:lnTo>
                  <a:close/>
                  <a:moveTo>
                    <a:pt x="67" y="125"/>
                  </a:moveTo>
                  <a:lnTo>
                    <a:pt x="67" y="125"/>
                  </a:lnTo>
                  <a:lnTo>
                    <a:pt x="69" y="164"/>
                  </a:lnTo>
                  <a:lnTo>
                    <a:pt x="73" y="204"/>
                  </a:lnTo>
                  <a:lnTo>
                    <a:pt x="75" y="222"/>
                  </a:lnTo>
                  <a:lnTo>
                    <a:pt x="80" y="242"/>
                  </a:lnTo>
                  <a:lnTo>
                    <a:pt x="84" y="261"/>
                  </a:lnTo>
                  <a:lnTo>
                    <a:pt x="89" y="279"/>
                  </a:lnTo>
                  <a:lnTo>
                    <a:pt x="94" y="298"/>
                  </a:lnTo>
                  <a:lnTo>
                    <a:pt x="101" y="316"/>
                  </a:lnTo>
                  <a:lnTo>
                    <a:pt x="109" y="334"/>
                  </a:lnTo>
                  <a:lnTo>
                    <a:pt x="118" y="352"/>
                  </a:lnTo>
                  <a:lnTo>
                    <a:pt x="127" y="368"/>
                  </a:lnTo>
                  <a:lnTo>
                    <a:pt x="139" y="386"/>
                  </a:lnTo>
                  <a:lnTo>
                    <a:pt x="151" y="403"/>
                  </a:lnTo>
                  <a:lnTo>
                    <a:pt x="166" y="419"/>
                  </a:lnTo>
                  <a:lnTo>
                    <a:pt x="166" y="243"/>
                  </a:lnTo>
                  <a:lnTo>
                    <a:pt x="67"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6" name="Freeform 200">
              <a:extLst>
                <a:ext uri="{FF2B5EF4-FFF2-40B4-BE49-F238E27FC236}">
                  <a16:creationId xmlns:a16="http://schemas.microsoft.com/office/drawing/2014/main" id="{11D4A23A-ADAA-6C84-023F-CF660F18006F}"/>
                </a:ext>
              </a:extLst>
            </p:cNvPr>
            <p:cNvSpPr>
              <a:spLocks noEditPoints="1"/>
            </p:cNvSpPr>
            <p:nvPr/>
          </p:nvSpPr>
          <p:spPr bwMode="auto">
            <a:xfrm>
              <a:off x="5135563" y="1816100"/>
              <a:ext cx="52388" cy="120650"/>
            </a:xfrm>
            <a:custGeom>
              <a:avLst/>
              <a:gdLst>
                <a:gd name="T0" fmla="*/ 34 w 232"/>
                <a:gd name="T1" fmla="*/ 529 h 529"/>
                <a:gd name="T2" fmla="*/ 19 w 232"/>
                <a:gd name="T3" fmla="*/ 526 h 529"/>
                <a:gd name="T4" fmla="*/ 15 w 232"/>
                <a:gd name="T5" fmla="*/ 524 h 529"/>
                <a:gd name="T6" fmla="*/ 9 w 232"/>
                <a:gd name="T7" fmla="*/ 518 h 529"/>
                <a:gd name="T8" fmla="*/ 4 w 232"/>
                <a:gd name="T9" fmla="*/ 510 h 529"/>
                <a:gd name="T10" fmla="*/ 1 w 232"/>
                <a:gd name="T11" fmla="*/ 501 h 529"/>
                <a:gd name="T12" fmla="*/ 0 w 232"/>
                <a:gd name="T13" fmla="*/ 232 h 529"/>
                <a:gd name="T14" fmla="*/ 1 w 232"/>
                <a:gd name="T15" fmla="*/ 226 h 529"/>
                <a:gd name="T16" fmla="*/ 5 w 232"/>
                <a:gd name="T17" fmla="*/ 216 h 529"/>
                <a:gd name="T18" fmla="*/ 173 w 232"/>
                <a:gd name="T19" fmla="*/ 12 h 529"/>
                <a:gd name="T20" fmla="*/ 177 w 232"/>
                <a:gd name="T21" fmla="*/ 9 h 529"/>
                <a:gd name="T22" fmla="*/ 186 w 232"/>
                <a:gd name="T23" fmla="*/ 3 h 529"/>
                <a:gd name="T24" fmla="*/ 195 w 232"/>
                <a:gd name="T25" fmla="*/ 0 h 529"/>
                <a:gd name="T26" fmla="*/ 205 w 232"/>
                <a:gd name="T27" fmla="*/ 1 h 529"/>
                <a:gd name="T28" fmla="*/ 210 w 232"/>
                <a:gd name="T29" fmla="*/ 2 h 529"/>
                <a:gd name="T30" fmla="*/ 219 w 232"/>
                <a:gd name="T31" fmla="*/ 8 h 529"/>
                <a:gd name="T32" fmla="*/ 226 w 232"/>
                <a:gd name="T33" fmla="*/ 15 h 529"/>
                <a:gd name="T34" fmla="*/ 230 w 232"/>
                <a:gd name="T35" fmla="*/ 23 h 529"/>
                <a:gd name="T36" fmla="*/ 232 w 232"/>
                <a:gd name="T37" fmla="*/ 33 h 529"/>
                <a:gd name="T38" fmla="*/ 232 w 232"/>
                <a:gd name="T39" fmla="*/ 98 h 529"/>
                <a:gd name="T40" fmla="*/ 229 w 232"/>
                <a:gd name="T41" fmla="*/ 162 h 529"/>
                <a:gd name="T42" fmla="*/ 223 w 232"/>
                <a:gd name="T43" fmla="*/ 226 h 529"/>
                <a:gd name="T44" fmla="*/ 209 w 232"/>
                <a:gd name="T45" fmla="*/ 289 h 529"/>
                <a:gd name="T46" fmla="*/ 195 w 232"/>
                <a:gd name="T47" fmla="*/ 336 h 529"/>
                <a:gd name="T48" fmla="*/ 181 w 232"/>
                <a:gd name="T49" fmla="*/ 366 h 529"/>
                <a:gd name="T50" fmla="*/ 166 w 232"/>
                <a:gd name="T51" fmla="*/ 396 h 529"/>
                <a:gd name="T52" fmla="*/ 147 w 232"/>
                <a:gd name="T53" fmla="*/ 425 h 529"/>
                <a:gd name="T54" fmla="*/ 126 w 232"/>
                <a:gd name="T55" fmla="*/ 454 h 529"/>
                <a:gd name="T56" fmla="*/ 100 w 232"/>
                <a:gd name="T57" fmla="*/ 482 h 529"/>
                <a:gd name="T58" fmla="*/ 71 w 232"/>
                <a:gd name="T59" fmla="*/ 508 h 529"/>
                <a:gd name="T60" fmla="*/ 54 w 232"/>
                <a:gd name="T61" fmla="*/ 522 h 529"/>
                <a:gd name="T62" fmla="*/ 45 w 232"/>
                <a:gd name="T63" fmla="*/ 527 h 529"/>
                <a:gd name="T64" fmla="*/ 34 w 232"/>
                <a:gd name="T65" fmla="*/ 529 h 529"/>
                <a:gd name="T66" fmla="*/ 67 w 232"/>
                <a:gd name="T67" fmla="*/ 244 h 529"/>
                <a:gd name="T68" fmla="*/ 67 w 232"/>
                <a:gd name="T69" fmla="*/ 419 h 529"/>
                <a:gd name="T70" fmla="*/ 93 w 232"/>
                <a:gd name="T71" fmla="*/ 386 h 529"/>
                <a:gd name="T72" fmla="*/ 114 w 232"/>
                <a:gd name="T73" fmla="*/ 352 h 529"/>
                <a:gd name="T74" fmla="*/ 131 w 232"/>
                <a:gd name="T75" fmla="*/ 317 h 529"/>
                <a:gd name="T76" fmla="*/ 143 w 232"/>
                <a:gd name="T77" fmla="*/ 280 h 529"/>
                <a:gd name="T78" fmla="*/ 153 w 232"/>
                <a:gd name="T79" fmla="*/ 243 h 529"/>
                <a:gd name="T80" fmla="*/ 159 w 232"/>
                <a:gd name="T81" fmla="*/ 204 h 529"/>
                <a:gd name="T82" fmla="*/ 165 w 232"/>
                <a:gd name="T83" fmla="*/ 1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29">
                  <a:moveTo>
                    <a:pt x="34" y="529"/>
                  </a:moveTo>
                  <a:lnTo>
                    <a:pt x="34" y="529"/>
                  </a:lnTo>
                  <a:lnTo>
                    <a:pt x="26" y="528"/>
                  </a:lnTo>
                  <a:lnTo>
                    <a:pt x="19" y="526"/>
                  </a:lnTo>
                  <a:lnTo>
                    <a:pt x="19" y="526"/>
                  </a:lnTo>
                  <a:lnTo>
                    <a:pt x="15" y="524"/>
                  </a:lnTo>
                  <a:lnTo>
                    <a:pt x="12" y="521"/>
                  </a:lnTo>
                  <a:lnTo>
                    <a:pt x="9" y="518"/>
                  </a:lnTo>
                  <a:lnTo>
                    <a:pt x="6" y="514"/>
                  </a:lnTo>
                  <a:lnTo>
                    <a:pt x="4" y="510"/>
                  </a:lnTo>
                  <a:lnTo>
                    <a:pt x="1" y="505"/>
                  </a:lnTo>
                  <a:lnTo>
                    <a:pt x="1" y="501"/>
                  </a:lnTo>
                  <a:lnTo>
                    <a:pt x="0" y="496"/>
                  </a:lnTo>
                  <a:lnTo>
                    <a:pt x="0" y="232"/>
                  </a:lnTo>
                  <a:lnTo>
                    <a:pt x="0" y="232"/>
                  </a:lnTo>
                  <a:lnTo>
                    <a:pt x="1" y="226"/>
                  </a:lnTo>
                  <a:lnTo>
                    <a:pt x="2" y="221"/>
                  </a:lnTo>
                  <a:lnTo>
                    <a:pt x="5" y="216"/>
                  </a:lnTo>
                  <a:lnTo>
                    <a:pt x="9" y="210"/>
                  </a:lnTo>
                  <a:lnTo>
                    <a:pt x="173" y="12"/>
                  </a:lnTo>
                  <a:lnTo>
                    <a:pt x="173" y="12"/>
                  </a:lnTo>
                  <a:lnTo>
                    <a:pt x="177" y="9"/>
                  </a:lnTo>
                  <a:lnTo>
                    <a:pt x="181" y="6"/>
                  </a:lnTo>
                  <a:lnTo>
                    <a:pt x="186" y="3"/>
                  </a:lnTo>
                  <a:lnTo>
                    <a:pt x="191" y="1"/>
                  </a:lnTo>
                  <a:lnTo>
                    <a:pt x="195" y="0"/>
                  </a:lnTo>
                  <a:lnTo>
                    <a:pt x="200" y="0"/>
                  </a:lnTo>
                  <a:lnTo>
                    <a:pt x="205" y="1"/>
                  </a:lnTo>
                  <a:lnTo>
                    <a:pt x="210" y="2"/>
                  </a:lnTo>
                  <a:lnTo>
                    <a:pt x="210" y="2"/>
                  </a:lnTo>
                  <a:lnTo>
                    <a:pt x="215" y="4"/>
                  </a:lnTo>
                  <a:lnTo>
                    <a:pt x="219" y="8"/>
                  </a:lnTo>
                  <a:lnTo>
                    <a:pt x="223" y="11"/>
                  </a:lnTo>
                  <a:lnTo>
                    <a:pt x="226" y="15"/>
                  </a:lnTo>
                  <a:lnTo>
                    <a:pt x="229" y="19"/>
                  </a:lnTo>
                  <a:lnTo>
                    <a:pt x="230" y="23"/>
                  </a:lnTo>
                  <a:lnTo>
                    <a:pt x="231" y="28"/>
                  </a:lnTo>
                  <a:lnTo>
                    <a:pt x="232" y="33"/>
                  </a:lnTo>
                  <a:lnTo>
                    <a:pt x="232" y="33"/>
                  </a:lnTo>
                  <a:lnTo>
                    <a:pt x="232" y="98"/>
                  </a:lnTo>
                  <a:lnTo>
                    <a:pt x="231" y="130"/>
                  </a:lnTo>
                  <a:lnTo>
                    <a:pt x="229" y="162"/>
                  </a:lnTo>
                  <a:lnTo>
                    <a:pt x="227" y="194"/>
                  </a:lnTo>
                  <a:lnTo>
                    <a:pt x="223" y="226"/>
                  </a:lnTo>
                  <a:lnTo>
                    <a:pt x="217" y="258"/>
                  </a:lnTo>
                  <a:lnTo>
                    <a:pt x="209" y="289"/>
                  </a:lnTo>
                  <a:lnTo>
                    <a:pt x="200" y="320"/>
                  </a:lnTo>
                  <a:lnTo>
                    <a:pt x="195" y="336"/>
                  </a:lnTo>
                  <a:lnTo>
                    <a:pt x="189" y="350"/>
                  </a:lnTo>
                  <a:lnTo>
                    <a:pt x="181" y="366"/>
                  </a:lnTo>
                  <a:lnTo>
                    <a:pt x="174" y="381"/>
                  </a:lnTo>
                  <a:lnTo>
                    <a:pt x="166" y="396"/>
                  </a:lnTo>
                  <a:lnTo>
                    <a:pt x="157" y="410"/>
                  </a:lnTo>
                  <a:lnTo>
                    <a:pt x="147" y="425"/>
                  </a:lnTo>
                  <a:lnTo>
                    <a:pt x="137" y="439"/>
                  </a:lnTo>
                  <a:lnTo>
                    <a:pt x="126" y="454"/>
                  </a:lnTo>
                  <a:lnTo>
                    <a:pt x="113" y="468"/>
                  </a:lnTo>
                  <a:lnTo>
                    <a:pt x="100" y="482"/>
                  </a:lnTo>
                  <a:lnTo>
                    <a:pt x="85" y="495"/>
                  </a:lnTo>
                  <a:lnTo>
                    <a:pt x="71" y="508"/>
                  </a:lnTo>
                  <a:lnTo>
                    <a:pt x="54" y="522"/>
                  </a:lnTo>
                  <a:lnTo>
                    <a:pt x="54" y="522"/>
                  </a:lnTo>
                  <a:lnTo>
                    <a:pt x="49" y="525"/>
                  </a:lnTo>
                  <a:lnTo>
                    <a:pt x="45" y="527"/>
                  </a:lnTo>
                  <a:lnTo>
                    <a:pt x="39" y="529"/>
                  </a:lnTo>
                  <a:lnTo>
                    <a:pt x="34" y="529"/>
                  </a:lnTo>
                  <a:lnTo>
                    <a:pt x="34" y="529"/>
                  </a:lnTo>
                  <a:close/>
                  <a:moveTo>
                    <a:pt x="67" y="244"/>
                  </a:moveTo>
                  <a:lnTo>
                    <a:pt x="67" y="419"/>
                  </a:lnTo>
                  <a:lnTo>
                    <a:pt x="67" y="419"/>
                  </a:lnTo>
                  <a:lnTo>
                    <a:pt x="80" y="404"/>
                  </a:lnTo>
                  <a:lnTo>
                    <a:pt x="93" y="386"/>
                  </a:lnTo>
                  <a:lnTo>
                    <a:pt x="104" y="370"/>
                  </a:lnTo>
                  <a:lnTo>
                    <a:pt x="114" y="352"/>
                  </a:lnTo>
                  <a:lnTo>
                    <a:pt x="123" y="335"/>
                  </a:lnTo>
                  <a:lnTo>
                    <a:pt x="131" y="317"/>
                  </a:lnTo>
                  <a:lnTo>
                    <a:pt x="137" y="298"/>
                  </a:lnTo>
                  <a:lnTo>
                    <a:pt x="143" y="280"/>
                  </a:lnTo>
                  <a:lnTo>
                    <a:pt x="148" y="261"/>
                  </a:lnTo>
                  <a:lnTo>
                    <a:pt x="153" y="243"/>
                  </a:lnTo>
                  <a:lnTo>
                    <a:pt x="156" y="224"/>
                  </a:lnTo>
                  <a:lnTo>
                    <a:pt x="159" y="204"/>
                  </a:lnTo>
                  <a:lnTo>
                    <a:pt x="163" y="166"/>
                  </a:lnTo>
                  <a:lnTo>
                    <a:pt x="165" y="126"/>
                  </a:lnTo>
                  <a:lnTo>
                    <a:pt x="67"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7" name="Freeform 201">
              <a:extLst>
                <a:ext uri="{FF2B5EF4-FFF2-40B4-BE49-F238E27FC236}">
                  <a16:creationId xmlns:a16="http://schemas.microsoft.com/office/drawing/2014/main" id="{3763C599-BD71-D2F4-70F3-91B4D79B77DE}"/>
                </a:ext>
              </a:extLst>
            </p:cNvPr>
            <p:cNvSpPr>
              <a:spLocks noEditPoints="1"/>
            </p:cNvSpPr>
            <p:nvPr/>
          </p:nvSpPr>
          <p:spPr bwMode="auto">
            <a:xfrm>
              <a:off x="5135563" y="1928813"/>
              <a:ext cx="52388" cy="120650"/>
            </a:xfrm>
            <a:custGeom>
              <a:avLst/>
              <a:gdLst>
                <a:gd name="T0" fmla="*/ 34 w 232"/>
                <a:gd name="T1" fmla="*/ 530 h 530"/>
                <a:gd name="T2" fmla="*/ 19 w 232"/>
                <a:gd name="T3" fmla="*/ 526 h 530"/>
                <a:gd name="T4" fmla="*/ 15 w 232"/>
                <a:gd name="T5" fmla="*/ 524 h 530"/>
                <a:gd name="T6" fmla="*/ 9 w 232"/>
                <a:gd name="T7" fmla="*/ 518 h 530"/>
                <a:gd name="T8" fmla="*/ 4 w 232"/>
                <a:gd name="T9" fmla="*/ 510 h 530"/>
                <a:gd name="T10" fmla="*/ 1 w 232"/>
                <a:gd name="T11" fmla="*/ 501 h 530"/>
                <a:gd name="T12" fmla="*/ 0 w 232"/>
                <a:gd name="T13" fmla="*/ 232 h 530"/>
                <a:gd name="T14" fmla="*/ 1 w 232"/>
                <a:gd name="T15" fmla="*/ 226 h 530"/>
                <a:gd name="T16" fmla="*/ 5 w 232"/>
                <a:gd name="T17" fmla="*/ 215 h 530"/>
                <a:gd name="T18" fmla="*/ 173 w 232"/>
                <a:gd name="T19" fmla="*/ 13 h 530"/>
                <a:gd name="T20" fmla="*/ 177 w 232"/>
                <a:gd name="T21" fmla="*/ 8 h 530"/>
                <a:gd name="T22" fmla="*/ 186 w 232"/>
                <a:gd name="T23" fmla="*/ 3 h 530"/>
                <a:gd name="T24" fmla="*/ 195 w 232"/>
                <a:gd name="T25" fmla="*/ 1 h 530"/>
                <a:gd name="T26" fmla="*/ 205 w 232"/>
                <a:gd name="T27" fmla="*/ 1 h 530"/>
                <a:gd name="T28" fmla="*/ 210 w 232"/>
                <a:gd name="T29" fmla="*/ 2 h 530"/>
                <a:gd name="T30" fmla="*/ 219 w 232"/>
                <a:gd name="T31" fmla="*/ 7 h 530"/>
                <a:gd name="T32" fmla="*/ 226 w 232"/>
                <a:gd name="T33" fmla="*/ 15 h 530"/>
                <a:gd name="T34" fmla="*/ 230 w 232"/>
                <a:gd name="T35" fmla="*/ 24 h 530"/>
                <a:gd name="T36" fmla="*/ 232 w 232"/>
                <a:gd name="T37" fmla="*/ 33 h 530"/>
                <a:gd name="T38" fmla="*/ 232 w 232"/>
                <a:gd name="T39" fmla="*/ 97 h 530"/>
                <a:gd name="T40" fmla="*/ 229 w 232"/>
                <a:gd name="T41" fmla="*/ 163 h 530"/>
                <a:gd name="T42" fmla="*/ 223 w 232"/>
                <a:gd name="T43" fmla="*/ 226 h 530"/>
                <a:gd name="T44" fmla="*/ 209 w 232"/>
                <a:gd name="T45" fmla="*/ 289 h 530"/>
                <a:gd name="T46" fmla="*/ 195 w 232"/>
                <a:gd name="T47" fmla="*/ 335 h 530"/>
                <a:gd name="T48" fmla="*/ 181 w 232"/>
                <a:gd name="T49" fmla="*/ 365 h 530"/>
                <a:gd name="T50" fmla="*/ 166 w 232"/>
                <a:gd name="T51" fmla="*/ 395 h 530"/>
                <a:gd name="T52" fmla="*/ 147 w 232"/>
                <a:gd name="T53" fmla="*/ 425 h 530"/>
                <a:gd name="T54" fmla="*/ 126 w 232"/>
                <a:gd name="T55" fmla="*/ 453 h 530"/>
                <a:gd name="T56" fmla="*/ 100 w 232"/>
                <a:gd name="T57" fmla="*/ 481 h 530"/>
                <a:gd name="T58" fmla="*/ 71 w 232"/>
                <a:gd name="T59" fmla="*/ 509 h 530"/>
                <a:gd name="T60" fmla="*/ 54 w 232"/>
                <a:gd name="T61" fmla="*/ 523 h 530"/>
                <a:gd name="T62" fmla="*/ 45 w 232"/>
                <a:gd name="T63" fmla="*/ 528 h 530"/>
                <a:gd name="T64" fmla="*/ 34 w 232"/>
                <a:gd name="T65" fmla="*/ 530 h 530"/>
                <a:gd name="T66" fmla="*/ 67 w 232"/>
                <a:gd name="T67" fmla="*/ 244 h 530"/>
                <a:gd name="T68" fmla="*/ 67 w 232"/>
                <a:gd name="T69" fmla="*/ 420 h 530"/>
                <a:gd name="T70" fmla="*/ 93 w 232"/>
                <a:gd name="T71" fmla="*/ 387 h 530"/>
                <a:gd name="T72" fmla="*/ 114 w 232"/>
                <a:gd name="T73" fmla="*/ 352 h 530"/>
                <a:gd name="T74" fmla="*/ 131 w 232"/>
                <a:gd name="T75" fmla="*/ 317 h 530"/>
                <a:gd name="T76" fmla="*/ 143 w 232"/>
                <a:gd name="T77" fmla="*/ 281 h 530"/>
                <a:gd name="T78" fmla="*/ 153 w 232"/>
                <a:gd name="T79" fmla="*/ 243 h 530"/>
                <a:gd name="T80" fmla="*/ 159 w 232"/>
                <a:gd name="T81" fmla="*/ 205 h 530"/>
                <a:gd name="T82" fmla="*/ 165 w 232"/>
                <a:gd name="T83" fmla="*/ 12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30">
                  <a:moveTo>
                    <a:pt x="34" y="530"/>
                  </a:moveTo>
                  <a:lnTo>
                    <a:pt x="34" y="530"/>
                  </a:lnTo>
                  <a:lnTo>
                    <a:pt x="26" y="529"/>
                  </a:lnTo>
                  <a:lnTo>
                    <a:pt x="19" y="526"/>
                  </a:lnTo>
                  <a:lnTo>
                    <a:pt x="19" y="526"/>
                  </a:lnTo>
                  <a:lnTo>
                    <a:pt x="15" y="524"/>
                  </a:lnTo>
                  <a:lnTo>
                    <a:pt x="12" y="521"/>
                  </a:lnTo>
                  <a:lnTo>
                    <a:pt x="9" y="518"/>
                  </a:lnTo>
                  <a:lnTo>
                    <a:pt x="6" y="514"/>
                  </a:lnTo>
                  <a:lnTo>
                    <a:pt x="4" y="510"/>
                  </a:lnTo>
                  <a:lnTo>
                    <a:pt x="1" y="505"/>
                  </a:lnTo>
                  <a:lnTo>
                    <a:pt x="1" y="501"/>
                  </a:lnTo>
                  <a:lnTo>
                    <a:pt x="0" y="497"/>
                  </a:lnTo>
                  <a:lnTo>
                    <a:pt x="0" y="232"/>
                  </a:lnTo>
                  <a:lnTo>
                    <a:pt x="0" y="232"/>
                  </a:lnTo>
                  <a:lnTo>
                    <a:pt x="1" y="226"/>
                  </a:lnTo>
                  <a:lnTo>
                    <a:pt x="2" y="221"/>
                  </a:lnTo>
                  <a:lnTo>
                    <a:pt x="5" y="215"/>
                  </a:lnTo>
                  <a:lnTo>
                    <a:pt x="9" y="210"/>
                  </a:lnTo>
                  <a:lnTo>
                    <a:pt x="173" y="13"/>
                  </a:lnTo>
                  <a:lnTo>
                    <a:pt x="173" y="13"/>
                  </a:lnTo>
                  <a:lnTo>
                    <a:pt x="177" y="8"/>
                  </a:lnTo>
                  <a:lnTo>
                    <a:pt x="181" y="5"/>
                  </a:lnTo>
                  <a:lnTo>
                    <a:pt x="186" y="3"/>
                  </a:lnTo>
                  <a:lnTo>
                    <a:pt x="191" y="1"/>
                  </a:lnTo>
                  <a:lnTo>
                    <a:pt x="195" y="1"/>
                  </a:lnTo>
                  <a:lnTo>
                    <a:pt x="200" y="0"/>
                  </a:lnTo>
                  <a:lnTo>
                    <a:pt x="205" y="1"/>
                  </a:lnTo>
                  <a:lnTo>
                    <a:pt x="210" y="2"/>
                  </a:lnTo>
                  <a:lnTo>
                    <a:pt x="210" y="2"/>
                  </a:lnTo>
                  <a:lnTo>
                    <a:pt x="215" y="4"/>
                  </a:lnTo>
                  <a:lnTo>
                    <a:pt x="219" y="7"/>
                  </a:lnTo>
                  <a:lnTo>
                    <a:pt x="223" y="10"/>
                  </a:lnTo>
                  <a:lnTo>
                    <a:pt x="226" y="15"/>
                  </a:lnTo>
                  <a:lnTo>
                    <a:pt x="229" y="19"/>
                  </a:lnTo>
                  <a:lnTo>
                    <a:pt x="230" y="24"/>
                  </a:lnTo>
                  <a:lnTo>
                    <a:pt x="231" y="28"/>
                  </a:lnTo>
                  <a:lnTo>
                    <a:pt x="232" y="33"/>
                  </a:lnTo>
                  <a:lnTo>
                    <a:pt x="232" y="33"/>
                  </a:lnTo>
                  <a:lnTo>
                    <a:pt x="232" y="97"/>
                  </a:lnTo>
                  <a:lnTo>
                    <a:pt x="231" y="129"/>
                  </a:lnTo>
                  <a:lnTo>
                    <a:pt x="229" y="163"/>
                  </a:lnTo>
                  <a:lnTo>
                    <a:pt x="227" y="195"/>
                  </a:lnTo>
                  <a:lnTo>
                    <a:pt x="223" y="226"/>
                  </a:lnTo>
                  <a:lnTo>
                    <a:pt x="217" y="258"/>
                  </a:lnTo>
                  <a:lnTo>
                    <a:pt x="209" y="289"/>
                  </a:lnTo>
                  <a:lnTo>
                    <a:pt x="200" y="320"/>
                  </a:lnTo>
                  <a:lnTo>
                    <a:pt x="195" y="335"/>
                  </a:lnTo>
                  <a:lnTo>
                    <a:pt x="189" y="351"/>
                  </a:lnTo>
                  <a:lnTo>
                    <a:pt x="181" y="365"/>
                  </a:lnTo>
                  <a:lnTo>
                    <a:pt x="174" y="381"/>
                  </a:lnTo>
                  <a:lnTo>
                    <a:pt x="166" y="395"/>
                  </a:lnTo>
                  <a:lnTo>
                    <a:pt x="157" y="410"/>
                  </a:lnTo>
                  <a:lnTo>
                    <a:pt x="147" y="425"/>
                  </a:lnTo>
                  <a:lnTo>
                    <a:pt x="137" y="440"/>
                  </a:lnTo>
                  <a:lnTo>
                    <a:pt x="126" y="453"/>
                  </a:lnTo>
                  <a:lnTo>
                    <a:pt x="113" y="468"/>
                  </a:lnTo>
                  <a:lnTo>
                    <a:pt x="100" y="481"/>
                  </a:lnTo>
                  <a:lnTo>
                    <a:pt x="85" y="496"/>
                  </a:lnTo>
                  <a:lnTo>
                    <a:pt x="71" y="509"/>
                  </a:lnTo>
                  <a:lnTo>
                    <a:pt x="54" y="523"/>
                  </a:lnTo>
                  <a:lnTo>
                    <a:pt x="54" y="523"/>
                  </a:lnTo>
                  <a:lnTo>
                    <a:pt x="49" y="526"/>
                  </a:lnTo>
                  <a:lnTo>
                    <a:pt x="45" y="528"/>
                  </a:lnTo>
                  <a:lnTo>
                    <a:pt x="39" y="529"/>
                  </a:lnTo>
                  <a:lnTo>
                    <a:pt x="34" y="530"/>
                  </a:lnTo>
                  <a:lnTo>
                    <a:pt x="34" y="530"/>
                  </a:lnTo>
                  <a:close/>
                  <a:moveTo>
                    <a:pt x="67" y="244"/>
                  </a:moveTo>
                  <a:lnTo>
                    <a:pt x="67" y="420"/>
                  </a:lnTo>
                  <a:lnTo>
                    <a:pt x="67" y="420"/>
                  </a:lnTo>
                  <a:lnTo>
                    <a:pt x="80" y="404"/>
                  </a:lnTo>
                  <a:lnTo>
                    <a:pt x="93" y="387"/>
                  </a:lnTo>
                  <a:lnTo>
                    <a:pt x="104" y="370"/>
                  </a:lnTo>
                  <a:lnTo>
                    <a:pt x="114" y="352"/>
                  </a:lnTo>
                  <a:lnTo>
                    <a:pt x="123" y="334"/>
                  </a:lnTo>
                  <a:lnTo>
                    <a:pt x="131" y="317"/>
                  </a:lnTo>
                  <a:lnTo>
                    <a:pt x="137" y="298"/>
                  </a:lnTo>
                  <a:lnTo>
                    <a:pt x="143" y="281"/>
                  </a:lnTo>
                  <a:lnTo>
                    <a:pt x="148" y="262"/>
                  </a:lnTo>
                  <a:lnTo>
                    <a:pt x="153" y="243"/>
                  </a:lnTo>
                  <a:lnTo>
                    <a:pt x="156" y="224"/>
                  </a:lnTo>
                  <a:lnTo>
                    <a:pt x="159" y="205"/>
                  </a:lnTo>
                  <a:lnTo>
                    <a:pt x="163" y="166"/>
                  </a:lnTo>
                  <a:lnTo>
                    <a:pt x="165" y="126"/>
                  </a:lnTo>
                  <a:lnTo>
                    <a:pt x="67"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8" name="Freeform 202">
              <a:extLst>
                <a:ext uri="{FF2B5EF4-FFF2-40B4-BE49-F238E27FC236}">
                  <a16:creationId xmlns:a16="http://schemas.microsoft.com/office/drawing/2014/main" id="{612B6B6F-7B76-0C4A-C12C-48DA6D3E416B}"/>
                </a:ext>
              </a:extLst>
            </p:cNvPr>
            <p:cNvSpPr>
              <a:spLocks noEditPoints="1"/>
            </p:cNvSpPr>
            <p:nvPr/>
          </p:nvSpPr>
          <p:spPr bwMode="auto">
            <a:xfrm>
              <a:off x="5135563" y="2041525"/>
              <a:ext cx="52388" cy="120650"/>
            </a:xfrm>
            <a:custGeom>
              <a:avLst/>
              <a:gdLst>
                <a:gd name="T0" fmla="*/ 34 w 232"/>
                <a:gd name="T1" fmla="*/ 529 h 529"/>
                <a:gd name="T2" fmla="*/ 19 w 232"/>
                <a:gd name="T3" fmla="*/ 526 h 529"/>
                <a:gd name="T4" fmla="*/ 15 w 232"/>
                <a:gd name="T5" fmla="*/ 523 h 529"/>
                <a:gd name="T6" fmla="*/ 9 w 232"/>
                <a:gd name="T7" fmla="*/ 516 h 529"/>
                <a:gd name="T8" fmla="*/ 4 w 232"/>
                <a:gd name="T9" fmla="*/ 509 h 529"/>
                <a:gd name="T10" fmla="*/ 1 w 232"/>
                <a:gd name="T11" fmla="*/ 500 h 529"/>
                <a:gd name="T12" fmla="*/ 0 w 232"/>
                <a:gd name="T13" fmla="*/ 231 h 529"/>
                <a:gd name="T14" fmla="*/ 1 w 232"/>
                <a:gd name="T15" fmla="*/ 226 h 529"/>
                <a:gd name="T16" fmla="*/ 5 w 232"/>
                <a:gd name="T17" fmla="*/ 214 h 529"/>
                <a:gd name="T18" fmla="*/ 173 w 232"/>
                <a:gd name="T19" fmla="*/ 11 h 529"/>
                <a:gd name="T20" fmla="*/ 177 w 232"/>
                <a:gd name="T21" fmla="*/ 7 h 529"/>
                <a:gd name="T22" fmla="*/ 186 w 232"/>
                <a:gd name="T23" fmla="*/ 2 h 529"/>
                <a:gd name="T24" fmla="*/ 195 w 232"/>
                <a:gd name="T25" fmla="*/ 0 h 529"/>
                <a:gd name="T26" fmla="*/ 205 w 232"/>
                <a:gd name="T27" fmla="*/ 0 h 529"/>
                <a:gd name="T28" fmla="*/ 210 w 232"/>
                <a:gd name="T29" fmla="*/ 1 h 529"/>
                <a:gd name="T30" fmla="*/ 219 w 232"/>
                <a:gd name="T31" fmla="*/ 6 h 529"/>
                <a:gd name="T32" fmla="*/ 226 w 232"/>
                <a:gd name="T33" fmla="*/ 13 h 529"/>
                <a:gd name="T34" fmla="*/ 230 w 232"/>
                <a:gd name="T35" fmla="*/ 23 h 529"/>
                <a:gd name="T36" fmla="*/ 232 w 232"/>
                <a:gd name="T37" fmla="*/ 33 h 529"/>
                <a:gd name="T38" fmla="*/ 232 w 232"/>
                <a:gd name="T39" fmla="*/ 97 h 529"/>
                <a:gd name="T40" fmla="*/ 229 w 232"/>
                <a:gd name="T41" fmla="*/ 161 h 529"/>
                <a:gd name="T42" fmla="*/ 223 w 232"/>
                <a:gd name="T43" fmla="*/ 226 h 529"/>
                <a:gd name="T44" fmla="*/ 209 w 232"/>
                <a:gd name="T45" fmla="*/ 288 h 529"/>
                <a:gd name="T46" fmla="*/ 195 w 232"/>
                <a:gd name="T47" fmla="*/ 334 h 529"/>
                <a:gd name="T48" fmla="*/ 181 w 232"/>
                <a:gd name="T49" fmla="*/ 365 h 529"/>
                <a:gd name="T50" fmla="*/ 166 w 232"/>
                <a:gd name="T51" fmla="*/ 395 h 529"/>
                <a:gd name="T52" fmla="*/ 147 w 232"/>
                <a:gd name="T53" fmla="*/ 424 h 529"/>
                <a:gd name="T54" fmla="*/ 126 w 232"/>
                <a:gd name="T55" fmla="*/ 453 h 529"/>
                <a:gd name="T56" fmla="*/ 100 w 232"/>
                <a:gd name="T57" fmla="*/ 481 h 529"/>
                <a:gd name="T58" fmla="*/ 71 w 232"/>
                <a:gd name="T59" fmla="*/ 508 h 529"/>
                <a:gd name="T60" fmla="*/ 54 w 232"/>
                <a:gd name="T61" fmla="*/ 522 h 529"/>
                <a:gd name="T62" fmla="*/ 45 w 232"/>
                <a:gd name="T63" fmla="*/ 527 h 529"/>
                <a:gd name="T64" fmla="*/ 34 w 232"/>
                <a:gd name="T65" fmla="*/ 529 h 529"/>
                <a:gd name="T66" fmla="*/ 67 w 232"/>
                <a:gd name="T67" fmla="*/ 243 h 529"/>
                <a:gd name="T68" fmla="*/ 67 w 232"/>
                <a:gd name="T69" fmla="*/ 419 h 529"/>
                <a:gd name="T70" fmla="*/ 93 w 232"/>
                <a:gd name="T71" fmla="*/ 386 h 529"/>
                <a:gd name="T72" fmla="*/ 114 w 232"/>
                <a:gd name="T73" fmla="*/ 352 h 529"/>
                <a:gd name="T74" fmla="*/ 131 w 232"/>
                <a:gd name="T75" fmla="*/ 316 h 529"/>
                <a:gd name="T76" fmla="*/ 143 w 232"/>
                <a:gd name="T77" fmla="*/ 279 h 529"/>
                <a:gd name="T78" fmla="*/ 153 w 232"/>
                <a:gd name="T79" fmla="*/ 242 h 529"/>
                <a:gd name="T80" fmla="*/ 159 w 232"/>
                <a:gd name="T81" fmla="*/ 204 h 529"/>
                <a:gd name="T82" fmla="*/ 165 w 232"/>
                <a:gd name="T83" fmla="*/ 12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29">
                  <a:moveTo>
                    <a:pt x="34" y="529"/>
                  </a:moveTo>
                  <a:lnTo>
                    <a:pt x="34" y="529"/>
                  </a:lnTo>
                  <a:lnTo>
                    <a:pt x="26" y="528"/>
                  </a:lnTo>
                  <a:lnTo>
                    <a:pt x="19" y="526"/>
                  </a:lnTo>
                  <a:lnTo>
                    <a:pt x="19" y="526"/>
                  </a:lnTo>
                  <a:lnTo>
                    <a:pt x="15" y="523"/>
                  </a:lnTo>
                  <a:lnTo>
                    <a:pt x="12" y="521"/>
                  </a:lnTo>
                  <a:lnTo>
                    <a:pt x="9" y="516"/>
                  </a:lnTo>
                  <a:lnTo>
                    <a:pt x="6" y="513"/>
                  </a:lnTo>
                  <a:lnTo>
                    <a:pt x="4" y="509"/>
                  </a:lnTo>
                  <a:lnTo>
                    <a:pt x="1" y="505"/>
                  </a:lnTo>
                  <a:lnTo>
                    <a:pt x="1" y="500"/>
                  </a:lnTo>
                  <a:lnTo>
                    <a:pt x="0" y="496"/>
                  </a:lnTo>
                  <a:lnTo>
                    <a:pt x="0" y="231"/>
                  </a:lnTo>
                  <a:lnTo>
                    <a:pt x="0" y="231"/>
                  </a:lnTo>
                  <a:lnTo>
                    <a:pt x="1" y="226"/>
                  </a:lnTo>
                  <a:lnTo>
                    <a:pt x="2" y="219"/>
                  </a:lnTo>
                  <a:lnTo>
                    <a:pt x="5" y="214"/>
                  </a:lnTo>
                  <a:lnTo>
                    <a:pt x="9" y="210"/>
                  </a:lnTo>
                  <a:lnTo>
                    <a:pt x="173" y="11"/>
                  </a:lnTo>
                  <a:lnTo>
                    <a:pt x="173" y="11"/>
                  </a:lnTo>
                  <a:lnTo>
                    <a:pt x="177" y="7"/>
                  </a:lnTo>
                  <a:lnTo>
                    <a:pt x="181" y="5"/>
                  </a:lnTo>
                  <a:lnTo>
                    <a:pt x="186" y="2"/>
                  </a:lnTo>
                  <a:lnTo>
                    <a:pt x="191" y="1"/>
                  </a:lnTo>
                  <a:lnTo>
                    <a:pt x="195" y="0"/>
                  </a:lnTo>
                  <a:lnTo>
                    <a:pt x="200" y="0"/>
                  </a:lnTo>
                  <a:lnTo>
                    <a:pt x="205" y="0"/>
                  </a:lnTo>
                  <a:lnTo>
                    <a:pt x="210" y="1"/>
                  </a:lnTo>
                  <a:lnTo>
                    <a:pt x="210" y="1"/>
                  </a:lnTo>
                  <a:lnTo>
                    <a:pt x="215" y="4"/>
                  </a:lnTo>
                  <a:lnTo>
                    <a:pt x="219" y="6"/>
                  </a:lnTo>
                  <a:lnTo>
                    <a:pt x="223" y="9"/>
                  </a:lnTo>
                  <a:lnTo>
                    <a:pt x="226" y="13"/>
                  </a:lnTo>
                  <a:lnTo>
                    <a:pt x="229" y="18"/>
                  </a:lnTo>
                  <a:lnTo>
                    <a:pt x="230" y="23"/>
                  </a:lnTo>
                  <a:lnTo>
                    <a:pt x="231" y="28"/>
                  </a:lnTo>
                  <a:lnTo>
                    <a:pt x="232" y="33"/>
                  </a:lnTo>
                  <a:lnTo>
                    <a:pt x="232" y="33"/>
                  </a:lnTo>
                  <a:lnTo>
                    <a:pt x="232" y="97"/>
                  </a:lnTo>
                  <a:lnTo>
                    <a:pt x="231" y="129"/>
                  </a:lnTo>
                  <a:lnTo>
                    <a:pt x="229" y="161"/>
                  </a:lnTo>
                  <a:lnTo>
                    <a:pt x="227" y="193"/>
                  </a:lnTo>
                  <a:lnTo>
                    <a:pt x="223" y="226"/>
                  </a:lnTo>
                  <a:lnTo>
                    <a:pt x="217" y="257"/>
                  </a:lnTo>
                  <a:lnTo>
                    <a:pt x="209" y="288"/>
                  </a:lnTo>
                  <a:lnTo>
                    <a:pt x="200" y="319"/>
                  </a:lnTo>
                  <a:lnTo>
                    <a:pt x="195" y="334"/>
                  </a:lnTo>
                  <a:lnTo>
                    <a:pt x="189" y="350"/>
                  </a:lnTo>
                  <a:lnTo>
                    <a:pt x="181" y="365"/>
                  </a:lnTo>
                  <a:lnTo>
                    <a:pt x="174" y="380"/>
                  </a:lnTo>
                  <a:lnTo>
                    <a:pt x="166" y="395"/>
                  </a:lnTo>
                  <a:lnTo>
                    <a:pt x="157" y="410"/>
                  </a:lnTo>
                  <a:lnTo>
                    <a:pt x="147" y="424"/>
                  </a:lnTo>
                  <a:lnTo>
                    <a:pt x="137" y="439"/>
                  </a:lnTo>
                  <a:lnTo>
                    <a:pt x="126" y="453"/>
                  </a:lnTo>
                  <a:lnTo>
                    <a:pt x="113" y="467"/>
                  </a:lnTo>
                  <a:lnTo>
                    <a:pt x="100" y="481"/>
                  </a:lnTo>
                  <a:lnTo>
                    <a:pt x="85" y="495"/>
                  </a:lnTo>
                  <a:lnTo>
                    <a:pt x="71" y="508"/>
                  </a:lnTo>
                  <a:lnTo>
                    <a:pt x="54" y="522"/>
                  </a:lnTo>
                  <a:lnTo>
                    <a:pt x="54" y="522"/>
                  </a:lnTo>
                  <a:lnTo>
                    <a:pt x="49" y="525"/>
                  </a:lnTo>
                  <a:lnTo>
                    <a:pt x="45" y="527"/>
                  </a:lnTo>
                  <a:lnTo>
                    <a:pt x="39" y="528"/>
                  </a:lnTo>
                  <a:lnTo>
                    <a:pt x="34" y="529"/>
                  </a:lnTo>
                  <a:lnTo>
                    <a:pt x="34" y="529"/>
                  </a:lnTo>
                  <a:close/>
                  <a:moveTo>
                    <a:pt x="67" y="243"/>
                  </a:moveTo>
                  <a:lnTo>
                    <a:pt x="67" y="419"/>
                  </a:lnTo>
                  <a:lnTo>
                    <a:pt x="67" y="419"/>
                  </a:lnTo>
                  <a:lnTo>
                    <a:pt x="80" y="403"/>
                  </a:lnTo>
                  <a:lnTo>
                    <a:pt x="93" y="386"/>
                  </a:lnTo>
                  <a:lnTo>
                    <a:pt x="104" y="368"/>
                  </a:lnTo>
                  <a:lnTo>
                    <a:pt x="114" y="352"/>
                  </a:lnTo>
                  <a:lnTo>
                    <a:pt x="123" y="334"/>
                  </a:lnTo>
                  <a:lnTo>
                    <a:pt x="131" y="316"/>
                  </a:lnTo>
                  <a:lnTo>
                    <a:pt x="137" y="298"/>
                  </a:lnTo>
                  <a:lnTo>
                    <a:pt x="143" y="279"/>
                  </a:lnTo>
                  <a:lnTo>
                    <a:pt x="148" y="261"/>
                  </a:lnTo>
                  <a:lnTo>
                    <a:pt x="153" y="242"/>
                  </a:lnTo>
                  <a:lnTo>
                    <a:pt x="156" y="222"/>
                  </a:lnTo>
                  <a:lnTo>
                    <a:pt x="159" y="204"/>
                  </a:lnTo>
                  <a:lnTo>
                    <a:pt x="163" y="164"/>
                  </a:lnTo>
                  <a:lnTo>
                    <a:pt x="165" y="125"/>
                  </a:lnTo>
                  <a:lnTo>
                    <a:pt x="67"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49" name="Group 48">
            <a:extLst>
              <a:ext uri="{FF2B5EF4-FFF2-40B4-BE49-F238E27FC236}">
                <a16:creationId xmlns:a16="http://schemas.microsoft.com/office/drawing/2014/main" id="{D6F7AC3E-C2E4-DC41-A1EC-8B8FAA9FC8E5}"/>
              </a:ext>
            </a:extLst>
          </p:cNvPr>
          <p:cNvGrpSpPr/>
          <p:nvPr/>
        </p:nvGrpSpPr>
        <p:grpSpPr>
          <a:xfrm>
            <a:off x="7768754" y="1580046"/>
            <a:ext cx="266843" cy="266843"/>
            <a:chOff x="7004050" y="1836738"/>
            <a:chExt cx="360363" cy="360363"/>
          </a:xfrm>
          <a:solidFill>
            <a:schemeClr val="bg1"/>
          </a:solidFill>
        </p:grpSpPr>
        <p:sp>
          <p:nvSpPr>
            <p:cNvPr id="50" name="Freeform 11">
              <a:extLst>
                <a:ext uri="{FF2B5EF4-FFF2-40B4-BE49-F238E27FC236}">
                  <a16:creationId xmlns:a16="http://schemas.microsoft.com/office/drawing/2014/main" id="{C6B602D4-F85D-7D1E-B814-E8952656C772}"/>
                </a:ext>
              </a:extLst>
            </p:cNvPr>
            <p:cNvSpPr>
              <a:spLocks noEditPoints="1"/>
            </p:cNvSpPr>
            <p:nvPr/>
          </p:nvSpPr>
          <p:spPr bwMode="auto">
            <a:xfrm>
              <a:off x="7004050" y="1836738"/>
              <a:ext cx="360363" cy="360363"/>
            </a:xfrm>
            <a:custGeom>
              <a:avLst/>
              <a:gdLst>
                <a:gd name="T0" fmla="*/ 674 w 1589"/>
                <a:gd name="T1" fmla="*/ 1581 h 1590"/>
                <a:gd name="T2" fmla="*/ 485 w 1589"/>
                <a:gd name="T3" fmla="*/ 1527 h 1590"/>
                <a:gd name="T4" fmla="*/ 320 w 1589"/>
                <a:gd name="T5" fmla="*/ 1432 h 1590"/>
                <a:gd name="T6" fmla="*/ 181 w 1589"/>
                <a:gd name="T7" fmla="*/ 1300 h 1590"/>
                <a:gd name="T8" fmla="*/ 79 w 1589"/>
                <a:gd name="T9" fmla="*/ 1139 h 1590"/>
                <a:gd name="T10" fmla="*/ 15 w 1589"/>
                <a:gd name="T11" fmla="*/ 955 h 1590"/>
                <a:gd name="T12" fmla="*/ 0 w 1589"/>
                <a:gd name="T13" fmla="*/ 796 h 1590"/>
                <a:gd name="T14" fmla="*/ 25 w 1589"/>
                <a:gd name="T15" fmla="*/ 597 h 1590"/>
                <a:gd name="T16" fmla="*/ 96 w 1589"/>
                <a:gd name="T17" fmla="*/ 417 h 1590"/>
                <a:gd name="T18" fmla="*/ 207 w 1589"/>
                <a:gd name="T19" fmla="*/ 261 h 1590"/>
                <a:gd name="T20" fmla="*/ 351 w 1589"/>
                <a:gd name="T21" fmla="*/ 137 h 1590"/>
                <a:gd name="T22" fmla="*/ 521 w 1589"/>
                <a:gd name="T23" fmla="*/ 49 h 1590"/>
                <a:gd name="T24" fmla="*/ 714 w 1589"/>
                <a:gd name="T25" fmla="*/ 4 h 1590"/>
                <a:gd name="T26" fmla="*/ 875 w 1589"/>
                <a:gd name="T27" fmla="*/ 4 h 1590"/>
                <a:gd name="T28" fmla="*/ 1068 w 1589"/>
                <a:gd name="T29" fmla="*/ 49 h 1590"/>
                <a:gd name="T30" fmla="*/ 1239 w 1589"/>
                <a:gd name="T31" fmla="*/ 137 h 1590"/>
                <a:gd name="T32" fmla="*/ 1382 w 1589"/>
                <a:gd name="T33" fmla="*/ 261 h 1590"/>
                <a:gd name="T34" fmla="*/ 1493 w 1589"/>
                <a:gd name="T35" fmla="*/ 417 h 1590"/>
                <a:gd name="T36" fmla="*/ 1565 w 1589"/>
                <a:gd name="T37" fmla="*/ 597 h 1590"/>
                <a:gd name="T38" fmla="*/ 1589 w 1589"/>
                <a:gd name="T39" fmla="*/ 796 h 1590"/>
                <a:gd name="T40" fmla="*/ 1574 w 1589"/>
                <a:gd name="T41" fmla="*/ 955 h 1590"/>
                <a:gd name="T42" fmla="*/ 1511 w 1589"/>
                <a:gd name="T43" fmla="*/ 1139 h 1590"/>
                <a:gd name="T44" fmla="*/ 1408 w 1589"/>
                <a:gd name="T45" fmla="*/ 1300 h 1590"/>
                <a:gd name="T46" fmla="*/ 1270 w 1589"/>
                <a:gd name="T47" fmla="*/ 1432 h 1590"/>
                <a:gd name="T48" fmla="*/ 1104 w 1589"/>
                <a:gd name="T49" fmla="*/ 1527 h 1590"/>
                <a:gd name="T50" fmla="*/ 916 w 1589"/>
                <a:gd name="T51" fmla="*/ 1581 h 1590"/>
                <a:gd name="T52" fmla="*/ 795 w 1589"/>
                <a:gd name="T53" fmla="*/ 67 h 1590"/>
                <a:gd name="T54" fmla="*/ 648 w 1589"/>
                <a:gd name="T55" fmla="*/ 82 h 1590"/>
                <a:gd name="T56" fmla="*/ 479 w 1589"/>
                <a:gd name="T57" fmla="*/ 139 h 1590"/>
                <a:gd name="T58" fmla="*/ 331 w 1589"/>
                <a:gd name="T59" fmla="*/ 234 h 1590"/>
                <a:gd name="T60" fmla="*/ 211 w 1589"/>
                <a:gd name="T61" fmla="*/ 360 h 1590"/>
                <a:gd name="T62" fmla="*/ 123 w 1589"/>
                <a:gd name="T63" fmla="*/ 512 h 1590"/>
                <a:gd name="T64" fmla="*/ 74 w 1589"/>
                <a:gd name="T65" fmla="*/ 685 h 1590"/>
                <a:gd name="T66" fmla="*/ 67 w 1589"/>
                <a:gd name="T67" fmla="*/ 833 h 1590"/>
                <a:gd name="T68" fmla="*/ 99 w 1589"/>
                <a:gd name="T69" fmla="*/ 1012 h 1590"/>
                <a:gd name="T70" fmla="*/ 172 w 1589"/>
                <a:gd name="T71" fmla="*/ 1173 h 1590"/>
                <a:gd name="T72" fmla="*/ 279 w 1589"/>
                <a:gd name="T73" fmla="*/ 1310 h 1590"/>
                <a:gd name="T74" fmla="*/ 417 w 1589"/>
                <a:gd name="T75" fmla="*/ 1418 h 1590"/>
                <a:gd name="T76" fmla="*/ 578 w 1589"/>
                <a:gd name="T77" fmla="*/ 1491 h 1590"/>
                <a:gd name="T78" fmla="*/ 757 w 1589"/>
                <a:gd name="T79" fmla="*/ 1523 h 1590"/>
                <a:gd name="T80" fmla="*/ 905 w 1589"/>
                <a:gd name="T81" fmla="*/ 1516 h 1590"/>
                <a:gd name="T82" fmla="*/ 1078 w 1589"/>
                <a:gd name="T83" fmla="*/ 1467 h 1590"/>
                <a:gd name="T84" fmla="*/ 1230 w 1589"/>
                <a:gd name="T85" fmla="*/ 1379 h 1590"/>
                <a:gd name="T86" fmla="*/ 1357 w 1589"/>
                <a:gd name="T87" fmla="*/ 1258 h 1590"/>
                <a:gd name="T88" fmla="*/ 1452 w 1589"/>
                <a:gd name="T89" fmla="*/ 1111 h 1590"/>
                <a:gd name="T90" fmla="*/ 1509 w 1589"/>
                <a:gd name="T91" fmla="*/ 941 h 1590"/>
                <a:gd name="T92" fmla="*/ 1523 w 1589"/>
                <a:gd name="T93" fmla="*/ 796 h 1590"/>
                <a:gd name="T94" fmla="*/ 1500 w 1589"/>
                <a:gd name="T95" fmla="*/ 613 h 1590"/>
                <a:gd name="T96" fmla="*/ 1435 w 1589"/>
                <a:gd name="T97" fmla="*/ 448 h 1590"/>
                <a:gd name="T98" fmla="*/ 1334 w 1589"/>
                <a:gd name="T99" fmla="*/ 305 h 1590"/>
                <a:gd name="T100" fmla="*/ 1201 w 1589"/>
                <a:gd name="T101" fmla="*/ 191 h 1590"/>
                <a:gd name="T102" fmla="*/ 1045 w 1589"/>
                <a:gd name="T103" fmla="*/ 111 h 1590"/>
                <a:gd name="T104" fmla="*/ 869 w 1589"/>
                <a:gd name="T105" fmla="*/ 7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89" h="1590">
                  <a:moveTo>
                    <a:pt x="795" y="1590"/>
                  </a:moveTo>
                  <a:lnTo>
                    <a:pt x="795" y="1590"/>
                  </a:lnTo>
                  <a:lnTo>
                    <a:pt x="754" y="1589"/>
                  </a:lnTo>
                  <a:lnTo>
                    <a:pt x="714" y="1586"/>
                  </a:lnTo>
                  <a:lnTo>
                    <a:pt x="674" y="1581"/>
                  </a:lnTo>
                  <a:lnTo>
                    <a:pt x="634" y="1574"/>
                  </a:lnTo>
                  <a:lnTo>
                    <a:pt x="596" y="1565"/>
                  </a:lnTo>
                  <a:lnTo>
                    <a:pt x="559" y="1554"/>
                  </a:lnTo>
                  <a:lnTo>
                    <a:pt x="521" y="1541"/>
                  </a:lnTo>
                  <a:lnTo>
                    <a:pt x="485" y="1527"/>
                  </a:lnTo>
                  <a:lnTo>
                    <a:pt x="450" y="1511"/>
                  </a:lnTo>
                  <a:lnTo>
                    <a:pt x="416" y="1494"/>
                  </a:lnTo>
                  <a:lnTo>
                    <a:pt x="383" y="1475"/>
                  </a:lnTo>
                  <a:lnTo>
                    <a:pt x="351" y="1455"/>
                  </a:lnTo>
                  <a:lnTo>
                    <a:pt x="320" y="1432"/>
                  </a:lnTo>
                  <a:lnTo>
                    <a:pt x="290" y="1408"/>
                  </a:lnTo>
                  <a:lnTo>
                    <a:pt x="261" y="1383"/>
                  </a:lnTo>
                  <a:lnTo>
                    <a:pt x="233" y="1357"/>
                  </a:lnTo>
                  <a:lnTo>
                    <a:pt x="207" y="1329"/>
                  </a:lnTo>
                  <a:lnTo>
                    <a:pt x="181" y="1300"/>
                  </a:lnTo>
                  <a:lnTo>
                    <a:pt x="158" y="1270"/>
                  </a:lnTo>
                  <a:lnTo>
                    <a:pt x="135" y="1239"/>
                  </a:lnTo>
                  <a:lnTo>
                    <a:pt x="115" y="1207"/>
                  </a:lnTo>
                  <a:lnTo>
                    <a:pt x="96" y="1174"/>
                  </a:lnTo>
                  <a:lnTo>
                    <a:pt x="79" y="1139"/>
                  </a:lnTo>
                  <a:lnTo>
                    <a:pt x="62" y="1104"/>
                  </a:lnTo>
                  <a:lnTo>
                    <a:pt x="47" y="1069"/>
                  </a:lnTo>
                  <a:lnTo>
                    <a:pt x="35" y="1031"/>
                  </a:lnTo>
                  <a:lnTo>
                    <a:pt x="25" y="993"/>
                  </a:lnTo>
                  <a:lnTo>
                    <a:pt x="15" y="955"/>
                  </a:lnTo>
                  <a:lnTo>
                    <a:pt x="9" y="917"/>
                  </a:lnTo>
                  <a:lnTo>
                    <a:pt x="4" y="876"/>
                  </a:lnTo>
                  <a:lnTo>
                    <a:pt x="1" y="836"/>
                  </a:lnTo>
                  <a:lnTo>
                    <a:pt x="0" y="796"/>
                  </a:lnTo>
                  <a:lnTo>
                    <a:pt x="0" y="796"/>
                  </a:lnTo>
                  <a:lnTo>
                    <a:pt x="1" y="754"/>
                  </a:lnTo>
                  <a:lnTo>
                    <a:pt x="4" y="714"/>
                  </a:lnTo>
                  <a:lnTo>
                    <a:pt x="9" y="675"/>
                  </a:lnTo>
                  <a:lnTo>
                    <a:pt x="15" y="635"/>
                  </a:lnTo>
                  <a:lnTo>
                    <a:pt x="25" y="597"/>
                  </a:lnTo>
                  <a:lnTo>
                    <a:pt x="35" y="560"/>
                  </a:lnTo>
                  <a:lnTo>
                    <a:pt x="47" y="522"/>
                  </a:lnTo>
                  <a:lnTo>
                    <a:pt x="62" y="486"/>
                  </a:lnTo>
                  <a:lnTo>
                    <a:pt x="79" y="451"/>
                  </a:lnTo>
                  <a:lnTo>
                    <a:pt x="96" y="417"/>
                  </a:lnTo>
                  <a:lnTo>
                    <a:pt x="115" y="384"/>
                  </a:lnTo>
                  <a:lnTo>
                    <a:pt x="135" y="351"/>
                  </a:lnTo>
                  <a:lnTo>
                    <a:pt x="158" y="320"/>
                  </a:lnTo>
                  <a:lnTo>
                    <a:pt x="181" y="290"/>
                  </a:lnTo>
                  <a:lnTo>
                    <a:pt x="207" y="261"/>
                  </a:lnTo>
                  <a:lnTo>
                    <a:pt x="233" y="234"/>
                  </a:lnTo>
                  <a:lnTo>
                    <a:pt x="261" y="207"/>
                  </a:lnTo>
                  <a:lnTo>
                    <a:pt x="290" y="182"/>
                  </a:lnTo>
                  <a:lnTo>
                    <a:pt x="320" y="158"/>
                  </a:lnTo>
                  <a:lnTo>
                    <a:pt x="351" y="137"/>
                  </a:lnTo>
                  <a:lnTo>
                    <a:pt x="383" y="116"/>
                  </a:lnTo>
                  <a:lnTo>
                    <a:pt x="416" y="96"/>
                  </a:lnTo>
                  <a:lnTo>
                    <a:pt x="450" y="79"/>
                  </a:lnTo>
                  <a:lnTo>
                    <a:pt x="485" y="63"/>
                  </a:lnTo>
                  <a:lnTo>
                    <a:pt x="521" y="49"/>
                  </a:lnTo>
                  <a:lnTo>
                    <a:pt x="559" y="36"/>
                  </a:lnTo>
                  <a:lnTo>
                    <a:pt x="596" y="26"/>
                  </a:lnTo>
                  <a:lnTo>
                    <a:pt x="634" y="17"/>
                  </a:lnTo>
                  <a:lnTo>
                    <a:pt x="674" y="9"/>
                  </a:lnTo>
                  <a:lnTo>
                    <a:pt x="714" y="4"/>
                  </a:lnTo>
                  <a:lnTo>
                    <a:pt x="754" y="1"/>
                  </a:lnTo>
                  <a:lnTo>
                    <a:pt x="795" y="0"/>
                  </a:lnTo>
                  <a:lnTo>
                    <a:pt x="795" y="0"/>
                  </a:lnTo>
                  <a:lnTo>
                    <a:pt x="835" y="1"/>
                  </a:lnTo>
                  <a:lnTo>
                    <a:pt x="875" y="4"/>
                  </a:lnTo>
                  <a:lnTo>
                    <a:pt x="916" y="9"/>
                  </a:lnTo>
                  <a:lnTo>
                    <a:pt x="955" y="17"/>
                  </a:lnTo>
                  <a:lnTo>
                    <a:pt x="993" y="26"/>
                  </a:lnTo>
                  <a:lnTo>
                    <a:pt x="1031" y="36"/>
                  </a:lnTo>
                  <a:lnTo>
                    <a:pt x="1068" y="49"/>
                  </a:lnTo>
                  <a:lnTo>
                    <a:pt x="1104" y="63"/>
                  </a:lnTo>
                  <a:lnTo>
                    <a:pt x="1139" y="79"/>
                  </a:lnTo>
                  <a:lnTo>
                    <a:pt x="1173" y="96"/>
                  </a:lnTo>
                  <a:lnTo>
                    <a:pt x="1207" y="116"/>
                  </a:lnTo>
                  <a:lnTo>
                    <a:pt x="1239" y="137"/>
                  </a:lnTo>
                  <a:lnTo>
                    <a:pt x="1270" y="158"/>
                  </a:lnTo>
                  <a:lnTo>
                    <a:pt x="1300" y="182"/>
                  </a:lnTo>
                  <a:lnTo>
                    <a:pt x="1329" y="207"/>
                  </a:lnTo>
                  <a:lnTo>
                    <a:pt x="1357" y="234"/>
                  </a:lnTo>
                  <a:lnTo>
                    <a:pt x="1382" y="261"/>
                  </a:lnTo>
                  <a:lnTo>
                    <a:pt x="1408" y="290"/>
                  </a:lnTo>
                  <a:lnTo>
                    <a:pt x="1431" y="320"/>
                  </a:lnTo>
                  <a:lnTo>
                    <a:pt x="1454" y="351"/>
                  </a:lnTo>
                  <a:lnTo>
                    <a:pt x="1475" y="384"/>
                  </a:lnTo>
                  <a:lnTo>
                    <a:pt x="1493" y="417"/>
                  </a:lnTo>
                  <a:lnTo>
                    <a:pt x="1511" y="451"/>
                  </a:lnTo>
                  <a:lnTo>
                    <a:pt x="1527" y="486"/>
                  </a:lnTo>
                  <a:lnTo>
                    <a:pt x="1542" y="522"/>
                  </a:lnTo>
                  <a:lnTo>
                    <a:pt x="1554" y="560"/>
                  </a:lnTo>
                  <a:lnTo>
                    <a:pt x="1565" y="597"/>
                  </a:lnTo>
                  <a:lnTo>
                    <a:pt x="1574" y="635"/>
                  </a:lnTo>
                  <a:lnTo>
                    <a:pt x="1580" y="675"/>
                  </a:lnTo>
                  <a:lnTo>
                    <a:pt x="1585" y="714"/>
                  </a:lnTo>
                  <a:lnTo>
                    <a:pt x="1588" y="754"/>
                  </a:lnTo>
                  <a:lnTo>
                    <a:pt x="1589" y="796"/>
                  </a:lnTo>
                  <a:lnTo>
                    <a:pt x="1589" y="796"/>
                  </a:lnTo>
                  <a:lnTo>
                    <a:pt x="1588" y="836"/>
                  </a:lnTo>
                  <a:lnTo>
                    <a:pt x="1585" y="876"/>
                  </a:lnTo>
                  <a:lnTo>
                    <a:pt x="1580" y="917"/>
                  </a:lnTo>
                  <a:lnTo>
                    <a:pt x="1574" y="955"/>
                  </a:lnTo>
                  <a:lnTo>
                    <a:pt x="1565" y="993"/>
                  </a:lnTo>
                  <a:lnTo>
                    <a:pt x="1554" y="1031"/>
                  </a:lnTo>
                  <a:lnTo>
                    <a:pt x="1542" y="1069"/>
                  </a:lnTo>
                  <a:lnTo>
                    <a:pt x="1527" y="1104"/>
                  </a:lnTo>
                  <a:lnTo>
                    <a:pt x="1511" y="1139"/>
                  </a:lnTo>
                  <a:lnTo>
                    <a:pt x="1493" y="1174"/>
                  </a:lnTo>
                  <a:lnTo>
                    <a:pt x="1475" y="1207"/>
                  </a:lnTo>
                  <a:lnTo>
                    <a:pt x="1454" y="1239"/>
                  </a:lnTo>
                  <a:lnTo>
                    <a:pt x="1431" y="1270"/>
                  </a:lnTo>
                  <a:lnTo>
                    <a:pt x="1408" y="1300"/>
                  </a:lnTo>
                  <a:lnTo>
                    <a:pt x="1382" y="1329"/>
                  </a:lnTo>
                  <a:lnTo>
                    <a:pt x="1357" y="1357"/>
                  </a:lnTo>
                  <a:lnTo>
                    <a:pt x="1329" y="1383"/>
                  </a:lnTo>
                  <a:lnTo>
                    <a:pt x="1300" y="1408"/>
                  </a:lnTo>
                  <a:lnTo>
                    <a:pt x="1270" y="1432"/>
                  </a:lnTo>
                  <a:lnTo>
                    <a:pt x="1239" y="1455"/>
                  </a:lnTo>
                  <a:lnTo>
                    <a:pt x="1207" y="1475"/>
                  </a:lnTo>
                  <a:lnTo>
                    <a:pt x="1173" y="1494"/>
                  </a:lnTo>
                  <a:lnTo>
                    <a:pt x="1139" y="1511"/>
                  </a:lnTo>
                  <a:lnTo>
                    <a:pt x="1104" y="1527"/>
                  </a:lnTo>
                  <a:lnTo>
                    <a:pt x="1068" y="1541"/>
                  </a:lnTo>
                  <a:lnTo>
                    <a:pt x="1031" y="1554"/>
                  </a:lnTo>
                  <a:lnTo>
                    <a:pt x="993" y="1565"/>
                  </a:lnTo>
                  <a:lnTo>
                    <a:pt x="955" y="1574"/>
                  </a:lnTo>
                  <a:lnTo>
                    <a:pt x="916" y="1581"/>
                  </a:lnTo>
                  <a:lnTo>
                    <a:pt x="875" y="1586"/>
                  </a:lnTo>
                  <a:lnTo>
                    <a:pt x="835" y="1589"/>
                  </a:lnTo>
                  <a:lnTo>
                    <a:pt x="795" y="1590"/>
                  </a:lnTo>
                  <a:lnTo>
                    <a:pt x="795" y="1590"/>
                  </a:lnTo>
                  <a:close/>
                  <a:moveTo>
                    <a:pt x="795" y="67"/>
                  </a:moveTo>
                  <a:lnTo>
                    <a:pt x="795" y="67"/>
                  </a:lnTo>
                  <a:lnTo>
                    <a:pt x="757" y="67"/>
                  </a:lnTo>
                  <a:lnTo>
                    <a:pt x="720" y="70"/>
                  </a:lnTo>
                  <a:lnTo>
                    <a:pt x="684" y="76"/>
                  </a:lnTo>
                  <a:lnTo>
                    <a:pt x="648" y="82"/>
                  </a:lnTo>
                  <a:lnTo>
                    <a:pt x="613" y="90"/>
                  </a:lnTo>
                  <a:lnTo>
                    <a:pt x="578" y="99"/>
                  </a:lnTo>
                  <a:lnTo>
                    <a:pt x="544" y="111"/>
                  </a:lnTo>
                  <a:lnTo>
                    <a:pt x="511" y="124"/>
                  </a:lnTo>
                  <a:lnTo>
                    <a:pt x="479" y="139"/>
                  </a:lnTo>
                  <a:lnTo>
                    <a:pt x="448" y="155"/>
                  </a:lnTo>
                  <a:lnTo>
                    <a:pt x="417" y="173"/>
                  </a:lnTo>
                  <a:lnTo>
                    <a:pt x="388" y="191"/>
                  </a:lnTo>
                  <a:lnTo>
                    <a:pt x="359" y="212"/>
                  </a:lnTo>
                  <a:lnTo>
                    <a:pt x="331" y="234"/>
                  </a:lnTo>
                  <a:lnTo>
                    <a:pt x="305" y="257"/>
                  </a:lnTo>
                  <a:lnTo>
                    <a:pt x="279" y="280"/>
                  </a:lnTo>
                  <a:lnTo>
                    <a:pt x="255" y="305"/>
                  </a:lnTo>
                  <a:lnTo>
                    <a:pt x="233" y="332"/>
                  </a:lnTo>
                  <a:lnTo>
                    <a:pt x="211" y="360"/>
                  </a:lnTo>
                  <a:lnTo>
                    <a:pt x="190" y="388"/>
                  </a:lnTo>
                  <a:lnTo>
                    <a:pt x="172" y="418"/>
                  </a:lnTo>
                  <a:lnTo>
                    <a:pt x="154" y="448"/>
                  </a:lnTo>
                  <a:lnTo>
                    <a:pt x="137" y="480"/>
                  </a:lnTo>
                  <a:lnTo>
                    <a:pt x="123" y="512"/>
                  </a:lnTo>
                  <a:lnTo>
                    <a:pt x="111" y="545"/>
                  </a:lnTo>
                  <a:lnTo>
                    <a:pt x="99" y="579"/>
                  </a:lnTo>
                  <a:lnTo>
                    <a:pt x="89" y="613"/>
                  </a:lnTo>
                  <a:lnTo>
                    <a:pt x="81" y="649"/>
                  </a:lnTo>
                  <a:lnTo>
                    <a:pt x="74" y="685"/>
                  </a:lnTo>
                  <a:lnTo>
                    <a:pt x="69" y="721"/>
                  </a:lnTo>
                  <a:lnTo>
                    <a:pt x="67" y="758"/>
                  </a:lnTo>
                  <a:lnTo>
                    <a:pt x="66" y="796"/>
                  </a:lnTo>
                  <a:lnTo>
                    <a:pt x="66" y="796"/>
                  </a:lnTo>
                  <a:lnTo>
                    <a:pt x="67" y="833"/>
                  </a:lnTo>
                  <a:lnTo>
                    <a:pt x="69" y="870"/>
                  </a:lnTo>
                  <a:lnTo>
                    <a:pt x="74" y="906"/>
                  </a:lnTo>
                  <a:lnTo>
                    <a:pt x="81" y="941"/>
                  </a:lnTo>
                  <a:lnTo>
                    <a:pt x="89" y="978"/>
                  </a:lnTo>
                  <a:lnTo>
                    <a:pt x="99" y="1012"/>
                  </a:lnTo>
                  <a:lnTo>
                    <a:pt x="111" y="1046"/>
                  </a:lnTo>
                  <a:lnTo>
                    <a:pt x="123" y="1079"/>
                  </a:lnTo>
                  <a:lnTo>
                    <a:pt x="137" y="1111"/>
                  </a:lnTo>
                  <a:lnTo>
                    <a:pt x="154" y="1142"/>
                  </a:lnTo>
                  <a:lnTo>
                    <a:pt x="172" y="1173"/>
                  </a:lnTo>
                  <a:lnTo>
                    <a:pt x="190" y="1202"/>
                  </a:lnTo>
                  <a:lnTo>
                    <a:pt x="211" y="1231"/>
                  </a:lnTo>
                  <a:lnTo>
                    <a:pt x="233" y="1258"/>
                  </a:lnTo>
                  <a:lnTo>
                    <a:pt x="255" y="1285"/>
                  </a:lnTo>
                  <a:lnTo>
                    <a:pt x="279" y="1310"/>
                  </a:lnTo>
                  <a:lnTo>
                    <a:pt x="305" y="1335"/>
                  </a:lnTo>
                  <a:lnTo>
                    <a:pt x="331" y="1357"/>
                  </a:lnTo>
                  <a:lnTo>
                    <a:pt x="359" y="1379"/>
                  </a:lnTo>
                  <a:lnTo>
                    <a:pt x="388" y="1400"/>
                  </a:lnTo>
                  <a:lnTo>
                    <a:pt x="417" y="1418"/>
                  </a:lnTo>
                  <a:lnTo>
                    <a:pt x="448" y="1436"/>
                  </a:lnTo>
                  <a:lnTo>
                    <a:pt x="479" y="1451"/>
                  </a:lnTo>
                  <a:lnTo>
                    <a:pt x="511" y="1467"/>
                  </a:lnTo>
                  <a:lnTo>
                    <a:pt x="544" y="1479"/>
                  </a:lnTo>
                  <a:lnTo>
                    <a:pt x="578" y="1491"/>
                  </a:lnTo>
                  <a:lnTo>
                    <a:pt x="613" y="1501"/>
                  </a:lnTo>
                  <a:lnTo>
                    <a:pt x="648" y="1509"/>
                  </a:lnTo>
                  <a:lnTo>
                    <a:pt x="684" y="1516"/>
                  </a:lnTo>
                  <a:lnTo>
                    <a:pt x="720" y="1520"/>
                  </a:lnTo>
                  <a:lnTo>
                    <a:pt x="757" y="1523"/>
                  </a:lnTo>
                  <a:lnTo>
                    <a:pt x="795" y="1524"/>
                  </a:lnTo>
                  <a:lnTo>
                    <a:pt x="795" y="1524"/>
                  </a:lnTo>
                  <a:lnTo>
                    <a:pt x="832" y="1523"/>
                  </a:lnTo>
                  <a:lnTo>
                    <a:pt x="869" y="1520"/>
                  </a:lnTo>
                  <a:lnTo>
                    <a:pt x="905" y="1516"/>
                  </a:lnTo>
                  <a:lnTo>
                    <a:pt x="942" y="1509"/>
                  </a:lnTo>
                  <a:lnTo>
                    <a:pt x="977" y="1501"/>
                  </a:lnTo>
                  <a:lnTo>
                    <a:pt x="1011" y="1491"/>
                  </a:lnTo>
                  <a:lnTo>
                    <a:pt x="1045" y="1479"/>
                  </a:lnTo>
                  <a:lnTo>
                    <a:pt x="1078" y="1467"/>
                  </a:lnTo>
                  <a:lnTo>
                    <a:pt x="1110" y="1451"/>
                  </a:lnTo>
                  <a:lnTo>
                    <a:pt x="1141" y="1436"/>
                  </a:lnTo>
                  <a:lnTo>
                    <a:pt x="1172" y="1418"/>
                  </a:lnTo>
                  <a:lnTo>
                    <a:pt x="1201" y="1400"/>
                  </a:lnTo>
                  <a:lnTo>
                    <a:pt x="1230" y="1379"/>
                  </a:lnTo>
                  <a:lnTo>
                    <a:pt x="1258" y="1357"/>
                  </a:lnTo>
                  <a:lnTo>
                    <a:pt x="1284" y="1335"/>
                  </a:lnTo>
                  <a:lnTo>
                    <a:pt x="1310" y="1310"/>
                  </a:lnTo>
                  <a:lnTo>
                    <a:pt x="1334" y="1285"/>
                  </a:lnTo>
                  <a:lnTo>
                    <a:pt x="1357" y="1258"/>
                  </a:lnTo>
                  <a:lnTo>
                    <a:pt x="1378" y="1231"/>
                  </a:lnTo>
                  <a:lnTo>
                    <a:pt x="1399" y="1202"/>
                  </a:lnTo>
                  <a:lnTo>
                    <a:pt x="1418" y="1173"/>
                  </a:lnTo>
                  <a:lnTo>
                    <a:pt x="1435" y="1142"/>
                  </a:lnTo>
                  <a:lnTo>
                    <a:pt x="1452" y="1111"/>
                  </a:lnTo>
                  <a:lnTo>
                    <a:pt x="1466" y="1079"/>
                  </a:lnTo>
                  <a:lnTo>
                    <a:pt x="1479" y="1046"/>
                  </a:lnTo>
                  <a:lnTo>
                    <a:pt x="1491" y="1012"/>
                  </a:lnTo>
                  <a:lnTo>
                    <a:pt x="1500" y="978"/>
                  </a:lnTo>
                  <a:lnTo>
                    <a:pt x="1509" y="941"/>
                  </a:lnTo>
                  <a:lnTo>
                    <a:pt x="1515" y="906"/>
                  </a:lnTo>
                  <a:lnTo>
                    <a:pt x="1520" y="870"/>
                  </a:lnTo>
                  <a:lnTo>
                    <a:pt x="1522" y="833"/>
                  </a:lnTo>
                  <a:lnTo>
                    <a:pt x="1523" y="796"/>
                  </a:lnTo>
                  <a:lnTo>
                    <a:pt x="1523" y="796"/>
                  </a:lnTo>
                  <a:lnTo>
                    <a:pt x="1522" y="758"/>
                  </a:lnTo>
                  <a:lnTo>
                    <a:pt x="1520" y="721"/>
                  </a:lnTo>
                  <a:lnTo>
                    <a:pt x="1515" y="685"/>
                  </a:lnTo>
                  <a:lnTo>
                    <a:pt x="1509" y="649"/>
                  </a:lnTo>
                  <a:lnTo>
                    <a:pt x="1500" y="613"/>
                  </a:lnTo>
                  <a:lnTo>
                    <a:pt x="1491" y="579"/>
                  </a:lnTo>
                  <a:lnTo>
                    <a:pt x="1479" y="545"/>
                  </a:lnTo>
                  <a:lnTo>
                    <a:pt x="1466" y="512"/>
                  </a:lnTo>
                  <a:lnTo>
                    <a:pt x="1452" y="480"/>
                  </a:lnTo>
                  <a:lnTo>
                    <a:pt x="1435" y="448"/>
                  </a:lnTo>
                  <a:lnTo>
                    <a:pt x="1418" y="418"/>
                  </a:lnTo>
                  <a:lnTo>
                    <a:pt x="1399" y="388"/>
                  </a:lnTo>
                  <a:lnTo>
                    <a:pt x="1378" y="360"/>
                  </a:lnTo>
                  <a:lnTo>
                    <a:pt x="1357" y="332"/>
                  </a:lnTo>
                  <a:lnTo>
                    <a:pt x="1334" y="305"/>
                  </a:lnTo>
                  <a:lnTo>
                    <a:pt x="1310" y="280"/>
                  </a:lnTo>
                  <a:lnTo>
                    <a:pt x="1284" y="257"/>
                  </a:lnTo>
                  <a:lnTo>
                    <a:pt x="1258" y="234"/>
                  </a:lnTo>
                  <a:lnTo>
                    <a:pt x="1230" y="212"/>
                  </a:lnTo>
                  <a:lnTo>
                    <a:pt x="1201" y="191"/>
                  </a:lnTo>
                  <a:lnTo>
                    <a:pt x="1172" y="173"/>
                  </a:lnTo>
                  <a:lnTo>
                    <a:pt x="1141" y="155"/>
                  </a:lnTo>
                  <a:lnTo>
                    <a:pt x="1110" y="139"/>
                  </a:lnTo>
                  <a:lnTo>
                    <a:pt x="1078" y="124"/>
                  </a:lnTo>
                  <a:lnTo>
                    <a:pt x="1045" y="111"/>
                  </a:lnTo>
                  <a:lnTo>
                    <a:pt x="1011" y="99"/>
                  </a:lnTo>
                  <a:lnTo>
                    <a:pt x="977" y="90"/>
                  </a:lnTo>
                  <a:lnTo>
                    <a:pt x="942" y="82"/>
                  </a:lnTo>
                  <a:lnTo>
                    <a:pt x="905" y="76"/>
                  </a:lnTo>
                  <a:lnTo>
                    <a:pt x="869" y="70"/>
                  </a:lnTo>
                  <a:lnTo>
                    <a:pt x="832" y="67"/>
                  </a:lnTo>
                  <a:lnTo>
                    <a:pt x="795" y="67"/>
                  </a:lnTo>
                  <a:lnTo>
                    <a:pt x="795"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1" name="Freeform 12">
              <a:extLst>
                <a:ext uri="{FF2B5EF4-FFF2-40B4-BE49-F238E27FC236}">
                  <a16:creationId xmlns:a16="http://schemas.microsoft.com/office/drawing/2014/main" id="{BD4F09DC-C8E8-2EE8-E550-70110009FB0C}"/>
                </a:ext>
              </a:extLst>
            </p:cNvPr>
            <p:cNvSpPr>
              <a:spLocks noEditPoints="1"/>
            </p:cNvSpPr>
            <p:nvPr/>
          </p:nvSpPr>
          <p:spPr bwMode="auto">
            <a:xfrm>
              <a:off x="7048500" y="1882776"/>
              <a:ext cx="271463" cy="269875"/>
            </a:xfrm>
            <a:custGeom>
              <a:avLst/>
              <a:gdLst>
                <a:gd name="T0" fmla="*/ 505 w 1192"/>
                <a:gd name="T1" fmla="*/ 1184 h 1191"/>
                <a:gd name="T2" fmla="*/ 364 w 1192"/>
                <a:gd name="T3" fmla="*/ 1145 h 1191"/>
                <a:gd name="T4" fmla="*/ 240 w 1192"/>
                <a:gd name="T5" fmla="*/ 1073 h 1191"/>
                <a:gd name="T6" fmla="*/ 136 w 1192"/>
                <a:gd name="T7" fmla="*/ 974 h 1191"/>
                <a:gd name="T8" fmla="*/ 59 w 1192"/>
                <a:gd name="T9" fmla="*/ 853 h 1191"/>
                <a:gd name="T10" fmla="*/ 12 w 1192"/>
                <a:gd name="T11" fmla="*/ 716 h 1191"/>
                <a:gd name="T12" fmla="*/ 0 w 1192"/>
                <a:gd name="T13" fmla="*/ 596 h 1191"/>
                <a:gd name="T14" fmla="*/ 18 w 1192"/>
                <a:gd name="T15" fmla="*/ 447 h 1191"/>
                <a:gd name="T16" fmla="*/ 71 w 1192"/>
                <a:gd name="T17" fmla="*/ 311 h 1191"/>
                <a:gd name="T18" fmla="*/ 155 w 1192"/>
                <a:gd name="T19" fmla="*/ 195 h 1191"/>
                <a:gd name="T20" fmla="*/ 262 w 1192"/>
                <a:gd name="T21" fmla="*/ 101 h 1191"/>
                <a:gd name="T22" fmla="*/ 391 w 1192"/>
                <a:gd name="T23" fmla="*/ 36 h 1191"/>
                <a:gd name="T24" fmla="*/ 535 w 1192"/>
                <a:gd name="T25" fmla="*/ 3 h 1191"/>
                <a:gd name="T26" fmla="*/ 657 w 1192"/>
                <a:gd name="T27" fmla="*/ 3 h 1191"/>
                <a:gd name="T28" fmla="*/ 801 w 1192"/>
                <a:gd name="T29" fmla="*/ 36 h 1191"/>
                <a:gd name="T30" fmla="*/ 929 w 1192"/>
                <a:gd name="T31" fmla="*/ 101 h 1191"/>
                <a:gd name="T32" fmla="*/ 1036 w 1192"/>
                <a:gd name="T33" fmla="*/ 195 h 1191"/>
                <a:gd name="T34" fmla="*/ 1120 w 1192"/>
                <a:gd name="T35" fmla="*/ 311 h 1191"/>
                <a:gd name="T36" fmla="*/ 1173 w 1192"/>
                <a:gd name="T37" fmla="*/ 447 h 1191"/>
                <a:gd name="T38" fmla="*/ 1192 w 1192"/>
                <a:gd name="T39" fmla="*/ 596 h 1191"/>
                <a:gd name="T40" fmla="*/ 1179 w 1192"/>
                <a:gd name="T41" fmla="*/ 716 h 1191"/>
                <a:gd name="T42" fmla="*/ 1133 w 1192"/>
                <a:gd name="T43" fmla="*/ 853 h 1191"/>
                <a:gd name="T44" fmla="*/ 1055 w 1192"/>
                <a:gd name="T45" fmla="*/ 974 h 1191"/>
                <a:gd name="T46" fmla="*/ 953 w 1192"/>
                <a:gd name="T47" fmla="*/ 1073 h 1191"/>
                <a:gd name="T48" fmla="*/ 827 w 1192"/>
                <a:gd name="T49" fmla="*/ 1145 h 1191"/>
                <a:gd name="T50" fmla="*/ 687 w 1192"/>
                <a:gd name="T51" fmla="*/ 1184 h 1191"/>
                <a:gd name="T52" fmla="*/ 596 w 1192"/>
                <a:gd name="T53" fmla="*/ 66 h 1191"/>
                <a:gd name="T54" fmla="*/ 489 w 1192"/>
                <a:gd name="T55" fmla="*/ 76 h 1191"/>
                <a:gd name="T56" fmla="*/ 366 w 1192"/>
                <a:gd name="T57" fmla="*/ 118 h 1191"/>
                <a:gd name="T58" fmla="*/ 258 w 1192"/>
                <a:gd name="T59" fmla="*/ 187 h 1191"/>
                <a:gd name="T60" fmla="*/ 171 w 1192"/>
                <a:gd name="T61" fmla="*/ 278 h 1191"/>
                <a:gd name="T62" fmla="*/ 107 w 1192"/>
                <a:gd name="T63" fmla="*/ 390 h 1191"/>
                <a:gd name="T64" fmla="*/ 72 w 1192"/>
                <a:gd name="T65" fmla="*/ 515 h 1191"/>
                <a:gd name="T66" fmla="*/ 67 w 1192"/>
                <a:gd name="T67" fmla="*/ 622 h 1191"/>
                <a:gd name="T68" fmla="*/ 90 w 1192"/>
                <a:gd name="T69" fmla="*/ 753 h 1191"/>
                <a:gd name="T70" fmla="*/ 142 w 1192"/>
                <a:gd name="T71" fmla="*/ 870 h 1191"/>
                <a:gd name="T72" fmla="*/ 221 w 1192"/>
                <a:gd name="T73" fmla="*/ 970 h 1191"/>
                <a:gd name="T74" fmla="*/ 321 w 1192"/>
                <a:gd name="T75" fmla="*/ 1049 h 1191"/>
                <a:gd name="T76" fmla="*/ 438 w 1192"/>
                <a:gd name="T77" fmla="*/ 1101 h 1191"/>
                <a:gd name="T78" fmla="*/ 569 w 1192"/>
                <a:gd name="T79" fmla="*/ 1124 h 1191"/>
                <a:gd name="T80" fmla="*/ 676 w 1192"/>
                <a:gd name="T81" fmla="*/ 1119 h 1191"/>
                <a:gd name="T82" fmla="*/ 802 w 1192"/>
                <a:gd name="T83" fmla="*/ 1084 h 1191"/>
                <a:gd name="T84" fmla="*/ 912 w 1192"/>
                <a:gd name="T85" fmla="*/ 1020 h 1191"/>
                <a:gd name="T86" fmla="*/ 1004 w 1192"/>
                <a:gd name="T87" fmla="*/ 932 h 1191"/>
                <a:gd name="T88" fmla="*/ 1074 w 1192"/>
                <a:gd name="T89" fmla="*/ 825 h 1191"/>
                <a:gd name="T90" fmla="*/ 1115 w 1192"/>
                <a:gd name="T91" fmla="*/ 702 h 1191"/>
                <a:gd name="T92" fmla="*/ 1125 w 1192"/>
                <a:gd name="T93" fmla="*/ 596 h 1191"/>
                <a:gd name="T94" fmla="*/ 1109 w 1192"/>
                <a:gd name="T95" fmla="*/ 463 h 1191"/>
                <a:gd name="T96" fmla="*/ 1061 w 1192"/>
                <a:gd name="T97" fmla="*/ 343 h 1191"/>
                <a:gd name="T98" fmla="*/ 988 w 1192"/>
                <a:gd name="T99" fmla="*/ 240 h 1191"/>
                <a:gd name="T100" fmla="*/ 892 w 1192"/>
                <a:gd name="T101" fmla="*/ 156 h 1191"/>
                <a:gd name="T102" fmla="*/ 778 w 1192"/>
                <a:gd name="T103" fmla="*/ 98 h 1191"/>
                <a:gd name="T104" fmla="*/ 649 w 1192"/>
                <a:gd name="T105" fmla="*/ 68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92" h="1191">
                  <a:moveTo>
                    <a:pt x="596" y="1191"/>
                  </a:moveTo>
                  <a:lnTo>
                    <a:pt x="596" y="1191"/>
                  </a:lnTo>
                  <a:lnTo>
                    <a:pt x="565" y="1190"/>
                  </a:lnTo>
                  <a:lnTo>
                    <a:pt x="535" y="1188"/>
                  </a:lnTo>
                  <a:lnTo>
                    <a:pt x="505" y="1184"/>
                  </a:lnTo>
                  <a:lnTo>
                    <a:pt x="476" y="1179"/>
                  </a:lnTo>
                  <a:lnTo>
                    <a:pt x="447" y="1173"/>
                  </a:lnTo>
                  <a:lnTo>
                    <a:pt x="419" y="1165"/>
                  </a:lnTo>
                  <a:lnTo>
                    <a:pt x="391" y="1155"/>
                  </a:lnTo>
                  <a:lnTo>
                    <a:pt x="364" y="1145"/>
                  </a:lnTo>
                  <a:lnTo>
                    <a:pt x="337" y="1133"/>
                  </a:lnTo>
                  <a:lnTo>
                    <a:pt x="312" y="1119"/>
                  </a:lnTo>
                  <a:lnTo>
                    <a:pt x="286" y="1105"/>
                  </a:lnTo>
                  <a:lnTo>
                    <a:pt x="262" y="1089"/>
                  </a:lnTo>
                  <a:lnTo>
                    <a:pt x="240" y="1073"/>
                  </a:lnTo>
                  <a:lnTo>
                    <a:pt x="217" y="1055"/>
                  </a:lnTo>
                  <a:lnTo>
                    <a:pt x="195" y="1036"/>
                  </a:lnTo>
                  <a:lnTo>
                    <a:pt x="174" y="1017"/>
                  </a:lnTo>
                  <a:lnTo>
                    <a:pt x="155" y="996"/>
                  </a:lnTo>
                  <a:lnTo>
                    <a:pt x="136" y="974"/>
                  </a:lnTo>
                  <a:lnTo>
                    <a:pt x="118" y="951"/>
                  </a:lnTo>
                  <a:lnTo>
                    <a:pt x="101" y="929"/>
                  </a:lnTo>
                  <a:lnTo>
                    <a:pt x="85" y="904"/>
                  </a:lnTo>
                  <a:lnTo>
                    <a:pt x="71" y="879"/>
                  </a:lnTo>
                  <a:lnTo>
                    <a:pt x="59" y="853"/>
                  </a:lnTo>
                  <a:lnTo>
                    <a:pt x="46" y="827"/>
                  </a:lnTo>
                  <a:lnTo>
                    <a:pt x="36" y="800"/>
                  </a:lnTo>
                  <a:lnTo>
                    <a:pt x="26" y="772"/>
                  </a:lnTo>
                  <a:lnTo>
                    <a:pt x="18" y="745"/>
                  </a:lnTo>
                  <a:lnTo>
                    <a:pt x="12" y="716"/>
                  </a:lnTo>
                  <a:lnTo>
                    <a:pt x="7" y="686"/>
                  </a:lnTo>
                  <a:lnTo>
                    <a:pt x="3" y="657"/>
                  </a:lnTo>
                  <a:lnTo>
                    <a:pt x="1" y="626"/>
                  </a:lnTo>
                  <a:lnTo>
                    <a:pt x="0" y="596"/>
                  </a:lnTo>
                  <a:lnTo>
                    <a:pt x="0" y="596"/>
                  </a:lnTo>
                  <a:lnTo>
                    <a:pt x="1" y="565"/>
                  </a:lnTo>
                  <a:lnTo>
                    <a:pt x="3" y="535"/>
                  </a:lnTo>
                  <a:lnTo>
                    <a:pt x="7" y="505"/>
                  </a:lnTo>
                  <a:lnTo>
                    <a:pt x="12" y="476"/>
                  </a:lnTo>
                  <a:lnTo>
                    <a:pt x="18" y="447"/>
                  </a:lnTo>
                  <a:lnTo>
                    <a:pt x="26" y="419"/>
                  </a:lnTo>
                  <a:lnTo>
                    <a:pt x="36" y="391"/>
                  </a:lnTo>
                  <a:lnTo>
                    <a:pt x="46" y="364"/>
                  </a:lnTo>
                  <a:lnTo>
                    <a:pt x="59" y="337"/>
                  </a:lnTo>
                  <a:lnTo>
                    <a:pt x="71" y="311"/>
                  </a:lnTo>
                  <a:lnTo>
                    <a:pt x="85" y="286"/>
                  </a:lnTo>
                  <a:lnTo>
                    <a:pt x="101" y="262"/>
                  </a:lnTo>
                  <a:lnTo>
                    <a:pt x="118" y="239"/>
                  </a:lnTo>
                  <a:lnTo>
                    <a:pt x="136" y="216"/>
                  </a:lnTo>
                  <a:lnTo>
                    <a:pt x="155" y="195"/>
                  </a:lnTo>
                  <a:lnTo>
                    <a:pt x="174" y="175"/>
                  </a:lnTo>
                  <a:lnTo>
                    <a:pt x="195" y="154"/>
                  </a:lnTo>
                  <a:lnTo>
                    <a:pt x="217" y="135"/>
                  </a:lnTo>
                  <a:lnTo>
                    <a:pt x="240" y="118"/>
                  </a:lnTo>
                  <a:lnTo>
                    <a:pt x="262" y="101"/>
                  </a:lnTo>
                  <a:lnTo>
                    <a:pt x="286" y="86"/>
                  </a:lnTo>
                  <a:lnTo>
                    <a:pt x="312" y="71"/>
                  </a:lnTo>
                  <a:lnTo>
                    <a:pt x="337" y="58"/>
                  </a:lnTo>
                  <a:lnTo>
                    <a:pt x="364" y="46"/>
                  </a:lnTo>
                  <a:lnTo>
                    <a:pt x="391" y="36"/>
                  </a:lnTo>
                  <a:lnTo>
                    <a:pt x="419" y="26"/>
                  </a:lnTo>
                  <a:lnTo>
                    <a:pt x="447" y="18"/>
                  </a:lnTo>
                  <a:lnTo>
                    <a:pt x="476" y="11"/>
                  </a:lnTo>
                  <a:lnTo>
                    <a:pt x="505" y="6"/>
                  </a:lnTo>
                  <a:lnTo>
                    <a:pt x="535" y="3"/>
                  </a:lnTo>
                  <a:lnTo>
                    <a:pt x="565" y="0"/>
                  </a:lnTo>
                  <a:lnTo>
                    <a:pt x="596" y="0"/>
                  </a:lnTo>
                  <a:lnTo>
                    <a:pt x="596" y="0"/>
                  </a:lnTo>
                  <a:lnTo>
                    <a:pt x="627" y="0"/>
                  </a:lnTo>
                  <a:lnTo>
                    <a:pt x="657" y="3"/>
                  </a:lnTo>
                  <a:lnTo>
                    <a:pt x="687" y="6"/>
                  </a:lnTo>
                  <a:lnTo>
                    <a:pt x="716" y="11"/>
                  </a:lnTo>
                  <a:lnTo>
                    <a:pt x="745" y="18"/>
                  </a:lnTo>
                  <a:lnTo>
                    <a:pt x="773" y="26"/>
                  </a:lnTo>
                  <a:lnTo>
                    <a:pt x="801" y="36"/>
                  </a:lnTo>
                  <a:lnTo>
                    <a:pt x="827" y="46"/>
                  </a:lnTo>
                  <a:lnTo>
                    <a:pt x="854" y="58"/>
                  </a:lnTo>
                  <a:lnTo>
                    <a:pt x="879" y="71"/>
                  </a:lnTo>
                  <a:lnTo>
                    <a:pt x="905" y="86"/>
                  </a:lnTo>
                  <a:lnTo>
                    <a:pt x="929" y="101"/>
                  </a:lnTo>
                  <a:lnTo>
                    <a:pt x="953" y="118"/>
                  </a:lnTo>
                  <a:lnTo>
                    <a:pt x="974" y="135"/>
                  </a:lnTo>
                  <a:lnTo>
                    <a:pt x="996" y="154"/>
                  </a:lnTo>
                  <a:lnTo>
                    <a:pt x="1017" y="175"/>
                  </a:lnTo>
                  <a:lnTo>
                    <a:pt x="1036" y="195"/>
                  </a:lnTo>
                  <a:lnTo>
                    <a:pt x="1055" y="216"/>
                  </a:lnTo>
                  <a:lnTo>
                    <a:pt x="1074" y="239"/>
                  </a:lnTo>
                  <a:lnTo>
                    <a:pt x="1090" y="262"/>
                  </a:lnTo>
                  <a:lnTo>
                    <a:pt x="1106" y="286"/>
                  </a:lnTo>
                  <a:lnTo>
                    <a:pt x="1120" y="311"/>
                  </a:lnTo>
                  <a:lnTo>
                    <a:pt x="1133" y="337"/>
                  </a:lnTo>
                  <a:lnTo>
                    <a:pt x="1145" y="364"/>
                  </a:lnTo>
                  <a:lnTo>
                    <a:pt x="1156" y="391"/>
                  </a:lnTo>
                  <a:lnTo>
                    <a:pt x="1165" y="419"/>
                  </a:lnTo>
                  <a:lnTo>
                    <a:pt x="1173" y="447"/>
                  </a:lnTo>
                  <a:lnTo>
                    <a:pt x="1179" y="476"/>
                  </a:lnTo>
                  <a:lnTo>
                    <a:pt x="1186" y="505"/>
                  </a:lnTo>
                  <a:lnTo>
                    <a:pt x="1189" y="535"/>
                  </a:lnTo>
                  <a:lnTo>
                    <a:pt x="1191" y="565"/>
                  </a:lnTo>
                  <a:lnTo>
                    <a:pt x="1192" y="596"/>
                  </a:lnTo>
                  <a:lnTo>
                    <a:pt x="1192" y="596"/>
                  </a:lnTo>
                  <a:lnTo>
                    <a:pt x="1191" y="626"/>
                  </a:lnTo>
                  <a:lnTo>
                    <a:pt x="1189" y="657"/>
                  </a:lnTo>
                  <a:lnTo>
                    <a:pt x="1186" y="686"/>
                  </a:lnTo>
                  <a:lnTo>
                    <a:pt x="1179" y="716"/>
                  </a:lnTo>
                  <a:lnTo>
                    <a:pt x="1173" y="745"/>
                  </a:lnTo>
                  <a:lnTo>
                    <a:pt x="1165" y="772"/>
                  </a:lnTo>
                  <a:lnTo>
                    <a:pt x="1156" y="800"/>
                  </a:lnTo>
                  <a:lnTo>
                    <a:pt x="1145" y="827"/>
                  </a:lnTo>
                  <a:lnTo>
                    <a:pt x="1133" y="853"/>
                  </a:lnTo>
                  <a:lnTo>
                    <a:pt x="1120" y="879"/>
                  </a:lnTo>
                  <a:lnTo>
                    <a:pt x="1106" y="904"/>
                  </a:lnTo>
                  <a:lnTo>
                    <a:pt x="1090" y="929"/>
                  </a:lnTo>
                  <a:lnTo>
                    <a:pt x="1074" y="951"/>
                  </a:lnTo>
                  <a:lnTo>
                    <a:pt x="1055" y="974"/>
                  </a:lnTo>
                  <a:lnTo>
                    <a:pt x="1036" y="996"/>
                  </a:lnTo>
                  <a:lnTo>
                    <a:pt x="1017" y="1017"/>
                  </a:lnTo>
                  <a:lnTo>
                    <a:pt x="996" y="1036"/>
                  </a:lnTo>
                  <a:lnTo>
                    <a:pt x="974" y="1055"/>
                  </a:lnTo>
                  <a:lnTo>
                    <a:pt x="953" y="1073"/>
                  </a:lnTo>
                  <a:lnTo>
                    <a:pt x="929" y="1089"/>
                  </a:lnTo>
                  <a:lnTo>
                    <a:pt x="905" y="1105"/>
                  </a:lnTo>
                  <a:lnTo>
                    <a:pt x="879" y="1119"/>
                  </a:lnTo>
                  <a:lnTo>
                    <a:pt x="854" y="1133"/>
                  </a:lnTo>
                  <a:lnTo>
                    <a:pt x="827" y="1145"/>
                  </a:lnTo>
                  <a:lnTo>
                    <a:pt x="801" y="1155"/>
                  </a:lnTo>
                  <a:lnTo>
                    <a:pt x="773" y="1165"/>
                  </a:lnTo>
                  <a:lnTo>
                    <a:pt x="745" y="1173"/>
                  </a:lnTo>
                  <a:lnTo>
                    <a:pt x="716" y="1179"/>
                  </a:lnTo>
                  <a:lnTo>
                    <a:pt x="687" y="1184"/>
                  </a:lnTo>
                  <a:lnTo>
                    <a:pt x="657" y="1188"/>
                  </a:lnTo>
                  <a:lnTo>
                    <a:pt x="627" y="1190"/>
                  </a:lnTo>
                  <a:lnTo>
                    <a:pt x="596" y="1191"/>
                  </a:lnTo>
                  <a:lnTo>
                    <a:pt x="596" y="1191"/>
                  </a:lnTo>
                  <a:close/>
                  <a:moveTo>
                    <a:pt x="596" y="66"/>
                  </a:moveTo>
                  <a:lnTo>
                    <a:pt x="596" y="66"/>
                  </a:lnTo>
                  <a:lnTo>
                    <a:pt x="569" y="66"/>
                  </a:lnTo>
                  <a:lnTo>
                    <a:pt x="542" y="68"/>
                  </a:lnTo>
                  <a:lnTo>
                    <a:pt x="515" y="71"/>
                  </a:lnTo>
                  <a:lnTo>
                    <a:pt x="489" y="76"/>
                  </a:lnTo>
                  <a:lnTo>
                    <a:pt x="463" y="82"/>
                  </a:lnTo>
                  <a:lnTo>
                    <a:pt x="438" y="90"/>
                  </a:lnTo>
                  <a:lnTo>
                    <a:pt x="414" y="98"/>
                  </a:lnTo>
                  <a:lnTo>
                    <a:pt x="390" y="107"/>
                  </a:lnTo>
                  <a:lnTo>
                    <a:pt x="366" y="118"/>
                  </a:lnTo>
                  <a:lnTo>
                    <a:pt x="343" y="129"/>
                  </a:lnTo>
                  <a:lnTo>
                    <a:pt x="321" y="142"/>
                  </a:lnTo>
                  <a:lnTo>
                    <a:pt x="300" y="156"/>
                  </a:lnTo>
                  <a:lnTo>
                    <a:pt x="279" y="170"/>
                  </a:lnTo>
                  <a:lnTo>
                    <a:pt x="258" y="187"/>
                  </a:lnTo>
                  <a:lnTo>
                    <a:pt x="240" y="203"/>
                  </a:lnTo>
                  <a:lnTo>
                    <a:pt x="221" y="221"/>
                  </a:lnTo>
                  <a:lnTo>
                    <a:pt x="203" y="240"/>
                  </a:lnTo>
                  <a:lnTo>
                    <a:pt x="187" y="258"/>
                  </a:lnTo>
                  <a:lnTo>
                    <a:pt x="171" y="278"/>
                  </a:lnTo>
                  <a:lnTo>
                    <a:pt x="156" y="300"/>
                  </a:lnTo>
                  <a:lnTo>
                    <a:pt x="142" y="320"/>
                  </a:lnTo>
                  <a:lnTo>
                    <a:pt x="130" y="343"/>
                  </a:lnTo>
                  <a:lnTo>
                    <a:pt x="118" y="366"/>
                  </a:lnTo>
                  <a:lnTo>
                    <a:pt x="107" y="390"/>
                  </a:lnTo>
                  <a:lnTo>
                    <a:pt x="98" y="413"/>
                  </a:lnTo>
                  <a:lnTo>
                    <a:pt x="90" y="438"/>
                  </a:lnTo>
                  <a:lnTo>
                    <a:pt x="82" y="463"/>
                  </a:lnTo>
                  <a:lnTo>
                    <a:pt x="76" y="489"/>
                  </a:lnTo>
                  <a:lnTo>
                    <a:pt x="72" y="515"/>
                  </a:lnTo>
                  <a:lnTo>
                    <a:pt x="69" y="541"/>
                  </a:lnTo>
                  <a:lnTo>
                    <a:pt x="67" y="568"/>
                  </a:lnTo>
                  <a:lnTo>
                    <a:pt x="66" y="596"/>
                  </a:lnTo>
                  <a:lnTo>
                    <a:pt x="66" y="596"/>
                  </a:lnTo>
                  <a:lnTo>
                    <a:pt x="67" y="622"/>
                  </a:lnTo>
                  <a:lnTo>
                    <a:pt x="69" y="649"/>
                  </a:lnTo>
                  <a:lnTo>
                    <a:pt x="72" y="676"/>
                  </a:lnTo>
                  <a:lnTo>
                    <a:pt x="76" y="702"/>
                  </a:lnTo>
                  <a:lnTo>
                    <a:pt x="82" y="728"/>
                  </a:lnTo>
                  <a:lnTo>
                    <a:pt x="90" y="753"/>
                  </a:lnTo>
                  <a:lnTo>
                    <a:pt x="98" y="778"/>
                  </a:lnTo>
                  <a:lnTo>
                    <a:pt x="107" y="801"/>
                  </a:lnTo>
                  <a:lnTo>
                    <a:pt x="118" y="825"/>
                  </a:lnTo>
                  <a:lnTo>
                    <a:pt x="130" y="848"/>
                  </a:lnTo>
                  <a:lnTo>
                    <a:pt x="142" y="870"/>
                  </a:lnTo>
                  <a:lnTo>
                    <a:pt x="156" y="891"/>
                  </a:lnTo>
                  <a:lnTo>
                    <a:pt x="171" y="912"/>
                  </a:lnTo>
                  <a:lnTo>
                    <a:pt x="187" y="932"/>
                  </a:lnTo>
                  <a:lnTo>
                    <a:pt x="203" y="951"/>
                  </a:lnTo>
                  <a:lnTo>
                    <a:pt x="221" y="970"/>
                  </a:lnTo>
                  <a:lnTo>
                    <a:pt x="240" y="988"/>
                  </a:lnTo>
                  <a:lnTo>
                    <a:pt x="258" y="1004"/>
                  </a:lnTo>
                  <a:lnTo>
                    <a:pt x="279" y="1020"/>
                  </a:lnTo>
                  <a:lnTo>
                    <a:pt x="300" y="1034"/>
                  </a:lnTo>
                  <a:lnTo>
                    <a:pt x="321" y="1049"/>
                  </a:lnTo>
                  <a:lnTo>
                    <a:pt x="343" y="1061"/>
                  </a:lnTo>
                  <a:lnTo>
                    <a:pt x="366" y="1073"/>
                  </a:lnTo>
                  <a:lnTo>
                    <a:pt x="390" y="1084"/>
                  </a:lnTo>
                  <a:lnTo>
                    <a:pt x="414" y="1093"/>
                  </a:lnTo>
                  <a:lnTo>
                    <a:pt x="438" y="1101"/>
                  </a:lnTo>
                  <a:lnTo>
                    <a:pt x="463" y="1109"/>
                  </a:lnTo>
                  <a:lnTo>
                    <a:pt x="489" y="1114"/>
                  </a:lnTo>
                  <a:lnTo>
                    <a:pt x="515" y="1119"/>
                  </a:lnTo>
                  <a:lnTo>
                    <a:pt x="542" y="1122"/>
                  </a:lnTo>
                  <a:lnTo>
                    <a:pt x="569" y="1124"/>
                  </a:lnTo>
                  <a:lnTo>
                    <a:pt x="596" y="1125"/>
                  </a:lnTo>
                  <a:lnTo>
                    <a:pt x="596" y="1125"/>
                  </a:lnTo>
                  <a:lnTo>
                    <a:pt x="623" y="1124"/>
                  </a:lnTo>
                  <a:lnTo>
                    <a:pt x="649" y="1122"/>
                  </a:lnTo>
                  <a:lnTo>
                    <a:pt x="676" y="1119"/>
                  </a:lnTo>
                  <a:lnTo>
                    <a:pt x="702" y="1114"/>
                  </a:lnTo>
                  <a:lnTo>
                    <a:pt x="728" y="1109"/>
                  </a:lnTo>
                  <a:lnTo>
                    <a:pt x="753" y="1101"/>
                  </a:lnTo>
                  <a:lnTo>
                    <a:pt x="778" y="1093"/>
                  </a:lnTo>
                  <a:lnTo>
                    <a:pt x="802" y="1084"/>
                  </a:lnTo>
                  <a:lnTo>
                    <a:pt x="825" y="1073"/>
                  </a:lnTo>
                  <a:lnTo>
                    <a:pt x="848" y="1061"/>
                  </a:lnTo>
                  <a:lnTo>
                    <a:pt x="870" y="1049"/>
                  </a:lnTo>
                  <a:lnTo>
                    <a:pt x="892" y="1034"/>
                  </a:lnTo>
                  <a:lnTo>
                    <a:pt x="912" y="1020"/>
                  </a:lnTo>
                  <a:lnTo>
                    <a:pt x="933" y="1004"/>
                  </a:lnTo>
                  <a:lnTo>
                    <a:pt x="952" y="988"/>
                  </a:lnTo>
                  <a:lnTo>
                    <a:pt x="970" y="970"/>
                  </a:lnTo>
                  <a:lnTo>
                    <a:pt x="988" y="951"/>
                  </a:lnTo>
                  <a:lnTo>
                    <a:pt x="1004" y="932"/>
                  </a:lnTo>
                  <a:lnTo>
                    <a:pt x="1020" y="912"/>
                  </a:lnTo>
                  <a:lnTo>
                    <a:pt x="1035" y="891"/>
                  </a:lnTo>
                  <a:lnTo>
                    <a:pt x="1049" y="870"/>
                  </a:lnTo>
                  <a:lnTo>
                    <a:pt x="1061" y="848"/>
                  </a:lnTo>
                  <a:lnTo>
                    <a:pt x="1074" y="825"/>
                  </a:lnTo>
                  <a:lnTo>
                    <a:pt x="1084" y="801"/>
                  </a:lnTo>
                  <a:lnTo>
                    <a:pt x="1093" y="778"/>
                  </a:lnTo>
                  <a:lnTo>
                    <a:pt x="1102" y="753"/>
                  </a:lnTo>
                  <a:lnTo>
                    <a:pt x="1109" y="728"/>
                  </a:lnTo>
                  <a:lnTo>
                    <a:pt x="1115" y="702"/>
                  </a:lnTo>
                  <a:lnTo>
                    <a:pt x="1119" y="676"/>
                  </a:lnTo>
                  <a:lnTo>
                    <a:pt x="1123" y="649"/>
                  </a:lnTo>
                  <a:lnTo>
                    <a:pt x="1125" y="622"/>
                  </a:lnTo>
                  <a:lnTo>
                    <a:pt x="1125" y="596"/>
                  </a:lnTo>
                  <a:lnTo>
                    <a:pt x="1125" y="596"/>
                  </a:lnTo>
                  <a:lnTo>
                    <a:pt x="1125" y="568"/>
                  </a:lnTo>
                  <a:lnTo>
                    <a:pt x="1123" y="541"/>
                  </a:lnTo>
                  <a:lnTo>
                    <a:pt x="1119" y="515"/>
                  </a:lnTo>
                  <a:lnTo>
                    <a:pt x="1115" y="489"/>
                  </a:lnTo>
                  <a:lnTo>
                    <a:pt x="1109" y="463"/>
                  </a:lnTo>
                  <a:lnTo>
                    <a:pt x="1102" y="438"/>
                  </a:lnTo>
                  <a:lnTo>
                    <a:pt x="1093" y="413"/>
                  </a:lnTo>
                  <a:lnTo>
                    <a:pt x="1084" y="390"/>
                  </a:lnTo>
                  <a:lnTo>
                    <a:pt x="1074" y="366"/>
                  </a:lnTo>
                  <a:lnTo>
                    <a:pt x="1061" y="343"/>
                  </a:lnTo>
                  <a:lnTo>
                    <a:pt x="1049" y="320"/>
                  </a:lnTo>
                  <a:lnTo>
                    <a:pt x="1035" y="300"/>
                  </a:lnTo>
                  <a:lnTo>
                    <a:pt x="1020" y="278"/>
                  </a:lnTo>
                  <a:lnTo>
                    <a:pt x="1004" y="258"/>
                  </a:lnTo>
                  <a:lnTo>
                    <a:pt x="988" y="240"/>
                  </a:lnTo>
                  <a:lnTo>
                    <a:pt x="970" y="221"/>
                  </a:lnTo>
                  <a:lnTo>
                    <a:pt x="952" y="203"/>
                  </a:lnTo>
                  <a:lnTo>
                    <a:pt x="933" y="187"/>
                  </a:lnTo>
                  <a:lnTo>
                    <a:pt x="912" y="170"/>
                  </a:lnTo>
                  <a:lnTo>
                    <a:pt x="892" y="156"/>
                  </a:lnTo>
                  <a:lnTo>
                    <a:pt x="870" y="142"/>
                  </a:lnTo>
                  <a:lnTo>
                    <a:pt x="848" y="129"/>
                  </a:lnTo>
                  <a:lnTo>
                    <a:pt x="825" y="118"/>
                  </a:lnTo>
                  <a:lnTo>
                    <a:pt x="802" y="107"/>
                  </a:lnTo>
                  <a:lnTo>
                    <a:pt x="778" y="98"/>
                  </a:lnTo>
                  <a:lnTo>
                    <a:pt x="753" y="90"/>
                  </a:lnTo>
                  <a:lnTo>
                    <a:pt x="728" y="82"/>
                  </a:lnTo>
                  <a:lnTo>
                    <a:pt x="702" y="76"/>
                  </a:lnTo>
                  <a:lnTo>
                    <a:pt x="676" y="71"/>
                  </a:lnTo>
                  <a:lnTo>
                    <a:pt x="649" y="68"/>
                  </a:lnTo>
                  <a:lnTo>
                    <a:pt x="623" y="66"/>
                  </a:lnTo>
                  <a:lnTo>
                    <a:pt x="596" y="66"/>
                  </a:lnTo>
                  <a:lnTo>
                    <a:pt x="596"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2" name="Freeform 13">
              <a:extLst>
                <a:ext uri="{FF2B5EF4-FFF2-40B4-BE49-F238E27FC236}">
                  <a16:creationId xmlns:a16="http://schemas.microsoft.com/office/drawing/2014/main" id="{9A12645A-2F34-BDA2-C91D-5E660281F554}"/>
                </a:ext>
              </a:extLst>
            </p:cNvPr>
            <p:cNvSpPr>
              <a:spLocks noEditPoints="1"/>
            </p:cNvSpPr>
            <p:nvPr/>
          </p:nvSpPr>
          <p:spPr bwMode="auto">
            <a:xfrm>
              <a:off x="7108825" y="1941513"/>
              <a:ext cx="150813" cy="150813"/>
            </a:xfrm>
            <a:custGeom>
              <a:avLst/>
              <a:gdLst>
                <a:gd name="T0" fmla="*/ 232 w 663"/>
                <a:gd name="T1" fmla="*/ 662 h 662"/>
                <a:gd name="T2" fmla="*/ 214 w 663"/>
                <a:gd name="T3" fmla="*/ 655 h 662"/>
                <a:gd name="T4" fmla="*/ 202 w 663"/>
                <a:gd name="T5" fmla="*/ 641 h 662"/>
                <a:gd name="T6" fmla="*/ 199 w 663"/>
                <a:gd name="T7" fmla="*/ 463 h 662"/>
                <a:gd name="T8" fmla="*/ 26 w 663"/>
                <a:gd name="T9" fmla="*/ 462 h 662"/>
                <a:gd name="T10" fmla="*/ 10 w 663"/>
                <a:gd name="T11" fmla="*/ 453 h 662"/>
                <a:gd name="T12" fmla="*/ 2 w 663"/>
                <a:gd name="T13" fmla="*/ 436 h 662"/>
                <a:gd name="T14" fmla="*/ 0 w 663"/>
                <a:gd name="T15" fmla="*/ 231 h 662"/>
                <a:gd name="T16" fmla="*/ 6 w 663"/>
                <a:gd name="T17" fmla="*/ 213 h 662"/>
                <a:gd name="T18" fmla="*/ 20 w 663"/>
                <a:gd name="T19" fmla="*/ 200 h 662"/>
                <a:gd name="T20" fmla="*/ 199 w 663"/>
                <a:gd name="T21" fmla="*/ 198 h 662"/>
                <a:gd name="T22" fmla="*/ 200 w 663"/>
                <a:gd name="T23" fmla="*/ 25 h 662"/>
                <a:gd name="T24" fmla="*/ 208 w 663"/>
                <a:gd name="T25" fmla="*/ 9 h 662"/>
                <a:gd name="T26" fmla="*/ 226 w 663"/>
                <a:gd name="T27" fmla="*/ 0 h 662"/>
                <a:gd name="T28" fmla="*/ 431 w 663"/>
                <a:gd name="T29" fmla="*/ 0 h 662"/>
                <a:gd name="T30" fmla="*/ 450 w 663"/>
                <a:gd name="T31" fmla="*/ 5 h 662"/>
                <a:gd name="T32" fmla="*/ 462 w 663"/>
                <a:gd name="T33" fmla="*/ 19 h 662"/>
                <a:gd name="T34" fmla="*/ 464 w 663"/>
                <a:gd name="T35" fmla="*/ 198 h 662"/>
                <a:gd name="T36" fmla="*/ 637 w 663"/>
                <a:gd name="T37" fmla="*/ 198 h 662"/>
                <a:gd name="T38" fmla="*/ 653 w 663"/>
                <a:gd name="T39" fmla="*/ 207 h 662"/>
                <a:gd name="T40" fmla="*/ 662 w 663"/>
                <a:gd name="T41" fmla="*/ 224 h 662"/>
                <a:gd name="T42" fmla="*/ 663 w 663"/>
                <a:gd name="T43" fmla="*/ 430 h 662"/>
                <a:gd name="T44" fmla="*/ 658 w 663"/>
                <a:gd name="T45" fmla="*/ 449 h 662"/>
                <a:gd name="T46" fmla="*/ 643 w 663"/>
                <a:gd name="T47" fmla="*/ 460 h 662"/>
                <a:gd name="T48" fmla="*/ 464 w 663"/>
                <a:gd name="T49" fmla="*/ 463 h 662"/>
                <a:gd name="T50" fmla="*/ 463 w 663"/>
                <a:gd name="T51" fmla="*/ 635 h 662"/>
                <a:gd name="T52" fmla="*/ 455 w 663"/>
                <a:gd name="T53" fmla="*/ 651 h 662"/>
                <a:gd name="T54" fmla="*/ 438 w 663"/>
                <a:gd name="T55" fmla="*/ 661 h 662"/>
                <a:gd name="T56" fmla="*/ 265 w 663"/>
                <a:gd name="T57" fmla="*/ 595 h 662"/>
                <a:gd name="T58" fmla="*/ 398 w 663"/>
                <a:gd name="T59" fmla="*/ 430 h 662"/>
                <a:gd name="T60" fmla="*/ 404 w 663"/>
                <a:gd name="T61" fmla="*/ 411 h 662"/>
                <a:gd name="T62" fmla="*/ 419 w 663"/>
                <a:gd name="T63" fmla="*/ 399 h 662"/>
                <a:gd name="T64" fmla="*/ 597 w 663"/>
                <a:gd name="T65" fmla="*/ 397 h 662"/>
                <a:gd name="T66" fmla="*/ 431 w 663"/>
                <a:gd name="T67" fmla="*/ 264 h 662"/>
                <a:gd name="T68" fmla="*/ 412 w 663"/>
                <a:gd name="T69" fmla="*/ 258 h 662"/>
                <a:gd name="T70" fmla="*/ 401 w 663"/>
                <a:gd name="T71" fmla="*/ 244 h 662"/>
                <a:gd name="T72" fmla="*/ 398 w 663"/>
                <a:gd name="T73" fmla="*/ 66 h 662"/>
                <a:gd name="T74" fmla="*/ 265 w 663"/>
                <a:gd name="T75" fmla="*/ 231 h 662"/>
                <a:gd name="T76" fmla="*/ 260 w 663"/>
                <a:gd name="T77" fmla="*/ 250 h 662"/>
                <a:gd name="T78" fmla="*/ 245 w 663"/>
                <a:gd name="T79" fmla="*/ 261 h 662"/>
                <a:gd name="T80" fmla="*/ 67 w 663"/>
                <a:gd name="T81" fmla="*/ 264 h 662"/>
                <a:gd name="T82" fmla="*/ 232 w 663"/>
                <a:gd name="T83" fmla="*/ 397 h 662"/>
                <a:gd name="T84" fmla="*/ 251 w 663"/>
                <a:gd name="T85" fmla="*/ 402 h 662"/>
                <a:gd name="T86" fmla="*/ 262 w 663"/>
                <a:gd name="T87" fmla="*/ 416 h 662"/>
                <a:gd name="T88" fmla="*/ 265 w 663"/>
                <a:gd name="T89" fmla="*/ 59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3" h="662">
                  <a:moveTo>
                    <a:pt x="431" y="662"/>
                  </a:moveTo>
                  <a:lnTo>
                    <a:pt x="232" y="662"/>
                  </a:lnTo>
                  <a:lnTo>
                    <a:pt x="232" y="662"/>
                  </a:lnTo>
                  <a:lnTo>
                    <a:pt x="226" y="661"/>
                  </a:lnTo>
                  <a:lnTo>
                    <a:pt x="220" y="659"/>
                  </a:lnTo>
                  <a:lnTo>
                    <a:pt x="214" y="655"/>
                  </a:lnTo>
                  <a:lnTo>
                    <a:pt x="208" y="651"/>
                  </a:lnTo>
                  <a:lnTo>
                    <a:pt x="204" y="647"/>
                  </a:lnTo>
                  <a:lnTo>
                    <a:pt x="202" y="641"/>
                  </a:lnTo>
                  <a:lnTo>
                    <a:pt x="200" y="635"/>
                  </a:lnTo>
                  <a:lnTo>
                    <a:pt x="199" y="629"/>
                  </a:lnTo>
                  <a:lnTo>
                    <a:pt x="199" y="463"/>
                  </a:lnTo>
                  <a:lnTo>
                    <a:pt x="34" y="463"/>
                  </a:lnTo>
                  <a:lnTo>
                    <a:pt x="34" y="463"/>
                  </a:lnTo>
                  <a:lnTo>
                    <a:pt x="26" y="462"/>
                  </a:lnTo>
                  <a:lnTo>
                    <a:pt x="20" y="460"/>
                  </a:lnTo>
                  <a:lnTo>
                    <a:pt x="15" y="457"/>
                  </a:lnTo>
                  <a:lnTo>
                    <a:pt x="10" y="453"/>
                  </a:lnTo>
                  <a:lnTo>
                    <a:pt x="6" y="449"/>
                  </a:lnTo>
                  <a:lnTo>
                    <a:pt x="3" y="442"/>
                  </a:lnTo>
                  <a:lnTo>
                    <a:pt x="2" y="436"/>
                  </a:lnTo>
                  <a:lnTo>
                    <a:pt x="0" y="430"/>
                  </a:lnTo>
                  <a:lnTo>
                    <a:pt x="0" y="231"/>
                  </a:lnTo>
                  <a:lnTo>
                    <a:pt x="0" y="231"/>
                  </a:lnTo>
                  <a:lnTo>
                    <a:pt x="2" y="224"/>
                  </a:lnTo>
                  <a:lnTo>
                    <a:pt x="3" y="218"/>
                  </a:lnTo>
                  <a:lnTo>
                    <a:pt x="6" y="213"/>
                  </a:lnTo>
                  <a:lnTo>
                    <a:pt x="10" y="207"/>
                  </a:lnTo>
                  <a:lnTo>
                    <a:pt x="15" y="203"/>
                  </a:lnTo>
                  <a:lnTo>
                    <a:pt x="20" y="200"/>
                  </a:lnTo>
                  <a:lnTo>
                    <a:pt x="26" y="198"/>
                  </a:lnTo>
                  <a:lnTo>
                    <a:pt x="34" y="198"/>
                  </a:lnTo>
                  <a:lnTo>
                    <a:pt x="199" y="198"/>
                  </a:lnTo>
                  <a:lnTo>
                    <a:pt x="199" y="33"/>
                  </a:lnTo>
                  <a:lnTo>
                    <a:pt x="199" y="33"/>
                  </a:lnTo>
                  <a:lnTo>
                    <a:pt x="200" y="25"/>
                  </a:lnTo>
                  <a:lnTo>
                    <a:pt x="202" y="19"/>
                  </a:lnTo>
                  <a:lnTo>
                    <a:pt x="204" y="14"/>
                  </a:lnTo>
                  <a:lnTo>
                    <a:pt x="208" y="9"/>
                  </a:lnTo>
                  <a:lnTo>
                    <a:pt x="214" y="5"/>
                  </a:lnTo>
                  <a:lnTo>
                    <a:pt x="220" y="2"/>
                  </a:lnTo>
                  <a:lnTo>
                    <a:pt x="226" y="0"/>
                  </a:lnTo>
                  <a:lnTo>
                    <a:pt x="232" y="0"/>
                  </a:lnTo>
                  <a:lnTo>
                    <a:pt x="431" y="0"/>
                  </a:lnTo>
                  <a:lnTo>
                    <a:pt x="431" y="0"/>
                  </a:lnTo>
                  <a:lnTo>
                    <a:pt x="438" y="0"/>
                  </a:lnTo>
                  <a:lnTo>
                    <a:pt x="444" y="2"/>
                  </a:lnTo>
                  <a:lnTo>
                    <a:pt x="450" y="5"/>
                  </a:lnTo>
                  <a:lnTo>
                    <a:pt x="455" y="9"/>
                  </a:lnTo>
                  <a:lnTo>
                    <a:pt x="459" y="14"/>
                  </a:lnTo>
                  <a:lnTo>
                    <a:pt x="462" y="19"/>
                  </a:lnTo>
                  <a:lnTo>
                    <a:pt x="463" y="25"/>
                  </a:lnTo>
                  <a:lnTo>
                    <a:pt x="464" y="33"/>
                  </a:lnTo>
                  <a:lnTo>
                    <a:pt x="464" y="198"/>
                  </a:lnTo>
                  <a:lnTo>
                    <a:pt x="630" y="198"/>
                  </a:lnTo>
                  <a:lnTo>
                    <a:pt x="630" y="198"/>
                  </a:lnTo>
                  <a:lnTo>
                    <a:pt x="637" y="198"/>
                  </a:lnTo>
                  <a:lnTo>
                    <a:pt x="643" y="200"/>
                  </a:lnTo>
                  <a:lnTo>
                    <a:pt x="648" y="203"/>
                  </a:lnTo>
                  <a:lnTo>
                    <a:pt x="653" y="207"/>
                  </a:lnTo>
                  <a:lnTo>
                    <a:pt x="658" y="213"/>
                  </a:lnTo>
                  <a:lnTo>
                    <a:pt x="661" y="218"/>
                  </a:lnTo>
                  <a:lnTo>
                    <a:pt x="662" y="224"/>
                  </a:lnTo>
                  <a:lnTo>
                    <a:pt x="663" y="231"/>
                  </a:lnTo>
                  <a:lnTo>
                    <a:pt x="663" y="430"/>
                  </a:lnTo>
                  <a:lnTo>
                    <a:pt x="663" y="430"/>
                  </a:lnTo>
                  <a:lnTo>
                    <a:pt x="662" y="436"/>
                  </a:lnTo>
                  <a:lnTo>
                    <a:pt x="661" y="442"/>
                  </a:lnTo>
                  <a:lnTo>
                    <a:pt x="658" y="449"/>
                  </a:lnTo>
                  <a:lnTo>
                    <a:pt x="653" y="453"/>
                  </a:lnTo>
                  <a:lnTo>
                    <a:pt x="648" y="457"/>
                  </a:lnTo>
                  <a:lnTo>
                    <a:pt x="643" y="460"/>
                  </a:lnTo>
                  <a:lnTo>
                    <a:pt x="637" y="462"/>
                  </a:lnTo>
                  <a:lnTo>
                    <a:pt x="630" y="463"/>
                  </a:lnTo>
                  <a:lnTo>
                    <a:pt x="464" y="463"/>
                  </a:lnTo>
                  <a:lnTo>
                    <a:pt x="464" y="629"/>
                  </a:lnTo>
                  <a:lnTo>
                    <a:pt x="464" y="629"/>
                  </a:lnTo>
                  <a:lnTo>
                    <a:pt x="463" y="635"/>
                  </a:lnTo>
                  <a:lnTo>
                    <a:pt x="462" y="641"/>
                  </a:lnTo>
                  <a:lnTo>
                    <a:pt x="459" y="647"/>
                  </a:lnTo>
                  <a:lnTo>
                    <a:pt x="455" y="651"/>
                  </a:lnTo>
                  <a:lnTo>
                    <a:pt x="450" y="655"/>
                  </a:lnTo>
                  <a:lnTo>
                    <a:pt x="444" y="659"/>
                  </a:lnTo>
                  <a:lnTo>
                    <a:pt x="438" y="661"/>
                  </a:lnTo>
                  <a:lnTo>
                    <a:pt x="431" y="662"/>
                  </a:lnTo>
                  <a:lnTo>
                    <a:pt x="431" y="662"/>
                  </a:lnTo>
                  <a:close/>
                  <a:moveTo>
                    <a:pt x="265" y="595"/>
                  </a:moveTo>
                  <a:lnTo>
                    <a:pt x="398" y="595"/>
                  </a:lnTo>
                  <a:lnTo>
                    <a:pt x="398" y="430"/>
                  </a:lnTo>
                  <a:lnTo>
                    <a:pt x="398" y="430"/>
                  </a:lnTo>
                  <a:lnTo>
                    <a:pt x="399" y="423"/>
                  </a:lnTo>
                  <a:lnTo>
                    <a:pt x="401" y="416"/>
                  </a:lnTo>
                  <a:lnTo>
                    <a:pt x="404" y="411"/>
                  </a:lnTo>
                  <a:lnTo>
                    <a:pt x="407" y="406"/>
                  </a:lnTo>
                  <a:lnTo>
                    <a:pt x="412" y="402"/>
                  </a:lnTo>
                  <a:lnTo>
                    <a:pt x="419" y="399"/>
                  </a:lnTo>
                  <a:lnTo>
                    <a:pt x="425" y="397"/>
                  </a:lnTo>
                  <a:lnTo>
                    <a:pt x="431" y="397"/>
                  </a:lnTo>
                  <a:lnTo>
                    <a:pt x="597" y="397"/>
                  </a:lnTo>
                  <a:lnTo>
                    <a:pt x="597" y="264"/>
                  </a:lnTo>
                  <a:lnTo>
                    <a:pt x="431" y="264"/>
                  </a:lnTo>
                  <a:lnTo>
                    <a:pt x="431" y="264"/>
                  </a:lnTo>
                  <a:lnTo>
                    <a:pt x="425" y="263"/>
                  </a:lnTo>
                  <a:lnTo>
                    <a:pt x="419" y="261"/>
                  </a:lnTo>
                  <a:lnTo>
                    <a:pt x="412" y="258"/>
                  </a:lnTo>
                  <a:lnTo>
                    <a:pt x="407" y="254"/>
                  </a:lnTo>
                  <a:lnTo>
                    <a:pt x="404" y="250"/>
                  </a:lnTo>
                  <a:lnTo>
                    <a:pt x="401" y="244"/>
                  </a:lnTo>
                  <a:lnTo>
                    <a:pt x="399" y="237"/>
                  </a:lnTo>
                  <a:lnTo>
                    <a:pt x="398" y="231"/>
                  </a:lnTo>
                  <a:lnTo>
                    <a:pt x="398" y="66"/>
                  </a:lnTo>
                  <a:lnTo>
                    <a:pt x="265" y="66"/>
                  </a:lnTo>
                  <a:lnTo>
                    <a:pt x="265" y="231"/>
                  </a:lnTo>
                  <a:lnTo>
                    <a:pt x="265" y="231"/>
                  </a:lnTo>
                  <a:lnTo>
                    <a:pt x="264" y="237"/>
                  </a:lnTo>
                  <a:lnTo>
                    <a:pt x="262" y="244"/>
                  </a:lnTo>
                  <a:lnTo>
                    <a:pt x="260" y="250"/>
                  </a:lnTo>
                  <a:lnTo>
                    <a:pt x="256" y="254"/>
                  </a:lnTo>
                  <a:lnTo>
                    <a:pt x="251" y="258"/>
                  </a:lnTo>
                  <a:lnTo>
                    <a:pt x="245" y="261"/>
                  </a:lnTo>
                  <a:lnTo>
                    <a:pt x="239" y="263"/>
                  </a:lnTo>
                  <a:lnTo>
                    <a:pt x="232" y="264"/>
                  </a:lnTo>
                  <a:lnTo>
                    <a:pt x="67" y="264"/>
                  </a:lnTo>
                  <a:lnTo>
                    <a:pt x="67" y="397"/>
                  </a:lnTo>
                  <a:lnTo>
                    <a:pt x="232" y="397"/>
                  </a:lnTo>
                  <a:lnTo>
                    <a:pt x="232" y="397"/>
                  </a:lnTo>
                  <a:lnTo>
                    <a:pt x="239" y="397"/>
                  </a:lnTo>
                  <a:lnTo>
                    <a:pt x="245" y="399"/>
                  </a:lnTo>
                  <a:lnTo>
                    <a:pt x="251" y="402"/>
                  </a:lnTo>
                  <a:lnTo>
                    <a:pt x="256" y="406"/>
                  </a:lnTo>
                  <a:lnTo>
                    <a:pt x="260" y="411"/>
                  </a:lnTo>
                  <a:lnTo>
                    <a:pt x="262" y="416"/>
                  </a:lnTo>
                  <a:lnTo>
                    <a:pt x="264" y="423"/>
                  </a:lnTo>
                  <a:lnTo>
                    <a:pt x="265" y="430"/>
                  </a:lnTo>
                  <a:lnTo>
                    <a:pt x="265" y="5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53" name="Group 52">
            <a:extLst>
              <a:ext uri="{FF2B5EF4-FFF2-40B4-BE49-F238E27FC236}">
                <a16:creationId xmlns:a16="http://schemas.microsoft.com/office/drawing/2014/main" id="{67D9DE54-4167-A972-461A-5E09DD39D33B}"/>
              </a:ext>
            </a:extLst>
          </p:cNvPr>
          <p:cNvGrpSpPr/>
          <p:nvPr/>
        </p:nvGrpSpPr>
        <p:grpSpPr>
          <a:xfrm>
            <a:off x="10065859" y="1557205"/>
            <a:ext cx="305640" cy="312524"/>
            <a:chOff x="4116388" y="1809750"/>
            <a:chExt cx="352425" cy="360363"/>
          </a:xfrm>
          <a:solidFill>
            <a:schemeClr val="bg1"/>
          </a:solidFill>
        </p:grpSpPr>
        <p:sp>
          <p:nvSpPr>
            <p:cNvPr id="54" name="Freeform 197">
              <a:extLst>
                <a:ext uri="{FF2B5EF4-FFF2-40B4-BE49-F238E27FC236}">
                  <a16:creationId xmlns:a16="http://schemas.microsoft.com/office/drawing/2014/main" id="{9631A11B-3AA2-4E0A-8C34-8278B8CC8708}"/>
                </a:ext>
              </a:extLst>
            </p:cNvPr>
            <p:cNvSpPr>
              <a:spLocks noEditPoints="1"/>
            </p:cNvSpPr>
            <p:nvPr/>
          </p:nvSpPr>
          <p:spPr bwMode="auto">
            <a:xfrm>
              <a:off x="4116388" y="1809750"/>
              <a:ext cx="187325" cy="360363"/>
            </a:xfrm>
            <a:custGeom>
              <a:avLst/>
              <a:gdLst>
                <a:gd name="T0" fmla="*/ 753 w 827"/>
                <a:gd name="T1" fmla="*/ 1586 h 1587"/>
                <a:gd name="T2" fmla="*/ 636 w 827"/>
                <a:gd name="T3" fmla="*/ 1571 h 1587"/>
                <a:gd name="T4" fmla="*/ 525 w 827"/>
                <a:gd name="T5" fmla="*/ 1538 h 1587"/>
                <a:gd name="T6" fmla="*/ 419 w 827"/>
                <a:gd name="T7" fmla="*/ 1490 h 1587"/>
                <a:gd name="T8" fmla="*/ 323 w 827"/>
                <a:gd name="T9" fmla="*/ 1427 h 1587"/>
                <a:gd name="T10" fmla="*/ 236 w 827"/>
                <a:gd name="T11" fmla="*/ 1351 h 1587"/>
                <a:gd name="T12" fmla="*/ 160 w 827"/>
                <a:gd name="T13" fmla="*/ 1264 h 1587"/>
                <a:gd name="T14" fmla="*/ 98 w 827"/>
                <a:gd name="T15" fmla="*/ 1168 h 1587"/>
                <a:gd name="T16" fmla="*/ 50 w 827"/>
                <a:gd name="T17" fmla="*/ 1064 h 1587"/>
                <a:gd name="T18" fmla="*/ 16 w 827"/>
                <a:gd name="T19" fmla="*/ 951 h 1587"/>
                <a:gd name="T20" fmla="*/ 1 w 827"/>
                <a:gd name="T21" fmla="*/ 834 h 1587"/>
                <a:gd name="T22" fmla="*/ 1 w 827"/>
                <a:gd name="T23" fmla="*/ 753 h 1587"/>
                <a:gd name="T24" fmla="*/ 16 w 827"/>
                <a:gd name="T25" fmla="*/ 636 h 1587"/>
                <a:gd name="T26" fmla="*/ 50 w 827"/>
                <a:gd name="T27" fmla="*/ 525 h 1587"/>
                <a:gd name="T28" fmla="*/ 98 w 827"/>
                <a:gd name="T29" fmla="*/ 419 h 1587"/>
                <a:gd name="T30" fmla="*/ 160 w 827"/>
                <a:gd name="T31" fmla="*/ 323 h 1587"/>
                <a:gd name="T32" fmla="*/ 236 w 827"/>
                <a:gd name="T33" fmla="*/ 236 h 1587"/>
                <a:gd name="T34" fmla="*/ 323 w 827"/>
                <a:gd name="T35" fmla="*/ 160 h 1587"/>
                <a:gd name="T36" fmla="*/ 419 w 827"/>
                <a:gd name="T37" fmla="*/ 98 h 1587"/>
                <a:gd name="T38" fmla="*/ 525 w 827"/>
                <a:gd name="T39" fmla="*/ 50 h 1587"/>
                <a:gd name="T40" fmla="*/ 636 w 827"/>
                <a:gd name="T41" fmla="*/ 17 h 1587"/>
                <a:gd name="T42" fmla="*/ 753 w 827"/>
                <a:gd name="T43" fmla="*/ 1 h 1587"/>
                <a:gd name="T44" fmla="*/ 801 w 827"/>
                <a:gd name="T45" fmla="*/ 1 h 1587"/>
                <a:gd name="T46" fmla="*/ 817 w 827"/>
                <a:gd name="T47" fmla="*/ 10 h 1587"/>
                <a:gd name="T48" fmla="*/ 826 w 827"/>
                <a:gd name="T49" fmla="*/ 27 h 1587"/>
                <a:gd name="T50" fmla="*/ 827 w 827"/>
                <a:gd name="T51" fmla="*/ 1554 h 1587"/>
                <a:gd name="T52" fmla="*/ 822 w 827"/>
                <a:gd name="T53" fmla="*/ 1573 h 1587"/>
                <a:gd name="T54" fmla="*/ 807 w 827"/>
                <a:gd name="T55" fmla="*/ 1584 h 1587"/>
                <a:gd name="T56" fmla="*/ 794 w 827"/>
                <a:gd name="T57" fmla="*/ 1587 h 1587"/>
                <a:gd name="T58" fmla="*/ 726 w 827"/>
                <a:gd name="T59" fmla="*/ 70 h 1587"/>
                <a:gd name="T60" fmla="*/ 624 w 827"/>
                <a:gd name="T61" fmla="*/ 89 h 1587"/>
                <a:gd name="T62" fmla="*/ 526 w 827"/>
                <a:gd name="T63" fmla="*/ 122 h 1587"/>
                <a:gd name="T64" fmla="*/ 434 w 827"/>
                <a:gd name="T65" fmla="*/ 169 h 1587"/>
                <a:gd name="T66" fmla="*/ 350 w 827"/>
                <a:gd name="T67" fmla="*/ 227 h 1587"/>
                <a:gd name="T68" fmla="*/ 273 w 827"/>
                <a:gd name="T69" fmla="*/ 296 h 1587"/>
                <a:gd name="T70" fmla="*/ 207 w 827"/>
                <a:gd name="T71" fmla="*/ 376 h 1587"/>
                <a:gd name="T72" fmla="*/ 152 w 827"/>
                <a:gd name="T73" fmla="*/ 463 h 1587"/>
                <a:gd name="T74" fmla="*/ 110 w 827"/>
                <a:gd name="T75" fmla="*/ 556 h 1587"/>
                <a:gd name="T76" fmla="*/ 81 w 827"/>
                <a:gd name="T77" fmla="*/ 655 h 1587"/>
                <a:gd name="T78" fmla="*/ 67 w 827"/>
                <a:gd name="T79" fmla="*/ 758 h 1587"/>
                <a:gd name="T80" fmla="*/ 67 w 827"/>
                <a:gd name="T81" fmla="*/ 829 h 1587"/>
                <a:gd name="T82" fmla="*/ 81 w 827"/>
                <a:gd name="T83" fmla="*/ 932 h 1587"/>
                <a:gd name="T84" fmla="*/ 110 w 827"/>
                <a:gd name="T85" fmla="*/ 1032 h 1587"/>
                <a:gd name="T86" fmla="*/ 152 w 827"/>
                <a:gd name="T87" fmla="*/ 1125 h 1587"/>
                <a:gd name="T88" fmla="*/ 207 w 827"/>
                <a:gd name="T89" fmla="*/ 1212 h 1587"/>
                <a:gd name="T90" fmla="*/ 273 w 827"/>
                <a:gd name="T91" fmla="*/ 1291 h 1587"/>
                <a:gd name="T92" fmla="*/ 350 w 827"/>
                <a:gd name="T93" fmla="*/ 1361 h 1587"/>
                <a:gd name="T94" fmla="*/ 434 w 827"/>
                <a:gd name="T95" fmla="*/ 1420 h 1587"/>
                <a:gd name="T96" fmla="*/ 526 w 827"/>
                <a:gd name="T97" fmla="*/ 1466 h 1587"/>
                <a:gd name="T98" fmla="*/ 624 w 827"/>
                <a:gd name="T99" fmla="*/ 1499 h 1587"/>
                <a:gd name="T100" fmla="*/ 726 w 827"/>
                <a:gd name="T101" fmla="*/ 1518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7" h="1587">
                  <a:moveTo>
                    <a:pt x="794" y="1587"/>
                  </a:moveTo>
                  <a:lnTo>
                    <a:pt x="794" y="1587"/>
                  </a:lnTo>
                  <a:lnTo>
                    <a:pt x="753" y="1586"/>
                  </a:lnTo>
                  <a:lnTo>
                    <a:pt x="714" y="1583"/>
                  </a:lnTo>
                  <a:lnTo>
                    <a:pt x="675" y="1578"/>
                  </a:lnTo>
                  <a:lnTo>
                    <a:pt x="636" y="1571"/>
                  </a:lnTo>
                  <a:lnTo>
                    <a:pt x="598" y="1561"/>
                  </a:lnTo>
                  <a:lnTo>
                    <a:pt x="561" y="1551"/>
                  </a:lnTo>
                  <a:lnTo>
                    <a:pt x="525" y="1538"/>
                  </a:lnTo>
                  <a:lnTo>
                    <a:pt x="488" y="1523"/>
                  </a:lnTo>
                  <a:lnTo>
                    <a:pt x="453" y="1508"/>
                  </a:lnTo>
                  <a:lnTo>
                    <a:pt x="419" y="1490"/>
                  </a:lnTo>
                  <a:lnTo>
                    <a:pt x="386" y="1470"/>
                  </a:lnTo>
                  <a:lnTo>
                    <a:pt x="354" y="1450"/>
                  </a:lnTo>
                  <a:lnTo>
                    <a:pt x="323" y="1427"/>
                  </a:lnTo>
                  <a:lnTo>
                    <a:pt x="293" y="1403"/>
                  </a:lnTo>
                  <a:lnTo>
                    <a:pt x="264" y="1378"/>
                  </a:lnTo>
                  <a:lnTo>
                    <a:pt x="236" y="1351"/>
                  </a:lnTo>
                  <a:lnTo>
                    <a:pt x="209" y="1323"/>
                  </a:lnTo>
                  <a:lnTo>
                    <a:pt x="184" y="1295"/>
                  </a:lnTo>
                  <a:lnTo>
                    <a:pt x="160" y="1264"/>
                  </a:lnTo>
                  <a:lnTo>
                    <a:pt x="137" y="1233"/>
                  </a:lnTo>
                  <a:lnTo>
                    <a:pt x="117" y="1201"/>
                  </a:lnTo>
                  <a:lnTo>
                    <a:pt x="98" y="1168"/>
                  </a:lnTo>
                  <a:lnTo>
                    <a:pt x="80" y="1134"/>
                  </a:lnTo>
                  <a:lnTo>
                    <a:pt x="64" y="1099"/>
                  </a:lnTo>
                  <a:lnTo>
                    <a:pt x="50" y="1064"/>
                  </a:lnTo>
                  <a:lnTo>
                    <a:pt x="37" y="1026"/>
                  </a:lnTo>
                  <a:lnTo>
                    <a:pt x="26" y="989"/>
                  </a:lnTo>
                  <a:lnTo>
                    <a:pt x="16" y="951"/>
                  </a:lnTo>
                  <a:lnTo>
                    <a:pt x="9" y="913"/>
                  </a:lnTo>
                  <a:lnTo>
                    <a:pt x="4" y="873"/>
                  </a:lnTo>
                  <a:lnTo>
                    <a:pt x="1" y="834"/>
                  </a:lnTo>
                  <a:lnTo>
                    <a:pt x="0" y="794"/>
                  </a:lnTo>
                  <a:lnTo>
                    <a:pt x="0" y="794"/>
                  </a:lnTo>
                  <a:lnTo>
                    <a:pt x="1" y="753"/>
                  </a:lnTo>
                  <a:lnTo>
                    <a:pt x="4" y="714"/>
                  </a:lnTo>
                  <a:lnTo>
                    <a:pt x="9" y="675"/>
                  </a:lnTo>
                  <a:lnTo>
                    <a:pt x="16" y="636"/>
                  </a:lnTo>
                  <a:lnTo>
                    <a:pt x="26" y="598"/>
                  </a:lnTo>
                  <a:lnTo>
                    <a:pt x="37" y="561"/>
                  </a:lnTo>
                  <a:lnTo>
                    <a:pt x="50" y="525"/>
                  </a:lnTo>
                  <a:lnTo>
                    <a:pt x="64" y="488"/>
                  </a:lnTo>
                  <a:lnTo>
                    <a:pt x="80" y="453"/>
                  </a:lnTo>
                  <a:lnTo>
                    <a:pt x="98" y="419"/>
                  </a:lnTo>
                  <a:lnTo>
                    <a:pt x="117" y="386"/>
                  </a:lnTo>
                  <a:lnTo>
                    <a:pt x="137" y="354"/>
                  </a:lnTo>
                  <a:lnTo>
                    <a:pt x="160" y="323"/>
                  </a:lnTo>
                  <a:lnTo>
                    <a:pt x="184" y="293"/>
                  </a:lnTo>
                  <a:lnTo>
                    <a:pt x="209" y="264"/>
                  </a:lnTo>
                  <a:lnTo>
                    <a:pt x="236" y="236"/>
                  </a:lnTo>
                  <a:lnTo>
                    <a:pt x="264" y="209"/>
                  </a:lnTo>
                  <a:lnTo>
                    <a:pt x="293" y="184"/>
                  </a:lnTo>
                  <a:lnTo>
                    <a:pt x="323" y="160"/>
                  </a:lnTo>
                  <a:lnTo>
                    <a:pt x="354" y="138"/>
                  </a:lnTo>
                  <a:lnTo>
                    <a:pt x="386" y="117"/>
                  </a:lnTo>
                  <a:lnTo>
                    <a:pt x="419" y="98"/>
                  </a:lnTo>
                  <a:lnTo>
                    <a:pt x="453" y="80"/>
                  </a:lnTo>
                  <a:lnTo>
                    <a:pt x="488" y="64"/>
                  </a:lnTo>
                  <a:lnTo>
                    <a:pt x="525" y="50"/>
                  </a:lnTo>
                  <a:lnTo>
                    <a:pt x="561" y="37"/>
                  </a:lnTo>
                  <a:lnTo>
                    <a:pt x="598" y="26"/>
                  </a:lnTo>
                  <a:lnTo>
                    <a:pt x="636" y="17"/>
                  </a:lnTo>
                  <a:lnTo>
                    <a:pt x="675" y="9"/>
                  </a:lnTo>
                  <a:lnTo>
                    <a:pt x="714" y="4"/>
                  </a:lnTo>
                  <a:lnTo>
                    <a:pt x="753" y="1"/>
                  </a:lnTo>
                  <a:lnTo>
                    <a:pt x="794" y="0"/>
                  </a:lnTo>
                  <a:lnTo>
                    <a:pt x="794" y="0"/>
                  </a:lnTo>
                  <a:lnTo>
                    <a:pt x="801" y="1"/>
                  </a:lnTo>
                  <a:lnTo>
                    <a:pt x="807" y="3"/>
                  </a:lnTo>
                  <a:lnTo>
                    <a:pt x="812" y="6"/>
                  </a:lnTo>
                  <a:lnTo>
                    <a:pt x="817" y="10"/>
                  </a:lnTo>
                  <a:lnTo>
                    <a:pt x="822" y="14"/>
                  </a:lnTo>
                  <a:lnTo>
                    <a:pt x="825" y="21"/>
                  </a:lnTo>
                  <a:lnTo>
                    <a:pt x="826" y="27"/>
                  </a:lnTo>
                  <a:lnTo>
                    <a:pt x="827" y="33"/>
                  </a:lnTo>
                  <a:lnTo>
                    <a:pt x="827" y="1554"/>
                  </a:lnTo>
                  <a:lnTo>
                    <a:pt x="827" y="1554"/>
                  </a:lnTo>
                  <a:lnTo>
                    <a:pt x="826" y="1560"/>
                  </a:lnTo>
                  <a:lnTo>
                    <a:pt x="825" y="1567"/>
                  </a:lnTo>
                  <a:lnTo>
                    <a:pt x="822" y="1573"/>
                  </a:lnTo>
                  <a:lnTo>
                    <a:pt x="817" y="1577"/>
                  </a:lnTo>
                  <a:lnTo>
                    <a:pt x="812" y="1581"/>
                  </a:lnTo>
                  <a:lnTo>
                    <a:pt x="807" y="1584"/>
                  </a:lnTo>
                  <a:lnTo>
                    <a:pt x="801" y="1586"/>
                  </a:lnTo>
                  <a:lnTo>
                    <a:pt x="794" y="1587"/>
                  </a:lnTo>
                  <a:lnTo>
                    <a:pt x="794" y="1587"/>
                  </a:lnTo>
                  <a:close/>
                  <a:moveTo>
                    <a:pt x="760" y="67"/>
                  </a:moveTo>
                  <a:lnTo>
                    <a:pt x="760" y="67"/>
                  </a:lnTo>
                  <a:lnTo>
                    <a:pt x="726" y="70"/>
                  </a:lnTo>
                  <a:lnTo>
                    <a:pt x="691" y="74"/>
                  </a:lnTo>
                  <a:lnTo>
                    <a:pt x="657" y="81"/>
                  </a:lnTo>
                  <a:lnTo>
                    <a:pt x="624" y="89"/>
                  </a:lnTo>
                  <a:lnTo>
                    <a:pt x="591" y="98"/>
                  </a:lnTo>
                  <a:lnTo>
                    <a:pt x="558" y="109"/>
                  </a:lnTo>
                  <a:lnTo>
                    <a:pt x="526" y="122"/>
                  </a:lnTo>
                  <a:lnTo>
                    <a:pt x="495" y="136"/>
                  </a:lnTo>
                  <a:lnTo>
                    <a:pt x="464" y="151"/>
                  </a:lnTo>
                  <a:lnTo>
                    <a:pt x="434" y="169"/>
                  </a:lnTo>
                  <a:lnTo>
                    <a:pt x="406" y="186"/>
                  </a:lnTo>
                  <a:lnTo>
                    <a:pt x="377" y="206"/>
                  </a:lnTo>
                  <a:lnTo>
                    <a:pt x="350" y="227"/>
                  </a:lnTo>
                  <a:lnTo>
                    <a:pt x="323" y="249"/>
                  </a:lnTo>
                  <a:lnTo>
                    <a:pt x="298" y="272"/>
                  </a:lnTo>
                  <a:lnTo>
                    <a:pt x="273" y="296"/>
                  </a:lnTo>
                  <a:lnTo>
                    <a:pt x="250" y="322"/>
                  </a:lnTo>
                  <a:lnTo>
                    <a:pt x="229" y="348"/>
                  </a:lnTo>
                  <a:lnTo>
                    <a:pt x="207" y="376"/>
                  </a:lnTo>
                  <a:lnTo>
                    <a:pt x="187" y="404"/>
                  </a:lnTo>
                  <a:lnTo>
                    <a:pt x="170" y="433"/>
                  </a:lnTo>
                  <a:lnTo>
                    <a:pt x="152" y="463"/>
                  </a:lnTo>
                  <a:lnTo>
                    <a:pt x="136" y="493"/>
                  </a:lnTo>
                  <a:lnTo>
                    <a:pt x="122" y="525"/>
                  </a:lnTo>
                  <a:lnTo>
                    <a:pt x="110" y="556"/>
                  </a:lnTo>
                  <a:lnTo>
                    <a:pt x="98" y="589"/>
                  </a:lnTo>
                  <a:lnTo>
                    <a:pt x="89" y="622"/>
                  </a:lnTo>
                  <a:lnTo>
                    <a:pt x="81" y="655"/>
                  </a:lnTo>
                  <a:lnTo>
                    <a:pt x="74" y="689"/>
                  </a:lnTo>
                  <a:lnTo>
                    <a:pt x="70" y="723"/>
                  </a:lnTo>
                  <a:lnTo>
                    <a:pt x="67" y="758"/>
                  </a:lnTo>
                  <a:lnTo>
                    <a:pt x="66" y="794"/>
                  </a:lnTo>
                  <a:lnTo>
                    <a:pt x="66" y="794"/>
                  </a:lnTo>
                  <a:lnTo>
                    <a:pt x="67" y="829"/>
                  </a:lnTo>
                  <a:lnTo>
                    <a:pt x="70" y="864"/>
                  </a:lnTo>
                  <a:lnTo>
                    <a:pt x="74" y="898"/>
                  </a:lnTo>
                  <a:lnTo>
                    <a:pt x="81" y="932"/>
                  </a:lnTo>
                  <a:lnTo>
                    <a:pt x="89" y="965"/>
                  </a:lnTo>
                  <a:lnTo>
                    <a:pt x="98" y="998"/>
                  </a:lnTo>
                  <a:lnTo>
                    <a:pt x="110" y="1032"/>
                  </a:lnTo>
                  <a:lnTo>
                    <a:pt x="122" y="1064"/>
                  </a:lnTo>
                  <a:lnTo>
                    <a:pt x="136" y="1095"/>
                  </a:lnTo>
                  <a:lnTo>
                    <a:pt x="152" y="1125"/>
                  </a:lnTo>
                  <a:lnTo>
                    <a:pt x="170" y="1155"/>
                  </a:lnTo>
                  <a:lnTo>
                    <a:pt x="187" y="1184"/>
                  </a:lnTo>
                  <a:lnTo>
                    <a:pt x="207" y="1212"/>
                  </a:lnTo>
                  <a:lnTo>
                    <a:pt x="229" y="1240"/>
                  </a:lnTo>
                  <a:lnTo>
                    <a:pt x="250" y="1265"/>
                  </a:lnTo>
                  <a:lnTo>
                    <a:pt x="273" y="1291"/>
                  </a:lnTo>
                  <a:lnTo>
                    <a:pt x="298" y="1315"/>
                  </a:lnTo>
                  <a:lnTo>
                    <a:pt x="323" y="1339"/>
                  </a:lnTo>
                  <a:lnTo>
                    <a:pt x="350" y="1361"/>
                  </a:lnTo>
                  <a:lnTo>
                    <a:pt x="377" y="1381"/>
                  </a:lnTo>
                  <a:lnTo>
                    <a:pt x="406" y="1401"/>
                  </a:lnTo>
                  <a:lnTo>
                    <a:pt x="434" y="1420"/>
                  </a:lnTo>
                  <a:lnTo>
                    <a:pt x="464" y="1436"/>
                  </a:lnTo>
                  <a:lnTo>
                    <a:pt x="495" y="1452"/>
                  </a:lnTo>
                  <a:lnTo>
                    <a:pt x="526" y="1466"/>
                  </a:lnTo>
                  <a:lnTo>
                    <a:pt x="558" y="1479"/>
                  </a:lnTo>
                  <a:lnTo>
                    <a:pt x="591" y="1489"/>
                  </a:lnTo>
                  <a:lnTo>
                    <a:pt x="624" y="1499"/>
                  </a:lnTo>
                  <a:lnTo>
                    <a:pt x="657" y="1507"/>
                  </a:lnTo>
                  <a:lnTo>
                    <a:pt x="691" y="1513"/>
                  </a:lnTo>
                  <a:lnTo>
                    <a:pt x="726" y="1518"/>
                  </a:lnTo>
                  <a:lnTo>
                    <a:pt x="760" y="1520"/>
                  </a:lnTo>
                  <a:lnTo>
                    <a:pt x="760"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5" name="Freeform 198">
              <a:extLst>
                <a:ext uri="{FF2B5EF4-FFF2-40B4-BE49-F238E27FC236}">
                  <a16:creationId xmlns:a16="http://schemas.microsoft.com/office/drawing/2014/main" id="{67FDF77B-193C-A428-5241-3AA8E1C5888A}"/>
                </a:ext>
              </a:extLst>
            </p:cNvPr>
            <p:cNvSpPr>
              <a:spLocks noEditPoints="1"/>
            </p:cNvSpPr>
            <p:nvPr/>
          </p:nvSpPr>
          <p:spPr bwMode="auto">
            <a:xfrm>
              <a:off x="4324350" y="1870075"/>
              <a:ext cx="144463" cy="168275"/>
            </a:xfrm>
            <a:custGeom>
              <a:avLst/>
              <a:gdLst>
                <a:gd name="T0" fmla="*/ 306 w 635"/>
                <a:gd name="T1" fmla="*/ 742 h 744"/>
                <a:gd name="T2" fmla="*/ 272 w 635"/>
                <a:gd name="T3" fmla="*/ 733 h 744"/>
                <a:gd name="T4" fmla="*/ 231 w 635"/>
                <a:gd name="T5" fmla="*/ 709 h 744"/>
                <a:gd name="T6" fmla="*/ 193 w 635"/>
                <a:gd name="T7" fmla="*/ 671 h 744"/>
                <a:gd name="T8" fmla="*/ 161 w 635"/>
                <a:gd name="T9" fmla="*/ 620 h 744"/>
                <a:gd name="T10" fmla="*/ 109 w 635"/>
                <a:gd name="T11" fmla="*/ 581 h 744"/>
                <a:gd name="T12" fmla="*/ 62 w 635"/>
                <a:gd name="T13" fmla="*/ 546 h 744"/>
                <a:gd name="T14" fmla="*/ 28 w 635"/>
                <a:gd name="T15" fmla="*/ 507 h 744"/>
                <a:gd name="T16" fmla="*/ 7 w 635"/>
                <a:gd name="T17" fmla="*/ 463 h 744"/>
                <a:gd name="T18" fmla="*/ 0 w 635"/>
                <a:gd name="T19" fmla="*/ 427 h 744"/>
                <a:gd name="T20" fmla="*/ 4 w 635"/>
                <a:gd name="T21" fmla="*/ 374 h 744"/>
                <a:gd name="T22" fmla="*/ 23 w 635"/>
                <a:gd name="T23" fmla="*/ 321 h 744"/>
                <a:gd name="T24" fmla="*/ 57 w 635"/>
                <a:gd name="T25" fmla="*/ 265 h 744"/>
                <a:gd name="T26" fmla="*/ 79 w 635"/>
                <a:gd name="T27" fmla="*/ 236 h 744"/>
                <a:gd name="T28" fmla="*/ 129 w 635"/>
                <a:gd name="T29" fmla="*/ 190 h 744"/>
                <a:gd name="T30" fmla="*/ 185 w 635"/>
                <a:gd name="T31" fmla="*/ 157 h 744"/>
                <a:gd name="T32" fmla="*/ 310 w 635"/>
                <a:gd name="T33" fmla="*/ 113 h 744"/>
                <a:gd name="T34" fmla="*/ 425 w 635"/>
                <a:gd name="T35" fmla="*/ 73 h 744"/>
                <a:gd name="T36" fmla="*/ 508 w 635"/>
                <a:gd name="T37" fmla="*/ 28 h 744"/>
                <a:gd name="T38" fmla="*/ 540 w 635"/>
                <a:gd name="T39" fmla="*/ 4 h 744"/>
                <a:gd name="T40" fmla="*/ 562 w 635"/>
                <a:gd name="T41" fmla="*/ 1 h 744"/>
                <a:gd name="T42" fmla="*/ 584 w 635"/>
                <a:gd name="T43" fmla="*/ 17 h 744"/>
                <a:gd name="T44" fmla="*/ 607 w 635"/>
                <a:gd name="T45" fmla="*/ 69 h 744"/>
                <a:gd name="T46" fmla="*/ 626 w 635"/>
                <a:gd name="T47" fmla="*/ 147 h 744"/>
                <a:gd name="T48" fmla="*/ 634 w 635"/>
                <a:gd name="T49" fmla="*/ 232 h 744"/>
                <a:gd name="T50" fmla="*/ 625 w 635"/>
                <a:gd name="T51" fmla="*/ 383 h 744"/>
                <a:gd name="T52" fmla="*/ 590 w 635"/>
                <a:gd name="T53" fmla="*/ 519 h 744"/>
                <a:gd name="T54" fmla="*/ 560 w 635"/>
                <a:gd name="T55" fmla="*/ 583 h 744"/>
                <a:gd name="T56" fmla="*/ 534 w 635"/>
                <a:gd name="T57" fmla="*/ 621 h 744"/>
                <a:gd name="T58" fmla="*/ 482 w 635"/>
                <a:gd name="T59" fmla="*/ 673 h 744"/>
                <a:gd name="T60" fmla="*/ 429 w 635"/>
                <a:gd name="T61" fmla="*/ 712 h 744"/>
                <a:gd name="T62" fmla="*/ 378 w 635"/>
                <a:gd name="T63" fmla="*/ 736 h 744"/>
                <a:gd name="T64" fmla="*/ 327 w 635"/>
                <a:gd name="T65" fmla="*/ 744 h 744"/>
                <a:gd name="T66" fmla="*/ 515 w 635"/>
                <a:gd name="T67" fmla="*/ 101 h 744"/>
                <a:gd name="T68" fmla="*/ 408 w 635"/>
                <a:gd name="T69" fmla="*/ 151 h 744"/>
                <a:gd name="T70" fmla="*/ 299 w 635"/>
                <a:gd name="T71" fmla="*/ 185 h 744"/>
                <a:gd name="T72" fmla="*/ 193 w 635"/>
                <a:gd name="T73" fmla="*/ 228 h 744"/>
                <a:gd name="T74" fmla="*/ 149 w 635"/>
                <a:gd name="T75" fmla="*/ 259 h 744"/>
                <a:gd name="T76" fmla="*/ 130 w 635"/>
                <a:gd name="T77" fmla="*/ 279 h 744"/>
                <a:gd name="T78" fmla="*/ 92 w 635"/>
                <a:gd name="T79" fmla="*/ 332 h 744"/>
                <a:gd name="T80" fmla="*/ 70 w 635"/>
                <a:gd name="T81" fmla="*/ 384 h 744"/>
                <a:gd name="T82" fmla="*/ 66 w 635"/>
                <a:gd name="T83" fmla="*/ 426 h 744"/>
                <a:gd name="T84" fmla="*/ 73 w 635"/>
                <a:gd name="T85" fmla="*/ 453 h 744"/>
                <a:gd name="T86" fmla="*/ 93 w 635"/>
                <a:gd name="T87" fmla="*/ 483 h 744"/>
                <a:gd name="T88" fmla="*/ 165 w 635"/>
                <a:gd name="T89" fmla="*/ 537 h 744"/>
                <a:gd name="T90" fmla="*/ 202 w 635"/>
                <a:gd name="T91" fmla="*/ 557 h 744"/>
                <a:gd name="T92" fmla="*/ 220 w 635"/>
                <a:gd name="T93" fmla="*/ 590 h 744"/>
                <a:gd name="T94" fmla="*/ 272 w 635"/>
                <a:gd name="T95" fmla="*/ 657 h 744"/>
                <a:gd name="T96" fmla="*/ 300 w 635"/>
                <a:gd name="T97" fmla="*/ 673 h 744"/>
                <a:gd name="T98" fmla="*/ 325 w 635"/>
                <a:gd name="T99" fmla="*/ 678 h 744"/>
                <a:gd name="T100" fmla="*/ 364 w 635"/>
                <a:gd name="T101" fmla="*/ 670 h 744"/>
                <a:gd name="T102" fmla="*/ 405 w 635"/>
                <a:gd name="T103" fmla="*/ 649 h 744"/>
                <a:gd name="T104" fmla="*/ 460 w 635"/>
                <a:gd name="T105" fmla="*/ 603 h 744"/>
                <a:gd name="T106" fmla="*/ 497 w 635"/>
                <a:gd name="T107" fmla="*/ 560 h 744"/>
                <a:gd name="T108" fmla="*/ 533 w 635"/>
                <a:gd name="T109" fmla="*/ 484 h 744"/>
                <a:gd name="T110" fmla="*/ 562 w 635"/>
                <a:gd name="T111" fmla="*/ 355 h 744"/>
                <a:gd name="T112" fmla="*/ 567 w 635"/>
                <a:gd name="T113" fmla="*/ 214 h 744"/>
                <a:gd name="T114" fmla="*/ 547 w 635"/>
                <a:gd name="T115" fmla="*/ 99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5" h="744">
                  <a:moveTo>
                    <a:pt x="327" y="744"/>
                  </a:moveTo>
                  <a:lnTo>
                    <a:pt x="327" y="744"/>
                  </a:lnTo>
                  <a:lnTo>
                    <a:pt x="316" y="743"/>
                  </a:lnTo>
                  <a:lnTo>
                    <a:pt x="306" y="742"/>
                  </a:lnTo>
                  <a:lnTo>
                    <a:pt x="306" y="742"/>
                  </a:lnTo>
                  <a:lnTo>
                    <a:pt x="295" y="740"/>
                  </a:lnTo>
                  <a:lnTo>
                    <a:pt x="283" y="737"/>
                  </a:lnTo>
                  <a:lnTo>
                    <a:pt x="272" y="733"/>
                  </a:lnTo>
                  <a:lnTo>
                    <a:pt x="262" y="728"/>
                  </a:lnTo>
                  <a:lnTo>
                    <a:pt x="251" y="723"/>
                  </a:lnTo>
                  <a:lnTo>
                    <a:pt x="241" y="717"/>
                  </a:lnTo>
                  <a:lnTo>
                    <a:pt x="231" y="709"/>
                  </a:lnTo>
                  <a:lnTo>
                    <a:pt x="221" y="701"/>
                  </a:lnTo>
                  <a:lnTo>
                    <a:pt x="212" y="692"/>
                  </a:lnTo>
                  <a:lnTo>
                    <a:pt x="203" y="682"/>
                  </a:lnTo>
                  <a:lnTo>
                    <a:pt x="193" y="671"/>
                  </a:lnTo>
                  <a:lnTo>
                    <a:pt x="185" y="660"/>
                  </a:lnTo>
                  <a:lnTo>
                    <a:pt x="177" y="648"/>
                  </a:lnTo>
                  <a:lnTo>
                    <a:pt x="168" y="634"/>
                  </a:lnTo>
                  <a:lnTo>
                    <a:pt x="161" y="620"/>
                  </a:lnTo>
                  <a:lnTo>
                    <a:pt x="153" y="605"/>
                  </a:lnTo>
                  <a:lnTo>
                    <a:pt x="153" y="605"/>
                  </a:lnTo>
                  <a:lnTo>
                    <a:pt x="123" y="590"/>
                  </a:lnTo>
                  <a:lnTo>
                    <a:pt x="109" y="581"/>
                  </a:lnTo>
                  <a:lnTo>
                    <a:pt x="96" y="573"/>
                  </a:lnTo>
                  <a:lnTo>
                    <a:pt x="84" y="564"/>
                  </a:lnTo>
                  <a:lnTo>
                    <a:pt x="72" y="556"/>
                  </a:lnTo>
                  <a:lnTo>
                    <a:pt x="62" y="546"/>
                  </a:lnTo>
                  <a:lnTo>
                    <a:pt x="52" y="537"/>
                  </a:lnTo>
                  <a:lnTo>
                    <a:pt x="43" y="528"/>
                  </a:lnTo>
                  <a:lnTo>
                    <a:pt x="35" y="517"/>
                  </a:lnTo>
                  <a:lnTo>
                    <a:pt x="28" y="507"/>
                  </a:lnTo>
                  <a:lnTo>
                    <a:pt x="22" y="497"/>
                  </a:lnTo>
                  <a:lnTo>
                    <a:pt x="15" y="485"/>
                  </a:lnTo>
                  <a:lnTo>
                    <a:pt x="11" y="475"/>
                  </a:lnTo>
                  <a:lnTo>
                    <a:pt x="7" y="463"/>
                  </a:lnTo>
                  <a:lnTo>
                    <a:pt x="4" y="452"/>
                  </a:lnTo>
                  <a:lnTo>
                    <a:pt x="4" y="452"/>
                  </a:lnTo>
                  <a:lnTo>
                    <a:pt x="1" y="440"/>
                  </a:lnTo>
                  <a:lnTo>
                    <a:pt x="0" y="427"/>
                  </a:lnTo>
                  <a:lnTo>
                    <a:pt x="0" y="414"/>
                  </a:lnTo>
                  <a:lnTo>
                    <a:pt x="0" y="401"/>
                  </a:lnTo>
                  <a:lnTo>
                    <a:pt x="1" y="388"/>
                  </a:lnTo>
                  <a:lnTo>
                    <a:pt x="4" y="374"/>
                  </a:lnTo>
                  <a:lnTo>
                    <a:pt x="7" y="362"/>
                  </a:lnTo>
                  <a:lnTo>
                    <a:pt x="11" y="349"/>
                  </a:lnTo>
                  <a:lnTo>
                    <a:pt x="16" y="334"/>
                  </a:lnTo>
                  <a:lnTo>
                    <a:pt x="23" y="321"/>
                  </a:lnTo>
                  <a:lnTo>
                    <a:pt x="30" y="307"/>
                  </a:lnTo>
                  <a:lnTo>
                    <a:pt x="38" y="293"/>
                  </a:lnTo>
                  <a:lnTo>
                    <a:pt x="47" y="279"/>
                  </a:lnTo>
                  <a:lnTo>
                    <a:pt x="57" y="265"/>
                  </a:lnTo>
                  <a:lnTo>
                    <a:pt x="68" y="250"/>
                  </a:lnTo>
                  <a:lnTo>
                    <a:pt x="79" y="236"/>
                  </a:lnTo>
                  <a:lnTo>
                    <a:pt x="79" y="236"/>
                  </a:lnTo>
                  <a:lnTo>
                    <a:pt x="79" y="236"/>
                  </a:lnTo>
                  <a:lnTo>
                    <a:pt x="91" y="223"/>
                  </a:lnTo>
                  <a:lnTo>
                    <a:pt x="103" y="211"/>
                  </a:lnTo>
                  <a:lnTo>
                    <a:pt x="116" y="200"/>
                  </a:lnTo>
                  <a:lnTo>
                    <a:pt x="129" y="190"/>
                  </a:lnTo>
                  <a:lnTo>
                    <a:pt x="143" y="181"/>
                  </a:lnTo>
                  <a:lnTo>
                    <a:pt x="156" y="173"/>
                  </a:lnTo>
                  <a:lnTo>
                    <a:pt x="171" y="164"/>
                  </a:lnTo>
                  <a:lnTo>
                    <a:pt x="185" y="157"/>
                  </a:lnTo>
                  <a:lnTo>
                    <a:pt x="215" y="145"/>
                  </a:lnTo>
                  <a:lnTo>
                    <a:pt x="246" y="133"/>
                  </a:lnTo>
                  <a:lnTo>
                    <a:pt x="278" y="123"/>
                  </a:lnTo>
                  <a:lnTo>
                    <a:pt x="310" y="113"/>
                  </a:lnTo>
                  <a:lnTo>
                    <a:pt x="310" y="113"/>
                  </a:lnTo>
                  <a:lnTo>
                    <a:pt x="367" y="95"/>
                  </a:lnTo>
                  <a:lnTo>
                    <a:pt x="396" y="85"/>
                  </a:lnTo>
                  <a:lnTo>
                    <a:pt x="425" y="73"/>
                  </a:lnTo>
                  <a:lnTo>
                    <a:pt x="453" y="61"/>
                  </a:lnTo>
                  <a:lnTo>
                    <a:pt x="481" y="45"/>
                  </a:lnTo>
                  <a:lnTo>
                    <a:pt x="494" y="37"/>
                  </a:lnTo>
                  <a:lnTo>
                    <a:pt x="508" y="28"/>
                  </a:lnTo>
                  <a:lnTo>
                    <a:pt x="521" y="19"/>
                  </a:lnTo>
                  <a:lnTo>
                    <a:pt x="534" y="8"/>
                  </a:lnTo>
                  <a:lnTo>
                    <a:pt x="534" y="8"/>
                  </a:lnTo>
                  <a:lnTo>
                    <a:pt x="540" y="4"/>
                  </a:lnTo>
                  <a:lnTo>
                    <a:pt x="547" y="1"/>
                  </a:lnTo>
                  <a:lnTo>
                    <a:pt x="554" y="0"/>
                  </a:lnTo>
                  <a:lnTo>
                    <a:pt x="562" y="1"/>
                  </a:lnTo>
                  <a:lnTo>
                    <a:pt x="562" y="1"/>
                  </a:lnTo>
                  <a:lnTo>
                    <a:pt x="569" y="3"/>
                  </a:lnTo>
                  <a:lnTo>
                    <a:pt x="575" y="6"/>
                  </a:lnTo>
                  <a:lnTo>
                    <a:pt x="580" y="11"/>
                  </a:lnTo>
                  <a:lnTo>
                    <a:pt x="584" y="17"/>
                  </a:lnTo>
                  <a:lnTo>
                    <a:pt x="584" y="17"/>
                  </a:lnTo>
                  <a:lnTo>
                    <a:pt x="593" y="34"/>
                  </a:lnTo>
                  <a:lnTo>
                    <a:pt x="600" y="52"/>
                  </a:lnTo>
                  <a:lnTo>
                    <a:pt x="607" y="69"/>
                  </a:lnTo>
                  <a:lnTo>
                    <a:pt x="612" y="88"/>
                  </a:lnTo>
                  <a:lnTo>
                    <a:pt x="618" y="107"/>
                  </a:lnTo>
                  <a:lnTo>
                    <a:pt x="623" y="127"/>
                  </a:lnTo>
                  <a:lnTo>
                    <a:pt x="626" y="147"/>
                  </a:lnTo>
                  <a:lnTo>
                    <a:pt x="629" y="168"/>
                  </a:lnTo>
                  <a:lnTo>
                    <a:pt x="631" y="189"/>
                  </a:lnTo>
                  <a:lnTo>
                    <a:pt x="633" y="210"/>
                  </a:lnTo>
                  <a:lnTo>
                    <a:pt x="634" y="232"/>
                  </a:lnTo>
                  <a:lnTo>
                    <a:pt x="635" y="253"/>
                  </a:lnTo>
                  <a:lnTo>
                    <a:pt x="634" y="297"/>
                  </a:lnTo>
                  <a:lnTo>
                    <a:pt x="631" y="339"/>
                  </a:lnTo>
                  <a:lnTo>
                    <a:pt x="625" y="383"/>
                  </a:lnTo>
                  <a:lnTo>
                    <a:pt x="618" y="424"/>
                  </a:lnTo>
                  <a:lnTo>
                    <a:pt x="607" y="463"/>
                  </a:lnTo>
                  <a:lnTo>
                    <a:pt x="596" y="502"/>
                  </a:lnTo>
                  <a:lnTo>
                    <a:pt x="590" y="519"/>
                  </a:lnTo>
                  <a:lnTo>
                    <a:pt x="582" y="537"/>
                  </a:lnTo>
                  <a:lnTo>
                    <a:pt x="575" y="552"/>
                  </a:lnTo>
                  <a:lnTo>
                    <a:pt x="568" y="568"/>
                  </a:lnTo>
                  <a:lnTo>
                    <a:pt x="560" y="583"/>
                  </a:lnTo>
                  <a:lnTo>
                    <a:pt x="551" y="597"/>
                  </a:lnTo>
                  <a:lnTo>
                    <a:pt x="542" y="609"/>
                  </a:lnTo>
                  <a:lnTo>
                    <a:pt x="534" y="621"/>
                  </a:lnTo>
                  <a:lnTo>
                    <a:pt x="534" y="621"/>
                  </a:lnTo>
                  <a:lnTo>
                    <a:pt x="520" y="635"/>
                  </a:lnTo>
                  <a:lnTo>
                    <a:pt x="508" y="650"/>
                  </a:lnTo>
                  <a:lnTo>
                    <a:pt x="494" y="662"/>
                  </a:lnTo>
                  <a:lnTo>
                    <a:pt x="482" y="673"/>
                  </a:lnTo>
                  <a:lnTo>
                    <a:pt x="469" y="685"/>
                  </a:lnTo>
                  <a:lnTo>
                    <a:pt x="456" y="695"/>
                  </a:lnTo>
                  <a:lnTo>
                    <a:pt x="443" y="703"/>
                  </a:lnTo>
                  <a:lnTo>
                    <a:pt x="429" y="712"/>
                  </a:lnTo>
                  <a:lnTo>
                    <a:pt x="417" y="719"/>
                  </a:lnTo>
                  <a:lnTo>
                    <a:pt x="403" y="726"/>
                  </a:lnTo>
                  <a:lnTo>
                    <a:pt x="391" y="731"/>
                  </a:lnTo>
                  <a:lnTo>
                    <a:pt x="378" y="736"/>
                  </a:lnTo>
                  <a:lnTo>
                    <a:pt x="365" y="739"/>
                  </a:lnTo>
                  <a:lnTo>
                    <a:pt x="352" y="742"/>
                  </a:lnTo>
                  <a:lnTo>
                    <a:pt x="339" y="743"/>
                  </a:lnTo>
                  <a:lnTo>
                    <a:pt x="327" y="744"/>
                  </a:lnTo>
                  <a:lnTo>
                    <a:pt x="327" y="744"/>
                  </a:lnTo>
                  <a:close/>
                  <a:moveTo>
                    <a:pt x="542" y="85"/>
                  </a:moveTo>
                  <a:lnTo>
                    <a:pt x="542" y="85"/>
                  </a:lnTo>
                  <a:lnTo>
                    <a:pt x="515" y="101"/>
                  </a:lnTo>
                  <a:lnTo>
                    <a:pt x="488" y="117"/>
                  </a:lnTo>
                  <a:lnTo>
                    <a:pt x="461" y="129"/>
                  </a:lnTo>
                  <a:lnTo>
                    <a:pt x="434" y="141"/>
                  </a:lnTo>
                  <a:lnTo>
                    <a:pt x="408" y="151"/>
                  </a:lnTo>
                  <a:lnTo>
                    <a:pt x="381" y="160"/>
                  </a:lnTo>
                  <a:lnTo>
                    <a:pt x="329" y="176"/>
                  </a:lnTo>
                  <a:lnTo>
                    <a:pt x="329" y="176"/>
                  </a:lnTo>
                  <a:lnTo>
                    <a:pt x="299" y="185"/>
                  </a:lnTo>
                  <a:lnTo>
                    <a:pt x="271" y="194"/>
                  </a:lnTo>
                  <a:lnTo>
                    <a:pt x="243" y="204"/>
                  </a:lnTo>
                  <a:lnTo>
                    <a:pt x="217" y="215"/>
                  </a:lnTo>
                  <a:lnTo>
                    <a:pt x="193" y="228"/>
                  </a:lnTo>
                  <a:lnTo>
                    <a:pt x="182" y="235"/>
                  </a:lnTo>
                  <a:lnTo>
                    <a:pt x="171" y="242"/>
                  </a:lnTo>
                  <a:lnTo>
                    <a:pt x="159" y="250"/>
                  </a:lnTo>
                  <a:lnTo>
                    <a:pt x="149" y="259"/>
                  </a:lnTo>
                  <a:lnTo>
                    <a:pt x="140" y="269"/>
                  </a:lnTo>
                  <a:lnTo>
                    <a:pt x="130" y="279"/>
                  </a:lnTo>
                  <a:lnTo>
                    <a:pt x="130" y="279"/>
                  </a:lnTo>
                  <a:lnTo>
                    <a:pt x="130" y="279"/>
                  </a:lnTo>
                  <a:lnTo>
                    <a:pt x="130" y="279"/>
                  </a:lnTo>
                  <a:lnTo>
                    <a:pt x="117" y="295"/>
                  </a:lnTo>
                  <a:lnTo>
                    <a:pt x="103" y="313"/>
                  </a:lnTo>
                  <a:lnTo>
                    <a:pt x="92" y="332"/>
                  </a:lnTo>
                  <a:lnTo>
                    <a:pt x="81" y="353"/>
                  </a:lnTo>
                  <a:lnTo>
                    <a:pt x="76" y="363"/>
                  </a:lnTo>
                  <a:lnTo>
                    <a:pt x="72" y="373"/>
                  </a:lnTo>
                  <a:lnTo>
                    <a:pt x="70" y="384"/>
                  </a:lnTo>
                  <a:lnTo>
                    <a:pt x="67" y="395"/>
                  </a:lnTo>
                  <a:lnTo>
                    <a:pt x="66" y="405"/>
                  </a:lnTo>
                  <a:lnTo>
                    <a:pt x="66" y="416"/>
                  </a:lnTo>
                  <a:lnTo>
                    <a:pt x="66" y="426"/>
                  </a:lnTo>
                  <a:lnTo>
                    <a:pt x="68" y="437"/>
                  </a:lnTo>
                  <a:lnTo>
                    <a:pt x="68" y="437"/>
                  </a:lnTo>
                  <a:lnTo>
                    <a:pt x="70" y="445"/>
                  </a:lnTo>
                  <a:lnTo>
                    <a:pt x="73" y="453"/>
                  </a:lnTo>
                  <a:lnTo>
                    <a:pt x="77" y="460"/>
                  </a:lnTo>
                  <a:lnTo>
                    <a:pt x="82" y="469"/>
                  </a:lnTo>
                  <a:lnTo>
                    <a:pt x="87" y="476"/>
                  </a:lnTo>
                  <a:lnTo>
                    <a:pt x="93" y="483"/>
                  </a:lnTo>
                  <a:lnTo>
                    <a:pt x="106" y="498"/>
                  </a:lnTo>
                  <a:lnTo>
                    <a:pt x="123" y="511"/>
                  </a:lnTo>
                  <a:lnTo>
                    <a:pt x="144" y="524"/>
                  </a:lnTo>
                  <a:lnTo>
                    <a:pt x="165" y="537"/>
                  </a:lnTo>
                  <a:lnTo>
                    <a:pt x="191" y="549"/>
                  </a:lnTo>
                  <a:lnTo>
                    <a:pt x="191" y="549"/>
                  </a:lnTo>
                  <a:lnTo>
                    <a:pt x="196" y="552"/>
                  </a:lnTo>
                  <a:lnTo>
                    <a:pt x="202" y="557"/>
                  </a:lnTo>
                  <a:lnTo>
                    <a:pt x="206" y="561"/>
                  </a:lnTo>
                  <a:lnTo>
                    <a:pt x="208" y="566"/>
                  </a:lnTo>
                  <a:lnTo>
                    <a:pt x="208" y="566"/>
                  </a:lnTo>
                  <a:lnTo>
                    <a:pt x="220" y="590"/>
                  </a:lnTo>
                  <a:lnTo>
                    <a:pt x="232" y="611"/>
                  </a:lnTo>
                  <a:lnTo>
                    <a:pt x="245" y="629"/>
                  </a:lnTo>
                  <a:lnTo>
                    <a:pt x="257" y="645"/>
                  </a:lnTo>
                  <a:lnTo>
                    <a:pt x="272" y="657"/>
                  </a:lnTo>
                  <a:lnTo>
                    <a:pt x="278" y="662"/>
                  </a:lnTo>
                  <a:lnTo>
                    <a:pt x="285" y="666"/>
                  </a:lnTo>
                  <a:lnTo>
                    <a:pt x="293" y="670"/>
                  </a:lnTo>
                  <a:lnTo>
                    <a:pt x="300" y="673"/>
                  </a:lnTo>
                  <a:lnTo>
                    <a:pt x="308" y="676"/>
                  </a:lnTo>
                  <a:lnTo>
                    <a:pt x="315" y="677"/>
                  </a:lnTo>
                  <a:lnTo>
                    <a:pt x="315" y="677"/>
                  </a:lnTo>
                  <a:lnTo>
                    <a:pt x="325" y="678"/>
                  </a:lnTo>
                  <a:lnTo>
                    <a:pt x="334" y="677"/>
                  </a:lnTo>
                  <a:lnTo>
                    <a:pt x="343" y="676"/>
                  </a:lnTo>
                  <a:lnTo>
                    <a:pt x="354" y="673"/>
                  </a:lnTo>
                  <a:lnTo>
                    <a:pt x="364" y="670"/>
                  </a:lnTo>
                  <a:lnTo>
                    <a:pt x="373" y="666"/>
                  </a:lnTo>
                  <a:lnTo>
                    <a:pt x="385" y="662"/>
                  </a:lnTo>
                  <a:lnTo>
                    <a:pt x="395" y="656"/>
                  </a:lnTo>
                  <a:lnTo>
                    <a:pt x="405" y="649"/>
                  </a:lnTo>
                  <a:lnTo>
                    <a:pt x="417" y="641"/>
                  </a:lnTo>
                  <a:lnTo>
                    <a:pt x="427" y="633"/>
                  </a:lnTo>
                  <a:lnTo>
                    <a:pt x="439" y="624"/>
                  </a:lnTo>
                  <a:lnTo>
                    <a:pt x="460" y="603"/>
                  </a:lnTo>
                  <a:lnTo>
                    <a:pt x="483" y="578"/>
                  </a:lnTo>
                  <a:lnTo>
                    <a:pt x="483" y="578"/>
                  </a:lnTo>
                  <a:lnTo>
                    <a:pt x="490" y="569"/>
                  </a:lnTo>
                  <a:lnTo>
                    <a:pt x="497" y="560"/>
                  </a:lnTo>
                  <a:lnTo>
                    <a:pt x="504" y="548"/>
                  </a:lnTo>
                  <a:lnTo>
                    <a:pt x="510" y="537"/>
                  </a:lnTo>
                  <a:lnTo>
                    <a:pt x="521" y="512"/>
                  </a:lnTo>
                  <a:lnTo>
                    <a:pt x="533" y="484"/>
                  </a:lnTo>
                  <a:lnTo>
                    <a:pt x="542" y="454"/>
                  </a:lnTo>
                  <a:lnTo>
                    <a:pt x="550" y="423"/>
                  </a:lnTo>
                  <a:lnTo>
                    <a:pt x="557" y="389"/>
                  </a:lnTo>
                  <a:lnTo>
                    <a:pt x="562" y="355"/>
                  </a:lnTo>
                  <a:lnTo>
                    <a:pt x="566" y="320"/>
                  </a:lnTo>
                  <a:lnTo>
                    <a:pt x="568" y="284"/>
                  </a:lnTo>
                  <a:lnTo>
                    <a:pt x="569" y="248"/>
                  </a:lnTo>
                  <a:lnTo>
                    <a:pt x="567" y="214"/>
                  </a:lnTo>
                  <a:lnTo>
                    <a:pt x="564" y="179"/>
                  </a:lnTo>
                  <a:lnTo>
                    <a:pt x="559" y="146"/>
                  </a:lnTo>
                  <a:lnTo>
                    <a:pt x="551" y="115"/>
                  </a:lnTo>
                  <a:lnTo>
                    <a:pt x="547" y="99"/>
                  </a:lnTo>
                  <a:lnTo>
                    <a:pt x="542" y="85"/>
                  </a:lnTo>
                  <a:lnTo>
                    <a:pt x="542"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6" name="Freeform 199">
              <a:extLst>
                <a:ext uri="{FF2B5EF4-FFF2-40B4-BE49-F238E27FC236}">
                  <a16:creationId xmlns:a16="http://schemas.microsoft.com/office/drawing/2014/main" id="{46194214-5164-04F2-F721-3EAF2202A031}"/>
                </a:ext>
              </a:extLst>
            </p:cNvPr>
            <p:cNvSpPr>
              <a:spLocks/>
            </p:cNvSpPr>
            <p:nvPr/>
          </p:nvSpPr>
          <p:spPr bwMode="auto">
            <a:xfrm>
              <a:off x="4318000" y="1924050"/>
              <a:ext cx="109538" cy="169863"/>
            </a:xfrm>
            <a:custGeom>
              <a:avLst/>
              <a:gdLst>
                <a:gd name="T0" fmla="*/ 33 w 480"/>
                <a:gd name="T1" fmla="*/ 751 h 751"/>
                <a:gd name="T2" fmla="*/ 26 w 480"/>
                <a:gd name="T3" fmla="*/ 750 h 751"/>
                <a:gd name="T4" fmla="*/ 14 w 480"/>
                <a:gd name="T5" fmla="*/ 745 h 751"/>
                <a:gd name="T6" fmla="*/ 5 w 480"/>
                <a:gd name="T7" fmla="*/ 735 h 751"/>
                <a:gd name="T8" fmla="*/ 1 w 480"/>
                <a:gd name="T9" fmla="*/ 724 h 751"/>
                <a:gd name="T10" fmla="*/ 1 w 480"/>
                <a:gd name="T11" fmla="*/ 711 h 751"/>
                <a:gd name="T12" fmla="*/ 6 w 480"/>
                <a:gd name="T13" fmla="*/ 688 h 751"/>
                <a:gd name="T14" fmla="*/ 22 w 480"/>
                <a:gd name="T15" fmla="*/ 636 h 751"/>
                <a:gd name="T16" fmla="*/ 49 w 480"/>
                <a:gd name="T17" fmla="*/ 561 h 751"/>
                <a:gd name="T18" fmla="*/ 89 w 480"/>
                <a:gd name="T19" fmla="*/ 466 h 751"/>
                <a:gd name="T20" fmla="*/ 129 w 480"/>
                <a:gd name="T21" fmla="*/ 386 h 751"/>
                <a:gd name="T22" fmla="*/ 161 w 480"/>
                <a:gd name="T23" fmla="*/ 330 h 751"/>
                <a:gd name="T24" fmla="*/ 198 w 480"/>
                <a:gd name="T25" fmla="*/ 272 h 751"/>
                <a:gd name="T26" fmla="*/ 239 w 480"/>
                <a:gd name="T27" fmla="*/ 213 h 751"/>
                <a:gd name="T28" fmla="*/ 286 w 480"/>
                <a:gd name="T29" fmla="*/ 154 h 751"/>
                <a:gd name="T30" fmla="*/ 337 w 480"/>
                <a:gd name="T31" fmla="*/ 95 h 751"/>
                <a:gd name="T32" fmla="*/ 394 w 480"/>
                <a:gd name="T33" fmla="*/ 36 h 751"/>
                <a:gd name="T34" fmla="*/ 425 w 480"/>
                <a:gd name="T35" fmla="*/ 8 h 751"/>
                <a:gd name="T36" fmla="*/ 437 w 480"/>
                <a:gd name="T37" fmla="*/ 1 h 751"/>
                <a:gd name="T38" fmla="*/ 449 w 480"/>
                <a:gd name="T39" fmla="*/ 0 h 751"/>
                <a:gd name="T40" fmla="*/ 461 w 480"/>
                <a:gd name="T41" fmla="*/ 3 h 751"/>
                <a:gd name="T42" fmla="*/ 472 w 480"/>
                <a:gd name="T43" fmla="*/ 10 h 751"/>
                <a:gd name="T44" fmla="*/ 476 w 480"/>
                <a:gd name="T45" fmla="*/ 15 h 751"/>
                <a:gd name="T46" fmla="*/ 480 w 480"/>
                <a:gd name="T47" fmla="*/ 28 h 751"/>
                <a:gd name="T48" fmla="*/ 479 w 480"/>
                <a:gd name="T49" fmla="*/ 40 h 751"/>
                <a:gd name="T50" fmla="*/ 474 w 480"/>
                <a:gd name="T51" fmla="*/ 53 h 751"/>
                <a:gd name="T52" fmla="*/ 470 w 480"/>
                <a:gd name="T53" fmla="*/ 57 h 751"/>
                <a:gd name="T54" fmla="*/ 412 w 480"/>
                <a:gd name="T55" fmla="*/ 112 h 751"/>
                <a:gd name="T56" fmla="*/ 360 w 480"/>
                <a:gd name="T57" fmla="*/ 168 h 751"/>
                <a:gd name="T58" fmla="*/ 313 w 480"/>
                <a:gd name="T59" fmla="*/ 225 h 751"/>
                <a:gd name="T60" fmla="*/ 272 w 480"/>
                <a:gd name="T61" fmla="*/ 282 h 751"/>
                <a:gd name="T62" fmla="*/ 235 w 480"/>
                <a:gd name="T63" fmla="*/ 338 h 751"/>
                <a:gd name="T64" fmla="*/ 202 w 480"/>
                <a:gd name="T65" fmla="*/ 393 h 751"/>
                <a:gd name="T66" fmla="*/ 173 w 480"/>
                <a:gd name="T67" fmla="*/ 447 h 751"/>
                <a:gd name="T68" fmla="*/ 127 w 480"/>
                <a:gd name="T69" fmla="*/ 544 h 751"/>
                <a:gd name="T70" fmla="*/ 95 w 480"/>
                <a:gd name="T71" fmla="*/ 626 h 751"/>
                <a:gd name="T72" fmla="*/ 75 w 480"/>
                <a:gd name="T73" fmla="*/ 686 h 751"/>
                <a:gd name="T74" fmla="*/ 65 w 480"/>
                <a:gd name="T75" fmla="*/ 724 h 751"/>
                <a:gd name="T76" fmla="*/ 64 w 480"/>
                <a:gd name="T77" fmla="*/ 730 h 751"/>
                <a:gd name="T78" fmla="*/ 58 w 480"/>
                <a:gd name="T79" fmla="*/ 740 h 751"/>
                <a:gd name="T80" fmla="*/ 49 w 480"/>
                <a:gd name="T81" fmla="*/ 746 h 751"/>
                <a:gd name="T82" fmla="*/ 38 w 480"/>
                <a:gd name="T83" fmla="*/ 750 h 751"/>
                <a:gd name="T84" fmla="*/ 33 w 480"/>
                <a:gd name="T85" fmla="*/ 751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0" h="751">
                  <a:moveTo>
                    <a:pt x="33" y="751"/>
                  </a:moveTo>
                  <a:lnTo>
                    <a:pt x="33" y="751"/>
                  </a:lnTo>
                  <a:lnTo>
                    <a:pt x="26" y="750"/>
                  </a:lnTo>
                  <a:lnTo>
                    <a:pt x="26" y="750"/>
                  </a:lnTo>
                  <a:lnTo>
                    <a:pt x="20" y="748"/>
                  </a:lnTo>
                  <a:lnTo>
                    <a:pt x="14" y="745"/>
                  </a:lnTo>
                  <a:lnTo>
                    <a:pt x="9" y="741"/>
                  </a:lnTo>
                  <a:lnTo>
                    <a:pt x="5" y="735"/>
                  </a:lnTo>
                  <a:lnTo>
                    <a:pt x="2" y="729"/>
                  </a:lnTo>
                  <a:lnTo>
                    <a:pt x="1" y="724"/>
                  </a:lnTo>
                  <a:lnTo>
                    <a:pt x="0" y="717"/>
                  </a:lnTo>
                  <a:lnTo>
                    <a:pt x="1" y="711"/>
                  </a:lnTo>
                  <a:lnTo>
                    <a:pt x="1" y="711"/>
                  </a:lnTo>
                  <a:lnTo>
                    <a:pt x="6" y="688"/>
                  </a:lnTo>
                  <a:lnTo>
                    <a:pt x="12" y="665"/>
                  </a:lnTo>
                  <a:lnTo>
                    <a:pt x="22" y="636"/>
                  </a:lnTo>
                  <a:lnTo>
                    <a:pt x="33" y="601"/>
                  </a:lnTo>
                  <a:lnTo>
                    <a:pt x="49" y="561"/>
                  </a:lnTo>
                  <a:lnTo>
                    <a:pt x="66" y="515"/>
                  </a:lnTo>
                  <a:lnTo>
                    <a:pt x="89" y="466"/>
                  </a:lnTo>
                  <a:lnTo>
                    <a:pt x="115" y="414"/>
                  </a:lnTo>
                  <a:lnTo>
                    <a:pt x="129" y="386"/>
                  </a:lnTo>
                  <a:lnTo>
                    <a:pt x="145" y="358"/>
                  </a:lnTo>
                  <a:lnTo>
                    <a:pt x="161" y="330"/>
                  </a:lnTo>
                  <a:lnTo>
                    <a:pt x="179" y="301"/>
                  </a:lnTo>
                  <a:lnTo>
                    <a:pt x="198" y="272"/>
                  </a:lnTo>
                  <a:lnTo>
                    <a:pt x="218" y="243"/>
                  </a:lnTo>
                  <a:lnTo>
                    <a:pt x="239" y="213"/>
                  </a:lnTo>
                  <a:lnTo>
                    <a:pt x="262" y="183"/>
                  </a:lnTo>
                  <a:lnTo>
                    <a:pt x="286" y="154"/>
                  </a:lnTo>
                  <a:lnTo>
                    <a:pt x="310" y="124"/>
                  </a:lnTo>
                  <a:lnTo>
                    <a:pt x="337" y="95"/>
                  </a:lnTo>
                  <a:lnTo>
                    <a:pt x="365" y="65"/>
                  </a:lnTo>
                  <a:lnTo>
                    <a:pt x="394" y="36"/>
                  </a:lnTo>
                  <a:lnTo>
                    <a:pt x="425" y="8"/>
                  </a:lnTo>
                  <a:lnTo>
                    <a:pt x="425" y="8"/>
                  </a:lnTo>
                  <a:lnTo>
                    <a:pt x="430" y="4"/>
                  </a:lnTo>
                  <a:lnTo>
                    <a:pt x="437" y="1"/>
                  </a:lnTo>
                  <a:lnTo>
                    <a:pt x="443" y="0"/>
                  </a:lnTo>
                  <a:lnTo>
                    <a:pt x="449" y="0"/>
                  </a:lnTo>
                  <a:lnTo>
                    <a:pt x="455" y="1"/>
                  </a:lnTo>
                  <a:lnTo>
                    <a:pt x="461" y="3"/>
                  </a:lnTo>
                  <a:lnTo>
                    <a:pt x="467" y="6"/>
                  </a:lnTo>
                  <a:lnTo>
                    <a:pt x="472" y="10"/>
                  </a:lnTo>
                  <a:lnTo>
                    <a:pt x="472" y="10"/>
                  </a:lnTo>
                  <a:lnTo>
                    <a:pt x="476" y="15"/>
                  </a:lnTo>
                  <a:lnTo>
                    <a:pt x="478" y="22"/>
                  </a:lnTo>
                  <a:lnTo>
                    <a:pt x="480" y="28"/>
                  </a:lnTo>
                  <a:lnTo>
                    <a:pt x="480" y="34"/>
                  </a:lnTo>
                  <a:lnTo>
                    <a:pt x="479" y="40"/>
                  </a:lnTo>
                  <a:lnTo>
                    <a:pt x="477" y="46"/>
                  </a:lnTo>
                  <a:lnTo>
                    <a:pt x="474" y="53"/>
                  </a:lnTo>
                  <a:lnTo>
                    <a:pt x="470" y="57"/>
                  </a:lnTo>
                  <a:lnTo>
                    <a:pt x="470" y="57"/>
                  </a:lnTo>
                  <a:lnTo>
                    <a:pt x="440" y="85"/>
                  </a:lnTo>
                  <a:lnTo>
                    <a:pt x="412" y="112"/>
                  </a:lnTo>
                  <a:lnTo>
                    <a:pt x="386" y="139"/>
                  </a:lnTo>
                  <a:lnTo>
                    <a:pt x="360" y="168"/>
                  </a:lnTo>
                  <a:lnTo>
                    <a:pt x="336" y="196"/>
                  </a:lnTo>
                  <a:lnTo>
                    <a:pt x="313" y="225"/>
                  </a:lnTo>
                  <a:lnTo>
                    <a:pt x="292" y="253"/>
                  </a:lnTo>
                  <a:lnTo>
                    <a:pt x="272" y="282"/>
                  </a:lnTo>
                  <a:lnTo>
                    <a:pt x="252" y="310"/>
                  </a:lnTo>
                  <a:lnTo>
                    <a:pt x="235" y="338"/>
                  </a:lnTo>
                  <a:lnTo>
                    <a:pt x="217" y="366"/>
                  </a:lnTo>
                  <a:lnTo>
                    <a:pt x="202" y="393"/>
                  </a:lnTo>
                  <a:lnTo>
                    <a:pt x="186" y="420"/>
                  </a:lnTo>
                  <a:lnTo>
                    <a:pt x="173" y="447"/>
                  </a:lnTo>
                  <a:lnTo>
                    <a:pt x="148" y="496"/>
                  </a:lnTo>
                  <a:lnTo>
                    <a:pt x="127" y="544"/>
                  </a:lnTo>
                  <a:lnTo>
                    <a:pt x="110" y="588"/>
                  </a:lnTo>
                  <a:lnTo>
                    <a:pt x="95" y="626"/>
                  </a:lnTo>
                  <a:lnTo>
                    <a:pt x="84" y="659"/>
                  </a:lnTo>
                  <a:lnTo>
                    <a:pt x="75" y="686"/>
                  </a:lnTo>
                  <a:lnTo>
                    <a:pt x="70" y="707"/>
                  </a:lnTo>
                  <a:lnTo>
                    <a:pt x="65" y="724"/>
                  </a:lnTo>
                  <a:lnTo>
                    <a:pt x="65" y="724"/>
                  </a:lnTo>
                  <a:lnTo>
                    <a:pt x="64" y="730"/>
                  </a:lnTo>
                  <a:lnTo>
                    <a:pt x="61" y="735"/>
                  </a:lnTo>
                  <a:lnTo>
                    <a:pt x="58" y="740"/>
                  </a:lnTo>
                  <a:lnTo>
                    <a:pt x="54" y="744"/>
                  </a:lnTo>
                  <a:lnTo>
                    <a:pt x="49" y="746"/>
                  </a:lnTo>
                  <a:lnTo>
                    <a:pt x="44" y="749"/>
                  </a:lnTo>
                  <a:lnTo>
                    <a:pt x="38" y="750"/>
                  </a:lnTo>
                  <a:lnTo>
                    <a:pt x="33" y="751"/>
                  </a:lnTo>
                  <a:lnTo>
                    <a:pt x="33" y="7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7" name="Freeform 200">
              <a:extLst>
                <a:ext uri="{FF2B5EF4-FFF2-40B4-BE49-F238E27FC236}">
                  <a16:creationId xmlns:a16="http://schemas.microsoft.com/office/drawing/2014/main" id="{5DF724F2-5B75-749F-8DF0-B03A87F18F6A}"/>
                </a:ext>
              </a:extLst>
            </p:cNvPr>
            <p:cNvSpPr>
              <a:spLocks/>
            </p:cNvSpPr>
            <p:nvPr/>
          </p:nvSpPr>
          <p:spPr bwMode="auto">
            <a:xfrm>
              <a:off x="4229100" y="1811338"/>
              <a:ext cx="74613" cy="357188"/>
            </a:xfrm>
            <a:custGeom>
              <a:avLst/>
              <a:gdLst>
                <a:gd name="T0" fmla="*/ 287 w 326"/>
                <a:gd name="T1" fmla="*/ 1573 h 1573"/>
                <a:gd name="T2" fmla="*/ 267 w 326"/>
                <a:gd name="T3" fmla="*/ 1566 h 1573"/>
                <a:gd name="T4" fmla="*/ 223 w 326"/>
                <a:gd name="T5" fmla="*/ 1539 h 1573"/>
                <a:gd name="T6" fmla="*/ 182 w 326"/>
                <a:gd name="T7" fmla="*/ 1498 h 1573"/>
                <a:gd name="T8" fmla="*/ 145 w 326"/>
                <a:gd name="T9" fmla="*/ 1446 h 1573"/>
                <a:gd name="T10" fmla="*/ 110 w 326"/>
                <a:gd name="T11" fmla="*/ 1383 h 1573"/>
                <a:gd name="T12" fmla="*/ 79 w 326"/>
                <a:gd name="T13" fmla="*/ 1309 h 1573"/>
                <a:gd name="T14" fmla="*/ 53 w 326"/>
                <a:gd name="T15" fmla="*/ 1226 h 1573"/>
                <a:gd name="T16" fmla="*/ 33 w 326"/>
                <a:gd name="T17" fmla="*/ 1135 h 1573"/>
                <a:gd name="T18" fmla="*/ 16 w 326"/>
                <a:gd name="T19" fmla="*/ 1037 h 1573"/>
                <a:gd name="T20" fmla="*/ 6 w 326"/>
                <a:gd name="T21" fmla="*/ 934 h 1573"/>
                <a:gd name="T22" fmla="*/ 1 w 326"/>
                <a:gd name="T23" fmla="*/ 824 h 1573"/>
                <a:gd name="T24" fmla="*/ 1 w 326"/>
                <a:gd name="T25" fmla="*/ 749 h 1573"/>
                <a:gd name="T26" fmla="*/ 6 w 326"/>
                <a:gd name="T27" fmla="*/ 641 h 1573"/>
                <a:gd name="T28" fmla="*/ 16 w 326"/>
                <a:gd name="T29" fmla="*/ 536 h 1573"/>
                <a:gd name="T30" fmla="*/ 33 w 326"/>
                <a:gd name="T31" fmla="*/ 439 h 1573"/>
                <a:gd name="T32" fmla="*/ 53 w 326"/>
                <a:gd name="T33" fmla="*/ 348 h 1573"/>
                <a:gd name="T34" fmla="*/ 79 w 326"/>
                <a:gd name="T35" fmla="*/ 265 h 1573"/>
                <a:gd name="T36" fmla="*/ 109 w 326"/>
                <a:gd name="T37" fmla="*/ 192 h 1573"/>
                <a:gd name="T38" fmla="*/ 143 w 326"/>
                <a:gd name="T39" fmla="*/ 128 h 1573"/>
                <a:gd name="T40" fmla="*/ 182 w 326"/>
                <a:gd name="T41" fmla="*/ 76 h 1573"/>
                <a:gd name="T42" fmla="*/ 222 w 326"/>
                <a:gd name="T43" fmla="*/ 35 h 1573"/>
                <a:gd name="T44" fmla="*/ 267 w 326"/>
                <a:gd name="T45" fmla="*/ 7 h 1573"/>
                <a:gd name="T46" fmla="*/ 288 w 326"/>
                <a:gd name="T47" fmla="*/ 0 h 1573"/>
                <a:gd name="T48" fmla="*/ 307 w 326"/>
                <a:gd name="T49" fmla="*/ 3 h 1573"/>
                <a:gd name="T50" fmla="*/ 320 w 326"/>
                <a:gd name="T51" fmla="*/ 17 h 1573"/>
                <a:gd name="T52" fmla="*/ 325 w 326"/>
                <a:gd name="T53" fmla="*/ 29 h 1573"/>
                <a:gd name="T54" fmla="*/ 321 w 326"/>
                <a:gd name="T55" fmla="*/ 48 h 1573"/>
                <a:gd name="T56" fmla="*/ 309 w 326"/>
                <a:gd name="T57" fmla="*/ 61 h 1573"/>
                <a:gd name="T58" fmla="*/ 291 w 326"/>
                <a:gd name="T59" fmla="*/ 69 h 1573"/>
                <a:gd name="T60" fmla="*/ 259 w 326"/>
                <a:gd name="T61" fmla="*/ 90 h 1573"/>
                <a:gd name="T62" fmla="*/ 227 w 326"/>
                <a:gd name="T63" fmla="*/ 123 h 1573"/>
                <a:gd name="T64" fmla="*/ 196 w 326"/>
                <a:gd name="T65" fmla="*/ 169 h 1573"/>
                <a:gd name="T66" fmla="*/ 167 w 326"/>
                <a:gd name="T67" fmla="*/ 224 h 1573"/>
                <a:gd name="T68" fmla="*/ 140 w 326"/>
                <a:gd name="T69" fmla="*/ 290 h 1573"/>
                <a:gd name="T70" fmla="*/ 118 w 326"/>
                <a:gd name="T71" fmla="*/ 364 h 1573"/>
                <a:gd name="T72" fmla="*/ 98 w 326"/>
                <a:gd name="T73" fmla="*/ 449 h 1573"/>
                <a:gd name="T74" fmla="*/ 82 w 326"/>
                <a:gd name="T75" fmla="*/ 541 h 1573"/>
                <a:gd name="T76" fmla="*/ 71 w 326"/>
                <a:gd name="T77" fmla="*/ 642 h 1573"/>
                <a:gd name="T78" fmla="*/ 67 w 326"/>
                <a:gd name="T79" fmla="*/ 749 h 1573"/>
                <a:gd name="T80" fmla="*/ 67 w 326"/>
                <a:gd name="T81" fmla="*/ 824 h 1573"/>
                <a:gd name="T82" fmla="*/ 71 w 326"/>
                <a:gd name="T83" fmla="*/ 931 h 1573"/>
                <a:gd name="T84" fmla="*/ 82 w 326"/>
                <a:gd name="T85" fmla="*/ 1032 h 1573"/>
                <a:gd name="T86" fmla="*/ 98 w 326"/>
                <a:gd name="T87" fmla="*/ 1125 h 1573"/>
                <a:gd name="T88" fmla="*/ 118 w 326"/>
                <a:gd name="T89" fmla="*/ 1209 h 1573"/>
                <a:gd name="T90" fmla="*/ 140 w 326"/>
                <a:gd name="T91" fmla="*/ 1284 h 1573"/>
                <a:gd name="T92" fmla="*/ 167 w 326"/>
                <a:gd name="T93" fmla="*/ 1350 h 1573"/>
                <a:gd name="T94" fmla="*/ 196 w 326"/>
                <a:gd name="T95" fmla="*/ 1405 h 1573"/>
                <a:gd name="T96" fmla="*/ 227 w 326"/>
                <a:gd name="T97" fmla="*/ 1450 h 1573"/>
                <a:gd name="T98" fmla="*/ 259 w 326"/>
                <a:gd name="T99" fmla="*/ 1483 h 1573"/>
                <a:gd name="T100" fmla="*/ 293 w 326"/>
                <a:gd name="T101" fmla="*/ 1505 h 1573"/>
                <a:gd name="T102" fmla="*/ 309 w 326"/>
                <a:gd name="T103" fmla="*/ 1512 h 1573"/>
                <a:gd name="T104" fmla="*/ 323 w 326"/>
                <a:gd name="T105" fmla="*/ 1525 h 1573"/>
                <a:gd name="T106" fmla="*/ 326 w 326"/>
                <a:gd name="T107" fmla="*/ 1544 h 1573"/>
                <a:gd name="T108" fmla="*/ 321 w 326"/>
                <a:gd name="T109" fmla="*/ 1555 h 1573"/>
                <a:gd name="T110" fmla="*/ 311 w 326"/>
                <a:gd name="T111" fmla="*/ 1568 h 1573"/>
                <a:gd name="T112" fmla="*/ 298 w 326"/>
                <a:gd name="T113" fmla="*/ 1573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1573">
                  <a:moveTo>
                    <a:pt x="293" y="1573"/>
                  </a:moveTo>
                  <a:lnTo>
                    <a:pt x="293" y="1573"/>
                  </a:lnTo>
                  <a:lnTo>
                    <a:pt x="287" y="1573"/>
                  </a:lnTo>
                  <a:lnTo>
                    <a:pt x="282" y="1572"/>
                  </a:lnTo>
                  <a:lnTo>
                    <a:pt x="282" y="1572"/>
                  </a:lnTo>
                  <a:lnTo>
                    <a:pt x="267" y="1566"/>
                  </a:lnTo>
                  <a:lnTo>
                    <a:pt x="252" y="1559"/>
                  </a:lnTo>
                  <a:lnTo>
                    <a:pt x="238" y="1549"/>
                  </a:lnTo>
                  <a:lnTo>
                    <a:pt x="223" y="1539"/>
                  </a:lnTo>
                  <a:lnTo>
                    <a:pt x="209" y="1526"/>
                  </a:lnTo>
                  <a:lnTo>
                    <a:pt x="195" y="1513"/>
                  </a:lnTo>
                  <a:lnTo>
                    <a:pt x="182" y="1498"/>
                  </a:lnTo>
                  <a:lnTo>
                    <a:pt x="169" y="1482"/>
                  </a:lnTo>
                  <a:lnTo>
                    <a:pt x="156" y="1464"/>
                  </a:lnTo>
                  <a:lnTo>
                    <a:pt x="145" y="1446"/>
                  </a:lnTo>
                  <a:lnTo>
                    <a:pt x="132" y="1426"/>
                  </a:lnTo>
                  <a:lnTo>
                    <a:pt x="121" y="1404"/>
                  </a:lnTo>
                  <a:lnTo>
                    <a:pt x="110" y="1383"/>
                  </a:lnTo>
                  <a:lnTo>
                    <a:pt x="99" y="1359"/>
                  </a:lnTo>
                  <a:lnTo>
                    <a:pt x="90" y="1334"/>
                  </a:lnTo>
                  <a:lnTo>
                    <a:pt x="79" y="1309"/>
                  </a:lnTo>
                  <a:lnTo>
                    <a:pt x="70" y="1282"/>
                  </a:lnTo>
                  <a:lnTo>
                    <a:pt x="62" y="1254"/>
                  </a:lnTo>
                  <a:lnTo>
                    <a:pt x="53" y="1226"/>
                  </a:lnTo>
                  <a:lnTo>
                    <a:pt x="46" y="1196"/>
                  </a:lnTo>
                  <a:lnTo>
                    <a:pt x="39" y="1166"/>
                  </a:lnTo>
                  <a:lnTo>
                    <a:pt x="33" y="1135"/>
                  </a:lnTo>
                  <a:lnTo>
                    <a:pt x="27" y="1103"/>
                  </a:lnTo>
                  <a:lnTo>
                    <a:pt x="21" y="1070"/>
                  </a:lnTo>
                  <a:lnTo>
                    <a:pt x="16" y="1037"/>
                  </a:lnTo>
                  <a:lnTo>
                    <a:pt x="12" y="1003"/>
                  </a:lnTo>
                  <a:lnTo>
                    <a:pt x="8" y="969"/>
                  </a:lnTo>
                  <a:lnTo>
                    <a:pt x="6" y="934"/>
                  </a:lnTo>
                  <a:lnTo>
                    <a:pt x="3" y="897"/>
                  </a:lnTo>
                  <a:lnTo>
                    <a:pt x="2" y="861"/>
                  </a:lnTo>
                  <a:lnTo>
                    <a:pt x="1" y="824"/>
                  </a:lnTo>
                  <a:lnTo>
                    <a:pt x="0" y="787"/>
                  </a:lnTo>
                  <a:lnTo>
                    <a:pt x="0" y="787"/>
                  </a:lnTo>
                  <a:lnTo>
                    <a:pt x="1" y="749"/>
                  </a:lnTo>
                  <a:lnTo>
                    <a:pt x="2" y="713"/>
                  </a:lnTo>
                  <a:lnTo>
                    <a:pt x="3" y="676"/>
                  </a:lnTo>
                  <a:lnTo>
                    <a:pt x="6" y="641"/>
                  </a:lnTo>
                  <a:lnTo>
                    <a:pt x="8" y="606"/>
                  </a:lnTo>
                  <a:lnTo>
                    <a:pt x="12" y="570"/>
                  </a:lnTo>
                  <a:lnTo>
                    <a:pt x="16" y="536"/>
                  </a:lnTo>
                  <a:lnTo>
                    <a:pt x="21" y="503"/>
                  </a:lnTo>
                  <a:lnTo>
                    <a:pt x="27" y="471"/>
                  </a:lnTo>
                  <a:lnTo>
                    <a:pt x="33" y="439"/>
                  </a:lnTo>
                  <a:lnTo>
                    <a:pt x="39" y="408"/>
                  </a:lnTo>
                  <a:lnTo>
                    <a:pt x="46" y="377"/>
                  </a:lnTo>
                  <a:lnTo>
                    <a:pt x="53" y="348"/>
                  </a:lnTo>
                  <a:lnTo>
                    <a:pt x="62" y="319"/>
                  </a:lnTo>
                  <a:lnTo>
                    <a:pt x="70" y="292"/>
                  </a:lnTo>
                  <a:lnTo>
                    <a:pt x="79" y="265"/>
                  </a:lnTo>
                  <a:lnTo>
                    <a:pt x="89" y="239"/>
                  </a:lnTo>
                  <a:lnTo>
                    <a:pt x="99" y="215"/>
                  </a:lnTo>
                  <a:lnTo>
                    <a:pt x="109" y="192"/>
                  </a:lnTo>
                  <a:lnTo>
                    <a:pt x="121" y="169"/>
                  </a:lnTo>
                  <a:lnTo>
                    <a:pt x="132" y="148"/>
                  </a:lnTo>
                  <a:lnTo>
                    <a:pt x="143" y="128"/>
                  </a:lnTo>
                  <a:lnTo>
                    <a:pt x="156" y="109"/>
                  </a:lnTo>
                  <a:lnTo>
                    <a:pt x="168" y="91"/>
                  </a:lnTo>
                  <a:lnTo>
                    <a:pt x="182" y="76"/>
                  </a:lnTo>
                  <a:lnTo>
                    <a:pt x="195" y="60"/>
                  </a:lnTo>
                  <a:lnTo>
                    <a:pt x="209" y="47"/>
                  </a:lnTo>
                  <a:lnTo>
                    <a:pt x="222" y="35"/>
                  </a:lnTo>
                  <a:lnTo>
                    <a:pt x="237" y="24"/>
                  </a:lnTo>
                  <a:lnTo>
                    <a:pt x="251" y="16"/>
                  </a:lnTo>
                  <a:lnTo>
                    <a:pt x="267" y="7"/>
                  </a:lnTo>
                  <a:lnTo>
                    <a:pt x="281" y="2"/>
                  </a:lnTo>
                  <a:lnTo>
                    <a:pt x="281" y="2"/>
                  </a:lnTo>
                  <a:lnTo>
                    <a:pt x="288" y="0"/>
                  </a:lnTo>
                  <a:lnTo>
                    <a:pt x="295" y="0"/>
                  </a:lnTo>
                  <a:lnTo>
                    <a:pt x="301" y="1"/>
                  </a:lnTo>
                  <a:lnTo>
                    <a:pt x="307" y="3"/>
                  </a:lnTo>
                  <a:lnTo>
                    <a:pt x="312" y="6"/>
                  </a:lnTo>
                  <a:lnTo>
                    <a:pt x="317" y="12"/>
                  </a:lnTo>
                  <a:lnTo>
                    <a:pt x="320" y="17"/>
                  </a:lnTo>
                  <a:lnTo>
                    <a:pt x="324" y="23"/>
                  </a:lnTo>
                  <a:lnTo>
                    <a:pt x="324" y="23"/>
                  </a:lnTo>
                  <a:lnTo>
                    <a:pt x="325" y="29"/>
                  </a:lnTo>
                  <a:lnTo>
                    <a:pt x="325" y="35"/>
                  </a:lnTo>
                  <a:lnTo>
                    <a:pt x="324" y="42"/>
                  </a:lnTo>
                  <a:lnTo>
                    <a:pt x="321" y="48"/>
                  </a:lnTo>
                  <a:lnTo>
                    <a:pt x="318" y="53"/>
                  </a:lnTo>
                  <a:lnTo>
                    <a:pt x="314" y="58"/>
                  </a:lnTo>
                  <a:lnTo>
                    <a:pt x="309" y="61"/>
                  </a:lnTo>
                  <a:lnTo>
                    <a:pt x="303" y="64"/>
                  </a:lnTo>
                  <a:lnTo>
                    <a:pt x="303" y="64"/>
                  </a:lnTo>
                  <a:lnTo>
                    <a:pt x="291" y="69"/>
                  </a:lnTo>
                  <a:lnTo>
                    <a:pt x="281" y="75"/>
                  </a:lnTo>
                  <a:lnTo>
                    <a:pt x="270" y="82"/>
                  </a:lnTo>
                  <a:lnTo>
                    <a:pt x="259" y="90"/>
                  </a:lnTo>
                  <a:lnTo>
                    <a:pt x="248" y="101"/>
                  </a:lnTo>
                  <a:lnTo>
                    <a:pt x="238" y="111"/>
                  </a:lnTo>
                  <a:lnTo>
                    <a:pt x="227" y="123"/>
                  </a:lnTo>
                  <a:lnTo>
                    <a:pt x="217" y="138"/>
                  </a:lnTo>
                  <a:lnTo>
                    <a:pt x="207" y="152"/>
                  </a:lnTo>
                  <a:lnTo>
                    <a:pt x="196" y="169"/>
                  </a:lnTo>
                  <a:lnTo>
                    <a:pt x="186" y="185"/>
                  </a:lnTo>
                  <a:lnTo>
                    <a:pt x="177" y="204"/>
                  </a:lnTo>
                  <a:lnTo>
                    <a:pt x="167" y="224"/>
                  </a:lnTo>
                  <a:lnTo>
                    <a:pt x="158" y="244"/>
                  </a:lnTo>
                  <a:lnTo>
                    <a:pt x="150" y="266"/>
                  </a:lnTo>
                  <a:lnTo>
                    <a:pt x="140" y="290"/>
                  </a:lnTo>
                  <a:lnTo>
                    <a:pt x="132" y="314"/>
                  </a:lnTo>
                  <a:lnTo>
                    <a:pt x="125" y="339"/>
                  </a:lnTo>
                  <a:lnTo>
                    <a:pt x="118" y="364"/>
                  </a:lnTo>
                  <a:lnTo>
                    <a:pt x="110" y="392"/>
                  </a:lnTo>
                  <a:lnTo>
                    <a:pt x="104" y="420"/>
                  </a:lnTo>
                  <a:lnTo>
                    <a:pt x="98" y="449"/>
                  </a:lnTo>
                  <a:lnTo>
                    <a:pt x="92" y="479"/>
                  </a:lnTo>
                  <a:lnTo>
                    <a:pt x="87" y="509"/>
                  </a:lnTo>
                  <a:lnTo>
                    <a:pt x="82" y="541"/>
                  </a:lnTo>
                  <a:lnTo>
                    <a:pt x="78" y="575"/>
                  </a:lnTo>
                  <a:lnTo>
                    <a:pt x="74" y="608"/>
                  </a:lnTo>
                  <a:lnTo>
                    <a:pt x="71" y="642"/>
                  </a:lnTo>
                  <a:lnTo>
                    <a:pt x="69" y="677"/>
                  </a:lnTo>
                  <a:lnTo>
                    <a:pt x="68" y="713"/>
                  </a:lnTo>
                  <a:lnTo>
                    <a:pt x="67" y="749"/>
                  </a:lnTo>
                  <a:lnTo>
                    <a:pt x="66" y="787"/>
                  </a:lnTo>
                  <a:lnTo>
                    <a:pt x="66" y="787"/>
                  </a:lnTo>
                  <a:lnTo>
                    <a:pt x="67" y="824"/>
                  </a:lnTo>
                  <a:lnTo>
                    <a:pt x="68" y="861"/>
                  </a:lnTo>
                  <a:lnTo>
                    <a:pt x="69" y="896"/>
                  </a:lnTo>
                  <a:lnTo>
                    <a:pt x="71" y="931"/>
                  </a:lnTo>
                  <a:lnTo>
                    <a:pt x="74" y="966"/>
                  </a:lnTo>
                  <a:lnTo>
                    <a:pt x="78" y="1000"/>
                  </a:lnTo>
                  <a:lnTo>
                    <a:pt x="82" y="1032"/>
                  </a:lnTo>
                  <a:lnTo>
                    <a:pt x="87" y="1064"/>
                  </a:lnTo>
                  <a:lnTo>
                    <a:pt x="92" y="1095"/>
                  </a:lnTo>
                  <a:lnTo>
                    <a:pt x="98" y="1125"/>
                  </a:lnTo>
                  <a:lnTo>
                    <a:pt x="104" y="1154"/>
                  </a:lnTo>
                  <a:lnTo>
                    <a:pt x="110" y="1182"/>
                  </a:lnTo>
                  <a:lnTo>
                    <a:pt x="118" y="1209"/>
                  </a:lnTo>
                  <a:lnTo>
                    <a:pt x="125" y="1235"/>
                  </a:lnTo>
                  <a:lnTo>
                    <a:pt x="133" y="1261"/>
                  </a:lnTo>
                  <a:lnTo>
                    <a:pt x="140" y="1284"/>
                  </a:lnTo>
                  <a:lnTo>
                    <a:pt x="150" y="1307"/>
                  </a:lnTo>
                  <a:lnTo>
                    <a:pt x="158" y="1329"/>
                  </a:lnTo>
                  <a:lnTo>
                    <a:pt x="167" y="1350"/>
                  </a:lnTo>
                  <a:lnTo>
                    <a:pt x="177" y="1369"/>
                  </a:lnTo>
                  <a:lnTo>
                    <a:pt x="187" y="1388"/>
                  </a:lnTo>
                  <a:lnTo>
                    <a:pt x="196" y="1405"/>
                  </a:lnTo>
                  <a:lnTo>
                    <a:pt x="207" y="1421"/>
                  </a:lnTo>
                  <a:lnTo>
                    <a:pt x="217" y="1436"/>
                  </a:lnTo>
                  <a:lnTo>
                    <a:pt x="227" y="1450"/>
                  </a:lnTo>
                  <a:lnTo>
                    <a:pt x="238" y="1462"/>
                  </a:lnTo>
                  <a:lnTo>
                    <a:pt x="249" y="1474"/>
                  </a:lnTo>
                  <a:lnTo>
                    <a:pt x="259" y="1483"/>
                  </a:lnTo>
                  <a:lnTo>
                    <a:pt x="270" y="1491"/>
                  </a:lnTo>
                  <a:lnTo>
                    <a:pt x="281" y="1498"/>
                  </a:lnTo>
                  <a:lnTo>
                    <a:pt x="293" y="1505"/>
                  </a:lnTo>
                  <a:lnTo>
                    <a:pt x="303" y="1509"/>
                  </a:lnTo>
                  <a:lnTo>
                    <a:pt x="303" y="1509"/>
                  </a:lnTo>
                  <a:lnTo>
                    <a:pt x="309" y="1512"/>
                  </a:lnTo>
                  <a:lnTo>
                    <a:pt x="314" y="1516"/>
                  </a:lnTo>
                  <a:lnTo>
                    <a:pt x="318" y="1520"/>
                  </a:lnTo>
                  <a:lnTo>
                    <a:pt x="323" y="1525"/>
                  </a:lnTo>
                  <a:lnTo>
                    <a:pt x="325" y="1532"/>
                  </a:lnTo>
                  <a:lnTo>
                    <a:pt x="326" y="1538"/>
                  </a:lnTo>
                  <a:lnTo>
                    <a:pt x="326" y="1544"/>
                  </a:lnTo>
                  <a:lnTo>
                    <a:pt x="324" y="1551"/>
                  </a:lnTo>
                  <a:lnTo>
                    <a:pt x="324" y="1551"/>
                  </a:lnTo>
                  <a:lnTo>
                    <a:pt x="321" y="1555"/>
                  </a:lnTo>
                  <a:lnTo>
                    <a:pt x="318" y="1561"/>
                  </a:lnTo>
                  <a:lnTo>
                    <a:pt x="315" y="1564"/>
                  </a:lnTo>
                  <a:lnTo>
                    <a:pt x="311" y="1568"/>
                  </a:lnTo>
                  <a:lnTo>
                    <a:pt x="307" y="1570"/>
                  </a:lnTo>
                  <a:lnTo>
                    <a:pt x="303" y="1572"/>
                  </a:lnTo>
                  <a:lnTo>
                    <a:pt x="298" y="1573"/>
                  </a:lnTo>
                  <a:lnTo>
                    <a:pt x="293" y="1573"/>
                  </a:lnTo>
                  <a:lnTo>
                    <a:pt x="293" y="15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8" name="Freeform 201">
              <a:extLst>
                <a:ext uri="{FF2B5EF4-FFF2-40B4-BE49-F238E27FC236}">
                  <a16:creationId xmlns:a16="http://schemas.microsoft.com/office/drawing/2014/main" id="{4C8A77B6-1ECA-75A8-85ED-6FECCBC2367B}"/>
                </a:ext>
              </a:extLst>
            </p:cNvPr>
            <p:cNvSpPr>
              <a:spLocks/>
            </p:cNvSpPr>
            <p:nvPr/>
          </p:nvSpPr>
          <p:spPr bwMode="auto">
            <a:xfrm>
              <a:off x="4168775" y="1811338"/>
              <a:ext cx="130175" cy="357188"/>
            </a:xfrm>
            <a:custGeom>
              <a:avLst/>
              <a:gdLst>
                <a:gd name="T0" fmla="*/ 536 w 573"/>
                <a:gd name="T1" fmla="*/ 1577 h 1577"/>
                <a:gd name="T2" fmla="*/ 479 w 573"/>
                <a:gd name="T3" fmla="*/ 1566 h 1577"/>
                <a:gd name="T4" fmla="*/ 398 w 573"/>
                <a:gd name="T5" fmla="*/ 1537 h 1577"/>
                <a:gd name="T6" fmla="*/ 323 w 573"/>
                <a:gd name="T7" fmla="*/ 1493 h 1577"/>
                <a:gd name="T8" fmla="*/ 253 w 573"/>
                <a:gd name="T9" fmla="*/ 1437 h 1577"/>
                <a:gd name="T10" fmla="*/ 191 w 573"/>
                <a:gd name="T11" fmla="*/ 1370 h 1577"/>
                <a:gd name="T12" fmla="*/ 135 w 573"/>
                <a:gd name="T13" fmla="*/ 1293 h 1577"/>
                <a:gd name="T14" fmla="*/ 89 w 573"/>
                <a:gd name="T15" fmla="*/ 1206 h 1577"/>
                <a:gd name="T16" fmla="*/ 51 w 573"/>
                <a:gd name="T17" fmla="*/ 1110 h 1577"/>
                <a:gd name="T18" fmla="*/ 23 w 573"/>
                <a:gd name="T19" fmla="*/ 1008 h 1577"/>
                <a:gd name="T20" fmla="*/ 6 w 573"/>
                <a:gd name="T21" fmla="*/ 900 h 1577"/>
                <a:gd name="T22" fmla="*/ 0 w 573"/>
                <a:gd name="T23" fmla="*/ 788 h 1577"/>
                <a:gd name="T24" fmla="*/ 3 w 573"/>
                <a:gd name="T25" fmla="*/ 714 h 1577"/>
                <a:gd name="T26" fmla="*/ 15 w 573"/>
                <a:gd name="T27" fmla="*/ 607 h 1577"/>
                <a:gd name="T28" fmla="*/ 39 w 573"/>
                <a:gd name="T29" fmla="*/ 504 h 1577"/>
                <a:gd name="T30" fmla="*/ 73 w 573"/>
                <a:gd name="T31" fmla="*/ 408 h 1577"/>
                <a:gd name="T32" fmla="*/ 116 w 573"/>
                <a:gd name="T33" fmla="*/ 319 h 1577"/>
                <a:gd name="T34" fmla="*/ 166 w 573"/>
                <a:gd name="T35" fmla="*/ 238 h 1577"/>
                <a:gd name="T36" fmla="*/ 225 w 573"/>
                <a:gd name="T37" fmla="*/ 168 h 1577"/>
                <a:gd name="T38" fmla="*/ 290 w 573"/>
                <a:gd name="T39" fmla="*/ 107 h 1577"/>
                <a:gd name="T40" fmla="*/ 362 w 573"/>
                <a:gd name="T41" fmla="*/ 58 h 1577"/>
                <a:gd name="T42" fmla="*/ 438 w 573"/>
                <a:gd name="T43" fmla="*/ 23 h 1577"/>
                <a:gd name="T44" fmla="*/ 520 w 573"/>
                <a:gd name="T45" fmla="*/ 1 h 1577"/>
                <a:gd name="T46" fmla="*/ 534 w 573"/>
                <a:gd name="T47" fmla="*/ 1 h 1577"/>
                <a:gd name="T48" fmla="*/ 550 w 573"/>
                <a:gd name="T49" fmla="*/ 11 h 1577"/>
                <a:gd name="T50" fmla="*/ 559 w 573"/>
                <a:gd name="T51" fmla="*/ 28 h 1577"/>
                <a:gd name="T52" fmla="*/ 559 w 573"/>
                <a:gd name="T53" fmla="*/ 42 h 1577"/>
                <a:gd name="T54" fmla="*/ 549 w 573"/>
                <a:gd name="T55" fmla="*/ 57 h 1577"/>
                <a:gd name="T56" fmla="*/ 532 w 573"/>
                <a:gd name="T57" fmla="*/ 66 h 1577"/>
                <a:gd name="T58" fmla="*/ 483 w 573"/>
                <a:gd name="T59" fmla="*/ 78 h 1577"/>
                <a:gd name="T60" fmla="*/ 413 w 573"/>
                <a:gd name="T61" fmla="*/ 106 h 1577"/>
                <a:gd name="T62" fmla="*/ 346 w 573"/>
                <a:gd name="T63" fmla="*/ 146 h 1577"/>
                <a:gd name="T64" fmla="*/ 286 w 573"/>
                <a:gd name="T65" fmla="*/ 198 h 1577"/>
                <a:gd name="T66" fmla="*/ 231 w 573"/>
                <a:gd name="T67" fmla="*/ 260 h 1577"/>
                <a:gd name="T68" fmla="*/ 184 w 573"/>
                <a:gd name="T69" fmla="*/ 331 h 1577"/>
                <a:gd name="T70" fmla="*/ 144 w 573"/>
                <a:gd name="T71" fmla="*/ 411 h 1577"/>
                <a:gd name="T72" fmla="*/ 110 w 573"/>
                <a:gd name="T73" fmla="*/ 497 h 1577"/>
                <a:gd name="T74" fmla="*/ 86 w 573"/>
                <a:gd name="T75" fmla="*/ 589 h 1577"/>
                <a:gd name="T76" fmla="*/ 71 w 573"/>
                <a:gd name="T77" fmla="*/ 686 h 1577"/>
                <a:gd name="T78" fmla="*/ 66 w 573"/>
                <a:gd name="T79" fmla="*/ 788 h 1577"/>
                <a:gd name="T80" fmla="*/ 68 w 573"/>
                <a:gd name="T81" fmla="*/ 857 h 1577"/>
                <a:gd name="T82" fmla="*/ 80 w 573"/>
                <a:gd name="T83" fmla="*/ 958 h 1577"/>
                <a:gd name="T84" fmla="*/ 102 w 573"/>
                <a:gd name="T85" fmla="*/ 1054 h 1577"/>
                <a:gd name="T86" fmla="*/ 133 w 573"/>
                <a:gd name="T87" fmla="*/ 1144 h 1577"/>
                <a:gd name="T88" fmla="*/ 173 w 573"/>
                <a:gd name="T89" fmla="*/ 1225 h 1577"/>
                <a:gd name="T90" fmla="*/ 219 w 573"/>
                <a:gd name="T91" fmla="*/ 1300 h 1577"/>
                <a:gd name="T92" fmla="*/ 273 w 573"/>
                <a:gd name="T93" fmla="*/ 1365 h 1577"/>
                <a:gd name="T94" fmla="*/ 333 w 573"/>
                <a:gd name="T95" fmla="*/ 1420 h 1577"/>
                <a:gd name="T96" fmla="*/ 399 w 573"/>
                <a:gd name="T97" fmla="*/ 1463 h 1577"/>
                <a:gd name="T98" fmla="*/ 470 w 573"/>
                <a:gd name="T99" fmla="*/ 1493 h 1577"/>
                <a:gd name="T100" fmla="*/ 545 w 573"/>
                <a:gd name="T101" fmla="*/ 1511 h 1577"/>
                <a:gd name="T102" fmla="*/ 557 w 573"/>
                <a:gd name="T103" fmla="*/ 1516 h 1577"/>
                <a:gd name="T104" fmla="*/ 570 w 573"/>
                <a:gd name="T105" fmla="*/ 1530 h 1577"/>
                <a:gd name="T106" fmla="*/ 573 w 573"/>
                <a:gd name="T107" fmla="*/ 1548 h 1577"/>
                <a:gd name="T108" fmla="*/ 569 w 573"/>
                <a:gd name="T109" fmla="*/ 1560 h 1577"/>
                <a:gd name="T110" fmla="*/ 557 w 573"/>
                <a:gd name="T111" fmla="*/ 1572 h 1577"/>
                <a:gd name="T112" fmla="*/ 540 w 573"/>
                <a:gd name="T113" fmla="*/ 1577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3" h="1577">
                  <a:moveTo>
                    <a:pt x="540" y="1577"/>
                  </a:moveTo>
                  <a:lnTo>
                    <a:pt x="540" y="1577"/>
                  </a:lnTo>
                  <a:lnTo>
                    <a:pt x="536" y="1577"/>
                  </a:lnTo>
                  <a:lnTo>
                    <a:pt x="536" y="1577"/>
                  </a:lnTo>
                  <a:lnTo>
                    <a:pt x="507" y="1572"/>
                  </a:lnTo>
                  <a:lnTo>
                    <a:pt x="479" y="1566"/>
                  </a:lnTo>
                  <a:lnTo>
                    <a:pt x="452" y="1557"/>
                  </a:lnTo>
                  <a:lnTo>
                    <a:pt x="425" y="1547"/>
                  </a:lnTo>
                  <a:lnTo>
                    <a:pt x="398" y="1537"/>
                  </a:lnTo>
                  <a:lnTo>
                    <a:pt x="372" y="1523"/>
                  </a:lnTo>
                  <a:lnTo>
                    <a:pt x="347" y="1509"/>
                  </a:lnTo>
                  <a:lnTo>
                    <a:pt x="323" y="1493"/>
                  </a:lnTo>
                  <a:lnTo>
                    <a:pt x="299" y="1476"/>
                  </a:lnTo>
                  <a:lnTo>
                    <a:pt x="276" y="1457"/>
                  </a:lnTo>
                  <a:lnTo>
                    <a:pt x="253" y="1437"/>
                  </a:lnTo>
                  <a:lnTo>
                    <a:pt x="231" y="1417"/>
                  </a:lnTo>
                  <a:lnTo>
                    <a:pt x="211" y="1394"/>
                  </a:lnTo>
                  <a:lnTo>
                    <a:pt x="191" y="1370"/>
                  </a:lnTo>
                  <a:lnTo>
                    <a:pt x="171" y="1345"/>
                  </a:lnTo>
                  <a:lnTo>
                    <a:pt x="153" y="1319"/>
                  </a:lnTo>
                  <a:lnTo>
                    <a:pt x="135" y="1293"/>
                  </a:lnTo>
                  <a:lnTo>
                    <a:pt x="119" y="1265"/>
                  </a:lnTo>
                  <a:lnTo>
                    <a:pt x="103" y="1236"/>
                  </a:lnTo>
                  <a:lnTo>
                    <a:pt x="89" y="1206"/>
                  </a:lnTo>
                  <a:lnTo>
                    <a:pt x="75" y="1175"/>
                  </a:lnTo>
                  <a:lnTo>
                    <a:pt x="63" y="1144"/>
                  </a:lnTo>
                  <a:lnTo>
                    <a:pt x="51" y="1110"/>
                  </a:lnTo>
                  <a:lnTo>
                    <a:pt x="40" y="1077"/>
                  </a:lnTo>
                  <a:lnTo>
                    <a:pt x="31" y="1043"/>
                  </a:lnTo>
                  <a:lnTo>
                    <a:pt x="23" y="1008"/>
                  </a:lnTo>
                  <a:lnTo>
                    <a:pt x="16" y="973"/>
                  </a:lnTo>
                  <a:lnTo>
                    <a:pt x="10" y="937"/>
                  </a:lnTo>
                  <a:lnTo>
                    <a:pt x="6" y="900"/>
                  </a:lnTo>
                  <a:lnTo>
                    <a:pt x="3" y="863"/>
                  </a:lnTo>
                  <a:lnTo>
                    <a:pt x="1" y="826"/>
                  </a:lnTo>
                  <a:lnTo>
                    <a:pt x="0" y="788"/>
                  </a:lnTo>
                  <a:lnTo>
                    <a:pt x="0" y="788"/>
                  </a:lnTo>
                  <a:lnTo>
                    <a:pt x="1" y="750"/>
                  </a:lnTo>
                  <a:lnTo>
                    <a:pt x="3" y="714"/>
                  </a:lnTo>
                  <a:lnTo>
                    <a:pt x="6" y="678"/>
                  </a:lnTo>
                  <a:lnTo>
                    <a:pt x="10" y="642"/>
                  </a:lnTo>
                  <a:lnTo>
                    <a:pt x="15" y="607"/>
                  </a:lnTo>
                  <a:lnTo>
                    <a:pt x="22" y="571"/>
                  </a:lnTo>
                  <a:lnTo>
                    <a:pt x="31" y="537"/>
                  </a:lnTo>
                  <a:lnTo>
                    <a:pt x="39" y="504"/>
                  </a:lnTo>
                  <a:lnTo>
                    <a:pt x="49" y="471"/>
                  </a:lnTo>
                  <a:lnTo>
                    <a:pt x="61" y="439"/>
                  </a:lnTo>
                  <a:lnTo>
                    <a:pt x="73" y="408"/>
                  </a:lnTo>
                  <a:lnTo>
                    <a:pt x="87" y="378"/>
                  </a:lnTo>
                  <a:lnTo>
                    <a:pt x="100" y="348"/>
                  </a:lnTo>
                  <a:lnTo>
                    <a:pt x="116" y="319"/>
                  </a:lnTo>
                  <a:lnTo>
                    <a:pt x="132" y="291"/>
                  </a:lnTo>
                  <a:lnTo>
                    <a:pt x="149" y="264"/>
                  </a:lnTo>
                  <a:lnTo>
                    <a:pt x="166" y="238"/>
                  </a:lnTo>
                  <a:lnTo>
                    <a:pt x="185" y="213"/>
                  </a:lnTo>
                  <a:lnTo>
                    <a:pt x="205" y="190"/>
                  </a:lnTo>
                  <a:lnTo>
                    <a:pt x="225" y="168"/>
                  </a:lnTo>
                  <a:lnTo>
                    <a:pt x="246" y="146"/>
                  </a:lnTo>
                  <a:lnTo>
                    <a:pt x="268" y="125"/>
                  </a:lnTo>
                  <a:lnTo>
                    <a:pt x="290" y="107"/>
                  </a:lnTo>
                  <a:lnTo>
                    <a:pt x="314" y="89"/>
                  </a:lnTo>
                  <a:lnTo>
                    <a:pt x="338" y="74"/>
                  </a:lnTo>
                  <a:lnTo>
                    <a:pt x="362" y="58"/>
                  </a:lnTo>
                  <a:lnTo>
                    <a:pt x="387" y="45"/>
                  </a:lnTo>
                  <a:lnTo>
                    <a:pt x="413" y="33"/>
                  </a:lnTo>
                  <a:lnTo>
                    <a:pt x="438" y="23"/>
                  </a:lnTo>
                  <a:lnTo>
                    <a:pt x="465" y="14"/>
                  </a:lnTo>
                  <a:lnTo>
                    <a:pt x="492" y="6"/>
                  </a:lnTo>
                  <a:lnTo>
                    <a:pt x="520" y="1"/>
                  </a:lnTo>
                  <a:lnTo>
                    <a:pt x="520" y="1"/>
                  </a:lnTo>
                  <a:lnTo>
                    <a:pt x="527" y="0"/>
                  </a:lnTo>
                  <a:lnTo>
                    <a:pt x="534" y="1"/>
                  </a:lnTo>
                  <a:lnTo>
                    <a:pt x="540" y="3"/>
                  </a:lnTo>
                  <a:lnTo>
                    <a:pt x="545" y="6"/>
                  </a:lnTo>
                  <a:lnTo>
                    <a:pt x="550" y="11"/>
                  </a:lnTo>
                  <a:lnTo>
                    <a:pt x="553" y="16"/>
                  </a:lnTo>
                  <a:lnTo>
                    <a:pt x="556" y="22"/>
                  </a:lnTo>
                  <a:lnTo>
                    <a:pt x="559" y="28"/>
                  </a:lnTo>
                  <a:lnTo>
                    <a:pt x="559" y="28"/>
                  </a:lnTo>
                  <a:lnTo>
                    <a:pt x="559" y="34"/>
                  </a:lnTo>
                  <a:lnTo>
                    <a:pt x="559" y="42"/>
                  </a:lnTo>
                  <a:lnTo>
                    <a:pt x="556" y="47"/>
                  </a:lnTo>
                  <a:lnTo>
                    <a:pt x="553" y="53"/>
                  </a:lnTo>
                  <a:lnTo>
                    <a:pt x="549" y="57"/>
                  </a:lnTo>
                  <a:lnTo>
                    <a:pt x="544" y="61"/>
                  </a:lnTo>
                  <a:lnTo>
                    <a:pt x="538" y="64"/>
                  </a:lnTo>
                  <a:lnTo>
                    <a:pt x="532" y="66"/>
                  </a:lnTo>
                  <a:lnTo>
                    <a:pt x="532" y="66"/>
                  </a:lnTo>
                  <a:lnTo>
                    <a:pt x="507" y="72"/>
                  </a:lnTo>
                  <a:lnTo>
                    <a:pt x="483" y="78"/>
                  </a:lnTo>
                  <a:lnTo>
                    <a:pt x="458" y="86"/>
                  </a:lnTo>
                  <a:lnTo>
                    <a:pt x="435" y="95"/>
                  </a:lnTo>
                  <a:lnTo>
                    <a:pt x="413" y="106"/>
                  </a:lnTo>
                  <a:lnTo>
                    <a:pt x="390" y="118"/>
                  </a:lnTo>
                  <a:lnTo>
                    <a:pt x="368" y="132"/>
                  </a:lnTo>
                  <a:lnTo>
                    <a:pt x="346" y="146"/>
                  </a:lnTo>
                  <a:lnTo>
                    <a:pt x="326" y="163"/>
                  </a:lnTo>
                  <a:lnTo>
                    <a:pt x="306" y="180"/>
                  </a:lnTo>
                  <a:lnTo>
                    <a:pt x="286" y="198"/>
                  </a:lnTo>
                  <a:lnTo>
                    <a:pt x="268" y="217"/>
                  </a:lnTo>
                  <a:lnTo>
                    <a:pt x="249" y="238"/>
                  </a:lnTo>
                  <a:lnTo>
                    <a:pt x="231" y="260"/>
                  </a:lnTo>
                  <a:lnTo>
                    <a:pt x="215" y="283"/>
                  </a:lnTo>
                  <a:lnTo>
                    <a:pt x="199" y="306"/>
                  </a:lnTo>
                  <a:lnTo>
                    <a:pt x="184" y="331"/>
                  </a:lnTo>
                  <a:lnTo>
                    <a:pt x="169" y="357"/>
                  </a:lnTo>
                  <a:lnTo>
                    <a:pt x="156" y="383"/>
                  </a:lnTo>
                  <a:lnTo>
                    <a:pt x="144" y="411"/>
                  </a:lnTo>
                  <a:lnTo>
                    <a:pt x="131" y="439"/>
                  </a:lnTo>
                  <a:lnTo>
                    <a:pt x="121" y="467"/>
                  </a:lnTo>
                  <a:lnTo>
                    <a:pt x="110" y="497"/>
                  </a:lnTo>
                  <a:lnTo>
                    <a:pt x="101" y="527"/>
                  </a:lnTo>
                  <a:lnTo>
                    <a:pt x="93" y="558"/>
                  </a:lnTo>
                  <a:lnTo>
                    <a:pt x="86" y="589"/>
                  </a:lnTo>
                  <a:lnTo>
                    <a:pt x="80" y="621"/>
                  </a:lnTo>
                  <a:lnTo>
                    <a:pt x="75" y="653"/>
                  </a:lnTo>
                  <a:lnTo>
                    <a:pt x="71" y="686"/>
                  </a:lnTo>
                  <a:lnTo>
                    <a:pt x="68" y="719"/>
                  </a:lnTo>
                  <a:lnTo>
                    <a:pt x="67" y="753"/>
                  </a:lnTo>
                  <a:lnTo>
                    <a:pt x="66" y="788"/>
                  </a:lnTo>
                  <a:lnTo>
                    <a:pt x="66" y="788"/>
                  </a:lnTo>
                  <a:lnTo>
                    <a:pt x="67" y="823"/>
                  </a:lnTo>
                  <a:lnTo>
                    <a:pt x="68" y="857"/>
                  </a:lnTo>
                  <a:lnTo>
                    <a:pt x="71" y="891"/>
                  </a:lnTo>
                  <a:lnTo>
                    <a:pt x="75" y="925"/>
                  </a:lnTo>
                  <a:lnTo>
                    <a:pt x="80" y="958"/>
                  </a:lnTo>
                  <a:lnTo>
                    <a:pt x="87" y="990"/>
                  </a:lnTo>
                  <a:lnTo>
                    <a:pt x="94" y="1022"/>
                  </a:lnTo>
                  <a:lnTo>
                    <a:pt x="102" y="1054"/>
                  </a:lnTo>
                  <a:lnTo>
                    <a:pt x="111" y="1085"/>
                  </a:lnTo>
                  <a:lnTo>
                    <a:pt x="122" y="1115"/>
                  </a:lnTo>
                  <a:lnTo>
                    <a:pt x="133" y="1144"/>
                  </a:lnTo>
                  <a:lnTo>
                    <a:pt x="146" y="1171"/>
                  </a:lnTo>
                  <a:lnTo>
                    <a:pt x="158" y="1199"/>
                  </a:lnTo>
                  <a:lnTo>
                    <a:pt x="173" y="1225"/>
                  </a:lnTo>
                  <a:lnTo>
                    <a:pt x="187" y="1251"/>
                  </a:lnTo>
                  <a:lnTo>
                    <a:pt x="203" y="1276"/>
                  </a:lnTo>
                  <a:lnTo>
                    <a:pt x="219" y="1300"/>
                  </a:lnTo>
                  <a:lnTo>
                    <a:pt x="237" y="1323"/>
                  </a:lnTo>
                  <a:lnTo>
                    <a:pt x="254" y="1344"/>
                  </a:lnTo>
                  <a:lnTo>
                    <a:pt x="273" y="1365"/>
                  </a:lnTo>
                  <a:lnTo>
                    <a:pt x="293" y="1385"/>
                  </a:lnTo>
                  <a:lnTo>
                    <a:pt x="312" y="1402"/>
                  </a:lnTo>
                  <a:lnTo>
                    <a:pt x="333" y="1420"/>
                  </a:lnTo>
                  <a:lnTo>
                    <a:pt x="355" y="1435"/>
                  </a:lnTo>
                  <a:lnTo>
                    <a:pt x="376" y="1450"/>
                  </a:lnTo>
                  <a:lnTo>
                    <a:pt x="399" y="1463"/>
                  </a:lnTo>
                  <a:lnTo>
                    <a:pt x="422" y="1475"/>
                  </a:lnTo>
                  <a:lnTo>
                    <a:pt x="446" y="1485"/>
                  </a:lnTo>
                  <a:lnTo>
                    <a:pt x="470" y="1493"/>
                  </a:lnTo>
                  <a:lnTo>
                    <a:pt x="494" y="1502"/>
                  </a:lnTo>
                  <a:lnTo>
                    <a:pt x="519" y="1507"/>
                  </a:lnTo>
                  <a:lnTo>
                    <a:pt x="545" y="1511"/>
                  </a:lnTo>
                  <a:lnTo>
                    <a:pt x="545" y="1511"/>
                  </a:lnTo>
                  <a:lnTo>
                    <a:pt x="551" y="1513"/>
                  </a:lnTo>
                  <a:lnTo>
                    <a:pt x="557" y="1516"/>
                  </a:lnTo>
                  <a:lnTo>
                    <a:pt x="563" y="1519"/>
                  </a:lnTo>
                  <a:lnTo>
                    <a:pt x="567" y="1524"/>
                  </a:lnTo>
                  <a:lnTo>
                    <a:pt x="570" y="1530"/>
                  </a:lnTo>
                  <a:lnTo>
                    <a:pt x="572" y="1536"/>
                  </a:lnTo>
                  <a:lnTo>
                    <a:pt x="573" y="1542"/>
                  </a:lnTo>
                  <a:lnTo>
                    <a:pt x="573" y="1548"/>
                  </a:lnTo>
                  <a:lnTo>
                    <a:pt x="573" y="1548"/>
                  </a:lnTo>
                  <a:lnTo>
                    <a:pt x="572" y="1554"/>
                  </a:lnTo>
                  <a:lnTo>
                    <a:pt x="569" y="1560"/>
                  </a:lnTo>
                  <a:lnTo>
                    <a:pt x="566" y="1565"/>
                  </a:lnTo>
                  <a:lnTo>
                    <a:pt x="562" y="1569"/>
                  </a:lnTo>
                  <a:lnTo>
                    <a:pt x="557" y="1572"/>
                  </a:lnTo>
                  <a:lnTo>
                    <a:pt x="552" y="1575"/>
                  </a:lnTo>
                  <a:lnTo>
                    <a:pt x="546" y="1576"/>
                  </a:lnTo>
                  <a:lnTo>
                    <a:pt x="540" y="1577"/>
                  </a:lnTo>
                  <a:lnTo>
                    <a:pt x="540" y="15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9" name="Freeform 202">
              <a:extLst>
                <a:ext uri="{FF2B5EF4-FFF2-40B4-BE49-F238E27FC236}">
                  <a16:creationId xmlns:a16="http://schemas.microsoft.com/office/drawing/2014/main" id="{41AADCDD-7FC6-2F2F-E6C2-57CC7618FDEF}"/>
                </a:ext>
              </a:extLst>
            </p:cNvPr>
            <p:cNvSpPr>
              <a:spLocks/>
            </p:cNvSpPr>
            <p:nvPr/>
          </p:nvSpPr>
          <p:spPr bwMode="auto">
            <a:xfrm>
              <a:off x="4138613" y="1900238"/>
              <a:ext cx="165100" cy="14288"/>
            </a:xfrm>
            <a:custGeom>
              <a:avLst/>
              <a:gdLst>
                <a:gd name="T0" fmla="*/ 695 w 728"/>
                <a:gd name="T1" fmla="*/ 67 h 67"/>
                <a:gd name="T2" fmla="*/ 33 w 728"/>
                <a:gd name="T3" fmla="*/ 67 h 67"/>
                <a:gd name="T4" fmla="*/ 33 w 728"/>
                <a:gd name="T5" fmla="*/ 67 h 67"/>
                <a:gd name="T6" fmla="*/ 27 w 728"/>
                <a:gd name="T7" fmla="*/ 66 h 67"/>
                <a:gd name="T8" fmla="*/ 21 w 728"/>
                <a:gd name="T9" fmla="*/ 63 h 67"/>
                <a:gd name="T10" fmla="*/ 15 w 728"/>
                <a:gd name="T11" fmla="*/ 60 h 67"/>
                <a:gd name="T12" fmla="*/ 10 w 728"/>
                <a:gd name="T13" fmla="*/ 56 h 67"/>
                <a:gd name="T14" fmla="*/ 6 w 728"/>
                <a:gd name="T15" fmla="*/ 52 h 67"/>
                <a:gd name="T16" fmla="*/ 3 w 728"/>
                <a:gd name="T17" fmla="*/ 46 h 67"/>
                <a:gd name="T18" fmla="*/ 1 w 728"/>
                <a:gd name="T19" fmla="*/ 40 h 67"/>
                <a:gd name="T20" fmla="*/ 0 w 728"/>
                <a:gd name="T21" fmla="*/ 33 h 67"/>
                <a:gd name="T22" fmla="*/ 0 w 728"/>
                <a:gd name="T23" fmla="*/ 33 h 67"/>
                <a:gd name="T24" fmla="*/ 1 w 728"/>
                <a:gd name="T25" fmla="*/ 26 h 67"/>
                <a:gd name="T26" fmla="*/ 3 w 728"/>
                <a:gd name="T27" fmla="*/ 20 h 67"/>
                <a:gd name="T28" fmla="*/ 6 w 728"/>
                <a:gd name="T29" fmla="*/ 15 h 67"/>
                <a:gd name="T30" fmla="*/ 10 w 728"/>
                <a:gd name="T31" fmla="*/ 10 h 67"/>
                <a:gd name="T32" fmla="*/ 15 w 728"/>
                <a:gd name="T33" fmla="*/ 6 h 67"/>
                <a:gd name="T34" fmla="*/ 21 w 728"/>
                <a:gd name="T35" fmla="*/ 2 h 67"/>
                <a:gd name="T36" fmla="*/ 27 w 728"/>
                <a:gd name="T37" fmla="*/ 0 h 67"/>
                <a:gd name="T38" fmla="*/ 33 w 728"/>
                <a:gd name="T39" fmla="*/ 0 h 67"/>
                <a:gd name="T40" fmla="*/ 695 w 728"/>
                <a:gd name="T41" fmla="*/ 0 h 67"/>
                <a:gd name="T42" fmla="*/ 695 w 728"/>
                <a:gd name="T43" fmla="*/ 0 h 67"/>
                <a:gd name="T44" fmla="*/ 701 w 728"/>
                <a:gd name="T45" fmla="*/ 0 h 67"/>
                <a:gd name="T46" fmla="*/ 707 w 728"/>
                <a:gd name="T47" fmla="*/ 2 h 67"/>
                <a:gd name="T48" fmla="*/ 713 w 728"/>
                <a:gd name="T49" fmla="*/ 6 h 67"/>
                <a:gd name="T50" fmla="*/ 718 w 728"/>
                <a:gd name="T51" fmla="*/ 10 h 67"/>
                <a:gd name="T52" fmla="*/ 721 w 728"/>
                <a:gd name="T53" fmla="*/ 15 h 67"/>
                <a:gd name="T54" fmla="*/ 725 w 728"/>
                <a:gd name="T55" fmla="*/ 20 h 67"/>
                <a:gd name="T56" fmla="*/ 727 w 728"/>
                <a:gd name="T57" fmla="*/ 26 h 67"/>
                <a:gd name="T58" fmla="*/ 728 w 728"/>
                <a:gd name="T59" fmla="*/ 33 h 67"/>
                <a:gd name="T60" fmla="*/ 728 w 728"/>
                <a:gd name="T61" fmla="*/ 33 h 67"/>
                <a:gd name="T62" fmla="*/ 727 w 728"/>
                <a:gd name="T63" fmla="*/ 40 h 67"/>
                <a:gd name="T64" fmla="*/ 725 w 728"/>
                <a:gd name="T65" fmla="*/ 46 h 67"/>
                <a:gd name="T66" fmla="*/ 721 w 728"/>
                <a:gd name="T67" fmla="*/ 52 h 67"/>
                <a:gd name="T68" fmla="*/ 718 w 728"/>
                <a:gd name="T69" fmla="*/ 56 h 67"/>
                <a:gd name="T70" fmla="*/ 713 w 728"/>
                <a:gd name="T71" fmla="*/ 60 h 67"/>
                <a:gd name="T72" fmla="*/ 707 w 728"/>
                <a:gd name="T73" fmla="*/ 63 h 67"/>
                <a:gd name="T74" fmla="*/ 701 w 728"/>
                <a:gd name="T75" fmla="*/ 66 h 67"/>
                <a:gd name="T76" fmla="*/ 695 w 728"/>
                <a:gd name="T77" fmla="*/ 67 h 67"/>
                <a:gd name="T78" fmla="*/ 695 w 728"/>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8" h="67">
                  <a:moveTo>
                    <a:pt x="695" y="67"/>
                  </a:moveTo>
                  <a:lnTo>
                    <a:pt x="33" y="67"/>
                  </a:lnTo>
                  <a:lnTo>
                    <a:pt x="33" y="67"/>
                  </a:lnTo>
                  <a:lnTo>
                    <a:pt x="27" y="66"/>
                  </a:lnTo>
                  <a:lnTo>
                    <a:pt x="21" y="63"/>
                  </a:lnTo>
                  <a:lnTo>
                    <a:pt x="15" y="60"/>
                  </a:lnTo>
                  <a:lnTo>
                    <a:pt x="10" y="56"/>
                  </a:lnTo>
                  <a:lnTo>
                    <a:pt x="6" y="52"/>
                  </a:lnTo>
                  <a:lnTo>
                    <a:pt x="3" y="46"/>
                  </a:lnTo>
                  <a:lnTo>
                    <a:pt x="1" y="40"/>
                  </a:lnTo>
                  <a:lnTo>
                    <a:pt x="0" y="33"/>
                  </a:lnTo>
                  <a:lnTo>
                    <a:pt x="0" y="33"/>
                  </a:lnTo>
                  <a:lnTo>
                    <a:pt x="1" y="26"/>
                  </a:lnTo>
                  <a:lnTo>
                    <a:pt x="3" y="20"/>
                  </a:lnTo>
                  <a:lnTo>
                    <a:pt x="6" y="15"/>
                  </a:lnTo>
                  <a:lnTo>
                    <a:pt x="10" y="10"/>
                  </a:lnTo>
                  <a:lnTo>
                    <a:pt x="15" y="6"/>
                  </a:lnTo>
                  <a:lnTo>
                    <a:pt x="21" y="2"/>
                  </a:lnTo>
                  <a:lnTo>
                    <a:pt x="27" y="0"/>
                  </a:lnTo>
                  <a:lnTo>
                    <a:pt x="33" y="0"/>
                  </a:lnTo>
                  <a:lnTo>
                    <a:pt x="695" y="0"/>
                  </a:lnTo>
                  <a:lnTo>
                    <a:pt x="695" y="0"/>
                  </a:lnTo>
                  <a:lnTo>
                    <a:pt x="701" y="0"/>
                  </a:lnTo>
                  <a:lnTo>
                    <a:pt x="707" y="2"/>
                  </a:lnTo>
                  <a:lnTo>
                    <a:pt x="713" y="6"/>
                  </a:lnTo>
                  <a:lnTo>
                    <a:pt x="718" y="10"/>
                  </a:lnTo>
                  <a:lnTo>
                    <a:pt x="721" y="15"/>
                  </a:lnTo>
                  <a:lnTo>
                    <a:pt x="725" y="20"/>
                  </a:lnTo>
                  <a:lnTo>
                    <a:pt x="727" y="26"/>
                  </a:lnTo>
                  <a:lnTo>
                    <a:pt x="728" y="33"/>
                  </a:lnTo>
                  <a:lnTo>
                    <a:pt x="728" y="33"/>
                  </a:lnTo>
                  <a:lnTo>
                    <a:pt x="727" y="40"/>
                  </a:lnTo>
                  <a:lnTo>
                    <a:pt x="725" y="46"/>
                  </a:lnTo>
                  <a:lnTo>
                    <a:pt x="721" y="52"/>
                  </a:lnTo>
                  <a:lnTo>
                    <a:pt x="718" y="56"/>
                  </a:lnTo>
                  <a:lnTo>
                    <a:pt x="713" y="60"/>
                  </a:lnTo>
                  <a:lnTo>
                    <a:pt x="707" y="63"/>
                  </a:lnTo>
                  <a:lnTo>
                    <a:pt x="701" y="66"/>
                  </a:lnTo>
                  <a:lnTo>
                    <a:pt x="695" y="67"/>
                  </a:lnTo>
                  <a:lnTo>
                    <a:pt x="695"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0" name="Freeform 203">
              <a:extLst>
                <a:ext uri="{FF2B5EF4-FFF2-40B4-BE49-F238E27FC236}">
                  <a16:creationId xmlns:a16="http://schemas.microsoft.com/office/drawing/2014/main" id="{97CB88A4-3A98-7816-B8C0-45D86F8CEB24}"/>
                </a:ext>
              </a:extLst>
            </p:cNvPr>
            <p:cNvSpPr>
              <a:spLocks/>
            </p:cNvSpPr>
            <p:nvPr/>
          </p:nvSpPr>
          <p:spPr bwMode="auto">
            <a:xfrm>
              <a:off x="4116388" y="1974850"/>
              <a:ext cx="187325" cy="14288"/>
            </a:xfrm>
            <a:custGeom>
              <a:avLst/>
              <a:gdLst>
                <a:gd name="T0" fmla="*/ 792 w 825"/>
                <a:gd name="T1" fmla="*/ 67 h 67"/>
                <a:gd name="T2" fmla="*/ 33 w 825"/>
                <a:gd name="T3" fmla="*/ 67 h 67"/>
                <a:gd name="T4" fmla="*/ 33 w 825"/>
                <a:gd name="T5" fmla="*/ 67 h 67"/>
                <a:gd name="T6" fmla="*/ 27 w 825"/>
                <a:gd name="T7" fmla="*/ 66 h 67"/>
                <a:gd name="T8" fmla="*/ 21 w 825"/>
                <a:gd name="T9" fmla="*/ 65 h 67"/>
                <a:gd name="T10" fmla="*/ 15 w 825"/>
                <a:gd name="T11" fmla="*/ 61 h 67"/>
                <a:gd name="T12" fmla="*/ 10 w 825"/>
                <a:gd name="T13" fmla="*/ 57 h 67"/>
                <a:gd name="T14" fmla="*/ 6 w 825"/>
                <a:gd name="T15" fmla="*/ 52 h 67"/>
                <a:gd name="T16" fmla="*/ 3 w 825"/>
                <a:gd name="T17" fmla="*/ 47 h 67"/>
                <a:gd name="T18" fmla="*/ 1 w 825"/>
                <a:gd name="T19" fmla="*/ 41 h 67"/>
                <a:gd name="T20" fmla="*/ 0 w 825"/>
                <a:gd name="T21" fmla="*/ 34 h 67"/>
                <a:gd name="T22" fmla="*/ 0 w 825"/>
                <a:gd name="T23" fmla="*/ 34 h 67"/>
                <a:gd name="T24" fmla="*/ 1 w 825"/>
                <a:gd name="T25" fmla="*/ 27 h 67"/>
                <a:gd name="T26" fmla="*/ 3 w 825"/>
                <a:gd name="T27" fmla="*/ 21 h 67"/>
                <a:gd name="T28" fmla="*/ 6 w 825"/>
                <a:gd name="T29" fmla="*/ 15 h 67"/>
                <a:gd name="T30" fmla="*/ 10 w 825"/>
                <a:gd name="T31" fmla="*/ 11 h 67"/>
                <a:gd name="T32" fmla="*/ 15 w 825"/>
                <a:gd name="T33" fmla="*/ 7 h 67"/>
                <a:gd name="T34" fmla="*/ 21 w 825"/>
                <a:gd name="T35" fmla="*/ 4 h 67"/>
                <a:gd name="T36" fmla="*/ 27 w 825"/>
                <a:gd name="T37" fmla="*/ 1 h 67"/>
                <a:gd name="T38" fmla="*/ 33 w 825"/>
                <a:gd name="T39" fmla="*/ 0 h 67"/>
                <a:gd name="T40" fmla="*/ 792 w 825"/>
                <a:gd name="T41" fmla="*/ 0 h 67"/>
                <a:gd name="T42" fmla="*/ 792 w 825"/>
                <a:gd name="T43" fmla="*/ 0 h 67"/>
                <a:gd name="T44" fmla="*/ 798 w 825"/>
                <a:gd name="T45" fmla="*/ 1 h 67"/>
                <a:gd name="T46" fmla="*/ 804 w 825"/>
                <a:gd name="T47" fmla="*/ 4 h 67"/>
                <a:gd name="T48" fmla="*/ 810 w 825"/>
                <a:gd name="T49" fmla="*/ 7 h 67"/>
                <a:gd name="T50" fmla="*/ 815 w 825"/>
                <a:gd name="T51" fmla="*/ 11 h 67"/>
                <a:gd name="T52" fmla="*/ 818 w 825"/>
                <a:gd name="T53" fmla="*/ 15 h 67"/>
                <a:gd name="T54" fmla="*/ 822 w 825"/>
                <a:gd name="T55" fmla="*/ 21 h 67"/>
                <a:gd name="T56" fmla="*/ 824 w 825"/>
                <a:gd name="T57" fmla="*/ 27 h 67"/>
                <a:gd name="T58" fmla="*/ 825 w 825"/>
                <a:gd name="T59" fmla="*/ 34 h 67"/>
                <a:gd name="T60" fmla="*/ 825 w 825"/>
                <a:gd name="T61" fmla="*/ 34 h 67"/>
                <a:gd name="T62" fmla="*/ 824 w 825"/>
                <a:gd name="T63" fmla="*/ 41 h 67"/>
                <a:gd name="T64" fmla="*/ 822 w 825"/>
                <a:gd name="T65" fmla="*/ 47 h 67"/>
                <a:gd name="T66" fmla="*/ 818 w 825"/>
                <a:gd name="T67" fmla="*/ 52 h 67"/>
                <a:gd name="T68" fmla="*/ 815 w 825"/>
                <a:gd name="T69" fmla="*/ 57 h 67"/>
                <a:gd name="T70" fmla="*/ 810 w 825"/>
                <a:gd name="T71" fmla="*/ 61 h 67"/>
                <a:gd name="T72" fmla="*/ 804 w 825"/>
                <a:gd name="T73" fmla="*/ 65 h 67"/>
                <a:gd name="T74" fmla="*/ 798 w 825"/>
                <a:gd name="T75" fmla="*/ 66 h 67"/>
                <a:gd name="T76" fmla="*/ 792 w 825"/>
                <a:gd name="T77" fmla="*/ 67 h 67"/>
                <a:gd name="T78" fmla="*/ 792 w 825"/>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5" h="67">
                  <a:moveTo>
                    <a:pt x="792" y="67"/>
                  </a:moveTo>
                  <a:lnTo>
                    <a:pt x="33" y="67"/>
                  </a:lnTo>
                  <a:lnTo>
                    <a:pt x="33" y="67"/>
                  </a:lnTo>
                  <a:lnTo>
                    <a:pt x="27" y="66"/>
                  </a:lnTo>
                  <a:lnTo>
                    <a:pt x="21" y="65"/>
                  </a:lnTo>
                  <a:lnTo>
                    <a:pt x="15" y="61"/>
                  </a:lnTo>
                  <a:lnTo>
                    <a:pt x="10" y="57"/>
                  </a:lnTo>
                  <a:lnTo>
                    <a:pt x="6" y="52"/>
                  </a:lnTo>
                  <a:lnTo>
                    <a:pt x="3" y="47"/>
                  </a:lnTo>
                  <a:lnTo>
                    <a:pt x="1" y="41"/>
                  </a:lnTo>
                  <a:lnTo>
                    <a:pt x="0" y="34"/>
                  </a:lnTo>
                  <a:lnTo>
                    <a:pt x="0" y="34"/>
                  </a:lnTo>
                  <a:lnTo>
                    <a:pt x="1" y="27"/>
                  </a:lnTo>
                  <a:lnTo>
                    <a:pt x="3" y="21"/>
                  </a:lnTo>
                  <a:lnTo>
                    <a:pt x="6" y="15"/>
                  </a:lnTo>
                  <a:lnTo>
                    <a:pt x="10" y="11"/>
                  </a:lnTo>
                  <a:lnTo>
                    <a:pt x="15" y="7"/>
                  </a:lnTo>
                  <a:lnTo>
                    <a:pt x="21" y="4"/>
                  </a:lnTo>
                  <a:lnTo>
                    <a:pt x="27" y="1"/>
                  </a:lnTo>
                  <a:lnTo>
                    <a:pt x="33" y="0"/>
                  </a:lnTo>
                  <a:lnTo>
                    <a:pt x="792" y="0"/>
                  </a:lnTo>
                  <a:lnTo>
                    <a:pt x="792" y="0"/>
                  </a:lnTo>
                  <a:lnTo>
                    <a:pt x="798" y="1"/>
                  </a:lnTo>
                  <a:lnTo>
                    <a:pt x="804" y="4"/>
                  </a:lnTo>
                  <a:lnTo>
                    <a:pt x="810" y="7"/>
                  </a:lnTo>
                  <a:lnTo>
                    <a:pt x="815" y="11"/>
                  </a:lnTo>
                  <a:lnTo>
                    <a:pt x="818" y="15"/>
                  </a:lnTo>
                  <a:lnTo>
                    <a:pt x="822" y="21"/>
                  </a:lnTo>
                  <a:lnTo>
                    <a:pt x="824" y="27"/>
                  </a:lnTo>
                  <a:lnTo>
                    <a:pt x="825" y="34"/>
                  </a:lnTo>
                  <a:lnTo>
                    <a:pt x="825" y="34"/>
                  </a:lnTo>
                  <a:lnTo>
                    <a:pt x="824" y="41"/>
                  </a:lnTo>
                  <a:lnTo>
                    <a:pt x="822" y="47"/>
                  </a:lnTo>
                  <a:lnTo>
                    <a:pt x="818" y="52"/>
                  </a:lnTo>
                  <a:lnTo>
                    <a:pt x="815" y="57"/>
                  </a:lnTo>
                  <a:lnTo>
                    <a:pt x="810" y="61"/>
                  </a:lnTo>
                  <a:lnTo>
                    <a:pt x="804" y="65"/>
                  </a:lnTo>
                  <a:lnTo>
                    <a:pt x="798" y="66"/>
                  </a:lnTo>
                  <a:lnTo>
                    <a:pt x="792" y="67"/>
                  </a:lnTo>
                  <a:lnTo>
                    <a:pt x="792"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1" name="Freeform 204">
              <a:extLst>
                <a:ext uri="{FF2B5EF4-FFF2-40B4-BE49-F238E27FC236}">
                  <a16:creationId xmlns:a16="http://schemas.microsoft.com/office/drawing/2014/main" id="{D51C5970-0FEC-B58F-48FE-9773197CA259}"/>
                </a:ext>
              </a:extLst>
            </p:cNvPr>
            <p:cNvSpPr>
              <a:spLocks/>
            </p:cNvSpPr>
            <p:nvPr/>
          </p:nvSpPr>
          <p:spPr bwMode="auto">
            <a:xfrm>
              <a:off x="4130675" y="2049463"/>
              <a:ext cx="173038" cy="15875"/>
            </a:xfrm>
            <a:custGeom>
              <a:avLst/>
              <a:gdLst>
                <a:gd name="T0" fmla="*/ 726 w 759"/>
                <a:gd name="T1" fmla="*/ 66 h 66"/>
                <a:gd name="T2" fmla="*/ 33 w 759"/>
                <a:gd name="T3" fmla="*/ 66 h 66"/>
                <a:gd name="T4" fmla="*/ 33 w 759"/>
                <a:gd name="T5" fmla="*/ 66 h 66"/>
                <a:gd name="T6" fmla="*/ 27 w 759"/>
                <a:gd name="T7" fmla="*/ 65 h 66"/>
                <a:gd name="T8" fmla="*/ 21 w 759"/>
                <a:gd name="T9" fmla="*/ 63 h 66"/>
                <a:gd name="T10" fmla="*/ 15 w 759"/>
                <a:gd name="T11" fmla="*/ 60 h 66"/>
                <a:gd name="T12" fmla="*/ 10 w 759"/>
                <a:gd name="T13" fmla="*/ 55 h 66"/>
                <a:gd name="T14" fmla="*/ 6 w 759"/>
                <a:gd name="T15" fmla="*/ 50 h 66"/>
                <a:gd name="T16" fmla="*/ 3 w 759"/>
                <a:gd name="T17" fmla="*/ 45 h 66"/>
                <a:gd name="T18" fmla="*/ 1 w 759"/>
                <a:gd name="T19" fmla="*/ 39 h 66"/>
                <a:gd name="T20" fmla="*/ 0 w 759"/>
                <a:gd name="T21" fmla="*/ 33 h 66"/>
                <a:gd name="T22" fmla="*/ 0 w 759"/>
                <a:gd name="T23" fmla="*/ 33 h 66"/>
                <a:gd name="T24" fmla="*/ 1 w 759"/>
                <a:gd name="T25" fmla="*/ 25 h 66"/>
                <a:gd name="T26" fmla="*/ 3 w 759"/>
                <a:gd name="T27" fmla="*/ 19 h 66"/>
                <a:gd name="T28" fmla="*/ 6 w 759"/>
                <a:gd name="T29" fmla="*/ 14 h 66"/>
                <a:gd name="T30" fmla="*/ 10 w 759"/>
                <a:gd name="T31" fmla="*/ 9 h 66"/>
                <a:gd name="T32" fmla="*/ 15 w 759"/>
                <a:gd name="T33" fmla="*/ 5 h 66"/>
                <a:gd name="T34" fmla="*/ 21 w 759"/>
                <a:gd name="T35" fmla="*/ 2 h 66"/>
                <a:gd name="T36" fmla="*/ 27 w 759"/>
                <a:gd name="T37" fmla="*/ 0 h 66"/>
                <a:gd name="T38" fmla="*/ 33 w 759"/>
                <a:gd name="T39" fmla="*/ 0 h 66"/>
                <a:gd name="T40" fmla="*/ 726 w 759"/>
                <a:gd name="T41" fmla="*/ 0 h 66"/>
                <a:gd name="T42" fmla="*/ 726 w 759"/>
                <a:gd name="T43" fmla="*/ 0 h 66"/>
                <a:gd name="T44" fmla="*/ 732 w 759"/>
                <a:gd name="T45" fmla="*/ 0 h 66"/>
                <a:gd name="T46" fmla="*/ 738 w 759"/>
                <a:gd name="T47" fmla="*/ 2 h 66"/>
                <a:gd name="T48" fmla="*/ 744 w 759"/>
                <a:gd name="T49" fmla="*/ 5 h 66"/>
                <a:gd name="T50" fmla="*/ 749 w 759"/>
                <a:gd name="T51" fmla="*/ 9 h 66"/>
                <a:gd name="T52" fmla="*/ 752 w 759"/>
                <a:gd name="T53" fmla="*/ 14 h 66"/>
                <a:gd name="T54" fmla="*/ 756 w 759"/>
                <a:gd name="T55" fmla="*/ 19 h 66"/>
                <a:gd name="T56" fmla="*/ 758 w 759"/>
                <a:gd name="T57" fmla="*/ 25 h 66"/>
                <a:gd name="T58" fmla="*/ 759 w 759"/>
                <a:gd name="T59" fmla="*/ 33 h 66"/>
                <a:gd name="T60" fmla="*/ 759 w 759"/>
                <a:gd name="T61" fmla="*/ 33 h 66"/>
                <a:gd name="T62" fmla="*/ 758 w 759"/>
                <a:gd name="T63" fmla="*/ 39 h 66"/>
                <a:gd name="T64" fmla="*/ 756 w 759"/>
                <a:gd name="T65" fmla="*/ 45 h 66"/>
                <a:gd name="T66" fmla="*/ 752 w 759"/>
                <a:gd name="T67" fmla="*/ 50 h 66"/>
                <a:gd name="T68" fmla="*/ 749 w 759"/>
                <a:gd name="T69" fmla="*/ 55 h 66"/>
                <a:gd name="T70" fmla="*/ 744 w 759"/>
                <a:gd name="T71" fmla="*/ 60 h 66"/>
                <a:gd name="T72" fmla="*/ 738 w 759"/>
                <a:gd name="T73" fmla="*/ 63 h 66"/>
                <a:gd name="T74" fmla="*/ 732 w 759"/>
                <a:gd name="T75" fmla="*/ 65 h 66"/>
                <a:gd name="T76" fmla="*/ 726 w 759"/>
                <a:gd name="T77" fmla="*/ 66 h 66"/>
                <a:gd name="T78" fmla="*/ 726 w 759"/>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9" h="66">
                  <a:moveTo>
                    <a:pt x="726" y="66"/>
                  </a:moveTo>
                  <a:lnTo>
                    <a:pt x="33" y="66"/>
                  </a:lnTo>
                  <a:lnTo>
                    <a:pt x="33" y="66"/>
                  </a:lnTo>
                  <a:lnTo>
                    <a:pt x="27" y="65"/>
                  </a:lnTo>
                  <a:lnTo>
                    <a:pt x="21" y="63"/>
                  </a:lnTo>
                  <a:lnTo>
                    <a:pt x="15" y="60"/>
                  </a:lnTo>
                  <a:lnTo>
                    <a:pt x="10" y="55"/>
                  </a:lnTo>
                  <a:lnTo>
                    <a:pt x="6" y="50"/>
                  </a:lnTo>
                  <a:lnTo>
                    <a:pt x="3" y="45"/>
                  </a:lnTo>
                  <a:lnTo>
                    <a:pt x="1" y="39"/>
                  </a:lnTo>
                  <a:lnTo>
                    <a:pt x="0" y="33"/>
                  </a:lnTo>
                  <a:lnTo>
                    <a:pt x="0" y="33"/>
                  </a:lnTo>
                  <a:lnTo>
                    <a:pt x="1" y="25"/>
                  </a:lnTo>
                  <a:lnTo>
                    <a:pt x="3" y="19"/>
                  </a:lnTo>
                  <a:lnTo>
                    <a:pt x="6" y="14"/>
                  </a:lnTo>
                  <a:lnTo>
                    <a:pt x="10" y="9"/>
                  </a:lnTo>
                  <a:lnTo>
                    <a:pt x="15" y="5"/>
                  </a:lnTo>
                  <a:lnTo>
                    <a:pt x="21" y="2"/>
                  </a:lnTo>
                  <a:lnTo>
                    <a:pt x="27" y="0"/>
                  </a:lnTo>
                  <a:lnTo>
                    <a:pt x="33" y="0"/>
                  </a:lnTo>
                  <a:lnTo>
                    <a:pt x="726" y="0"/>
                  </a:lnTo>
                  <a:lnTo>
                    <a:pt x="726" y="0"/>
                  </a:lnTo>
                  <a:lnTo>
                    <a:pt x="732" y="0"/>
                  </a:lnTo>
                  <a:lnTo>
                    <a:pt x="738" y="2"/>
                  </a:lnTo>
                  <a:lnTo>
                    <a:pt x="744" y="5"/>
                  </a:lnTo>
                  <a:lnTo>
                    <a:pt x="749" y="9"/>
                  </a:lnTo>
                  <a:lnTo>
                    <a:pt x="752" y="14"/>
                  </a:lnTo>
                  <a:lnTo>
                    <a:pt x="756" y="19"/>
                  </a:lnTo>
                  <a:lnTo>
                    <a:pt x="758" y="25"/>
                  </a:lnTo>
                  <a:lnTo>
                    <a:pt x="759" y="33"/>
                  </a:lnTo>
                  <a:lnTo>
                    <a:pt x="759" y="33"/>
                  </a:lnTo>
                  <a:lnTo>
                    <a:pt x="758" y="39"/>
                  </a:lnTo>
                  <a:lnTo>
                    <a:pt x="756" y="45"/>
                  </a:lnTo>
                  <a:lnTo>
                    <a:pt x="752" y="50"/>
                  </a:lnTo>
                  <a:lnTo>
                    <a:pt x="749" y="55"/>
                  </a:lnTo>
                  <a:lnTo>
                    <a:pt x="744" y="60"/>
                  </a:lnTo>
                  <a:lnTo>
                    <a:pt x="738" y="63"/>
                  </a:lnTo>
                  <a:lnTo>
                    <a:pt x="732" y="65"/>
                  </a:lnTo>
                  <a:lnTo>
                    <a:pt x="726" y="66"/>
                  </a:lnTo>
                  <a:lnTo>
                    <a:pt x="726"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62" name="Group 61">
            <a:extLst>
              <a:ext uri="{FF2B5EF4-FFF2-40B4-BE49-F238E27FC236}">
                <a16:creationId xmlns:a16="http://schemas.microsoft.com/office/drawing/2014/main" id="{41628DB4-3890-50DA-5CB0-28375F0179A5}"/>
              </a:ext>
            </a:extLst>
          </p:cNvPr>
          <p:cNvGrpSpPr/>
          <p:nvPr/>
        </p:nvGrpSpPr>
        <p:grpSpPr>
          <a:xfrm>
            <a:off x="3367820" y="4278373"/>
            <a:ext cx="280036" cy="280036"/>
            <a:chOff x="4116388" y="2528889"/>
            <a:chExt cx="360363" cy="360363"/>
          </a:xfrm>
          <a:solidFill>
            <a:schemeClr val="bg1"/>
          </a:solidFill>
        </p:grpSpPr>
        <p:sp>
          <p:nvSpPr>
            <p:cNvPr id="63" name="Freeform 57">
              <a:extLst>
                <a:ext uri="{FF2B5EF4-FFF2-40B4-BE49-F238E27FC236}">
                  <a16:creationId xmlns:a16="http://schemas.microsoft.com/office/drawing/2014/main" id="{2068F8B7-5845-89B6-D08C-046602AD056C}"/>
                </a:ext>
              </a:extLst>
            </p:cNvPr>
            <p:cNvSpPr>
              <a:spLocks/>
            </p:cNvSpPr>
            <p:nvPr/>
          </p:nvSpPr>
          <p:spPr bwMode="auto">
            <a:xfrm>
              <a:off x="4116388" y="2874964"/>
              <a:ext cx="360363" cy="14288"/>
            </a:xfrm>
            <a:custGeom>
              <a:avLst/>
              <a:gdLst>
                <a:gd name="T0" fmla="*/ 1553 w 1586"/>
                <a:gd name="T1" fmla="*/ 66 h 66"/>
                <a:gd name="T2" fmla="*/ 33 w 1586"/>
                <a:gd name="T3" fmla="*/ 66 h 66"/>
                <a:gd name="T4" fmla="*/ 33 w 1586"/>
                <a:gd name="T5" fmla="*/ 66 h 66"/>
                <a:gd name="T6" fmla="*/ 26 w 1586"/>
                <a:gd name="T7" fmla="*/ 65 h 66"/>
                <a:gd name="T8" fmla="*/ 20 w 1586"/>
                <a:gd name="T9" fmla="*/ 63 h 66"/>
                <a:gd name="T10" fmla="*/ 14 w 1586"/>
                <a:gd name="T11" fmla="*/ 60 h 66"/>
                <a:gd name="T12" fmla="*/ 9 w 1586"/>
                <a:gd name="T13" fmla="*/ 56 h 66"/>
                <a:gd name="T14" fmla="*/ 5 w 1586"/>
                <a:gd name="T15" fmla="*/ 51 h 66"/>
                <a:gd name="T16" fmla="*/ 2 w 1586"/>
                <a:gd name="T17" fmla="*/ 45 h 66"/>
                <a:gd name="T18" fmla="*/ 0 w 1586"/>
                <a:gd name="T19" fmla="*/ 39 h 66"/>
                <a:gd name="T20" fmla="*/ 0 w 1586"/>
                <a:gd name="T21" fmla="*/ 33 h 66"/>
                <a:gd name="T22" fmla="*/ 0 w 1586"/>
                <a:gd name="T23" fmla="*/ 33 h 66"/>
                <a:gd name="T24" fmla="*/ 0 w 1586"/>
                <a:gd name="T25" fmla="*/ 26 h 66"/>
                <a:gd name="T26" fmla="*/ 2 w 1586"/>
                <a:gd name="T27" fmla="*/ 20 h 66"/>
                <a:gd name="T28" fmla="*/ 5 w 1586"/>
                <a:gd name="T29" fmla="*/ 14 h 66"/>
                <a:gd name="T30" fmla="*/ 9 w 1586"/>
                <a:gd name="T31" fmla="*/ 9 h 66"/>
                <a:gd name="T32" fmla="*/ 14 w 1586"/>
                <a:gd name="T33" fmla="*/ 5 h 66"/>
                <a:gd name="T34" fmla="*/ 20 w 1586"/>
                <a:gd name="T35" fmla="*/ 3 h 66"/>
                <a:gd name="T36" fmla="*/ 26 w 1586"/>
                <a:gd name="T37" fmla="*/ 1 h 66"/>
                <a:gd name="T38" fmla="*/ 33 w 1586"/>
                <a:gd name="T39" fmla="*/ 0 h 66"/>
                <a:gd name="T40" fmla="*/ 1553 w 1586"/>
                <a:gd name="T41" fmla="*/ 0 h 66"/>
                <a:gd name="T42" fmla="*/ 1553 w 1586"/>
                <a:gd name="T43" fmla="*/ 0 h 66"/>
                <a:gd name="T44" fmla="*/ 1560 w 1586"/>
                <a:gd name="T45" fmla="*/ 1 h 66"/>
                <a:gd name="T46" fmla="*/ 1567 w 1586"/>
                <a:gd name="T47" fmla="*/ 3 h 66"/>
                <a:gd name="T48" fmla="*/ 1572 w 1586"/>
                <a:gd name="T49" fmla="*/ 5 h 66"/>
                <a:gd name="T50" fmla="*/ 1577 w 1586"/>
                <a:gd name="T51" fmla="*/ 9 h 66"/>
                <a:gd name="T52" fmla="*/ 1581 w 1586"/>
                <a:gd name="T53" fmla="*/ 14 h 66"/>
                <a:gd name="T54" fmla="*/ 1584 w 1586"/>
                <a:gd name="T55" fmla="*/ 20 h 66"/>
                <a:gd name="T56" fmla="*/ 1586 w 1586"/>
                <a:gd name="T57" fmla="*/ 26 h 66"/>
                <a:gd name="T58" fmla="*/ 1586 w 1586"/>
                <a:gd name="T59" fmla="*/ 33 h 66"/>
                <a:gd name="T60" fmla="*/ 1586 w 1586"/>
                <a:gd name="T61" fmla="*/ 33 h 66"/>
                <a:gd name="T62" fmla="*/ 1586 w 1586"/>
                <a:gd name="T63" fmla="*/ 39 h 66"/>
                <a:gd name="T64" fmla="*/ 1584 w 1586"/>
                <a:gd name="T65" fmla="*/ 45 h 66"/>
                <a:gd name="T66" fmla="*/ 1581 w 1586"/>
                <a:gd name="T67" fmla="*/ 51 h 66"/>
                <a:gd name="T68" fmla="*/ 1577 w 1586"/>
                <a:gd name="T69" fmla="*/ 56 h 66"/>
                <a:gd name="T70" fmla="*/ 1572 w 1586"/>
                <a:gd name="T71" fmla="*/ 60 h 66"/>
                <a:gd name="T72" fmla="*/ 1567 w 1586"/>
                <a:gd name="T73" fmla="*/ 63 h 66"/>
                <a:gd name="T74" fmla="*/ 1560 w 1586"/>
                <a:gd name="T75" fmla="*/ 65 h 66"/>
                <a:gd name="T76" fmla="*/ 1553 w 1586"/>
                <a:gd name="T77" fmla="*/ 66 h 66"/>
                <a:gd name="T78" fmla="*/ 1553 w 158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86" h="66">
                  <a:moveTo>
                    <a:pt x="1553" y="66"/>
                  </a:moveTo>
                  <a:lnTo>
                    <a:pt x="33" y="66"/>
                  </a:lnTo>
                  <a:lnTo>
                    <a:pt x="33" y="66"/>
                  </a:lnTo>
                  <a:lnTo>
                    <a:pt x="26" y="65"/>
                  </a:lnTo>
                  <a:lnTo>
                    <a:pt x="20" y="63"/>
                  </a:lnTo>
                  <a:lnTo>
                    <a:pt x="14" y="60"/>
                  </a:lnTo>
                  <a:lnTo>
                    <a:pt x="9" y="56"/>
                  </a:lnTo>
                  <a:lnTo>
                    <a:pt x="5" y="51"/>
                  </a:lnTo>
                  <a:lnTo>
                    <a:pt x="2" y="45"/>
                  </a:lnTo>
                  <a:lnTo>
                    <a:pt x="0" y="39"/>
                  </a:lnTo>
                  <a:lnTo>
                    <a:pt x="0" y="33"/>
                  </a:lnTo>
                  <a:lnTo>
                    <a:pt x="0" y="33"/>
                  </a:lnTo>
                  <a:lnTo>
                    <a:pt x="0" y="26"/>
                  </a:lnTo>
                  <a:lnTo>
                    <a:pt x="2" y="20"/>
                  </a:lnTo>
                  <a:lnTo>
                    <a:pt x="5" y="14"/>
                  </a:lnTo>
                  <a:lnTo>
                    <a:pt x="9" y="9"/>
                  </a:lnTo>
                  <a:lnTo>
                    <a:pt x="14" y="5"/>
                  </a:lnTo>
                  <a:lnTo>
                    <a:pt x="20" y="3"/>
                  </a:lnTo>
                  <a:lnTo>
                    <a:pt x="26" y="1"/>
                  </a:lnTo>
                  <a:lnTo>
                    <a:pt x="33" y="0"/>
                  </a:lnTo>
                  <a:lnTo>
                    <a:pt x="1553" y="0"/>
                  </a:lnTo>
                  <a:lnTo>
                    <a:pt x="1553" y="0"/>
                  </a:lnTo>
                  <a:lnTo>
                    <a:pt x="1560" y="1"/>
                  </a:lnTo>
                  <a:lnTo>
                    <a:pt x="1567" y="3"/>
                  </a:lnTo>
                  <a:lnTo>
                    <a:pt x="1572" y="5"/>
                  </a:lnTo>
                  <a:lnTo>
                    <a:pt x="1577" y="9"/>
                  </a:lnTo>
                  <a:lnTo>
                    <a:pt x="1581" y="14"/>
                  </a:lnTo>
                  <a:lnTo>
                    <a:pt x="1584" y="20"/>
                  </a:lnTo>
                  <a:lnTo>
                    <a:pt x="1586" y="26"/>
                  </a:lnTo>
                  <a:lnTo>
                    <a:pt x="1586" y="33"/>
                  </a:lnTo>
                  <a:lnTo>
                    <a:pt x="1586" y="33"/>
                  </a:lnTo>
                  <a:lnTo>
                    <a:pt x="1586" y="39"/>
                  </a:lnTo>
                  <a:lnTo>
                    <a:pt x="1584" y="45"/>
                  </a:lnTo>
                  <a:lnTo>
                    <a:pt x="1581" y="51"/>
                  </a:lnTo>
                  <a:lnTo>
                    <a:pt x="1577" y="56"/>
                  </a:lnTo>
                  <a:lnTo>
                    <a:pt x="1572" y="60"/>
                  </a:lnTo>
                  <a:lnTo>
                    <a:pt x="1567" y="63"/>
                  </a:lnTo>
                  <a:lnTo>
                    <a:pt x="1560" y="65"/>
                  </a:lnTo>
                  <a:lnTo>
                    <a:pt x="1553" y="66"/>
                  </a:lnTo>
                  <a:lnTo>
                    <a:pt x="155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4" name="Freeform 58">
              <a:extLst>
                <a:ext uri="{FF2B5EF4-FFF2-40B4-BE49-F238E27FC236}">
                  <a16:creationId xmlns:a16="http://schemas.microsoft.com/office/drawing/2014/main" id="{07459E5A-44B8-E311-6E51-AD80CF4E00E7}"/>
                </a:ext>
              </a:extLst>
            </p:cNvPr>
            <p:cNvSpPr>
              <a:spLocks noEditPoints="1"/>
            </p:cNvSpPr>
            <p:nvPr/>
          </p:nvSpPr>
          <p:spPr bwMode="auto">
            <a:xfrm>
              <a:off x="4221163" y="2589214"/>
              <a:ext cx="150813" cy="300038"/>
            </a:xfrm>
            <a:custGeom>
              <a:avLst/>
              <a:gdLst>
                <a:gd name="T0" fmla="*/ 629 w 662"/>
                <a:gd name="T1" fmla="*/ 1323 h 1323"/>
                <a:gd name="T2" fmla="*/ 34 w 662"/>
                <a:gd name="T3" fmla="*/ 1323 h 1323"/>
                <a:gd name="T4" fmla="*/ 34 w 662"/>
                <a:gd name="T5" fmla="*/ 1323 h 1323"/>
                <a:gd name="T6" fmla="*/ 26 w 662"/>
                <a:gd name="T7" fmla="*/ 1322 h 1323"/>
                <a:gd name="T8" fmla="*/ 20 w 662"/>
                <a:gd name="T9" fmla="*/ 1320 h 1323"/>
                <a:gd name="T10" fmla="*/ 15 w 662"/>
                <a:gd name="T11" fmla="*/ 1317 h 1323"/>
                <a:gd name="T12" fmla="*/ 10 w 662"/>
                <a:gd name="T13" fmla="*/ 1313 h 1323"/>
                <a:gd name="T14" fmla="*/ 6 w 662"/>
                <a:gd name="T15" fmla="*/ 1308 h 1323"/>
                <a:gd name="T16" fmla="*/ 3 w 662"/>
                <a:gd name="T17" fmla="*/ 1302 h 1323"/>
                <a:gd name="T18" fmla="*/ 2 w 662"/>
                <a:gd name="T19" fmla="*/ 1296 h 1323"/>
                <a:gd name="T20" fmla="*/ 0 w 662"/>
                <a:gd name="T21" fmla="*/ 1290 h 1323"/>
                <a:gd name="T22" fmla="*/ 0 w 662"/>
                <a:gd name="T23" fmla="*/ 33 h 1323"/>
                <a:gd name="T24" fmla="*/ 0 w 662"/>
                <a:gd name="T25" fmla="*/ 33 h 1323"/>
                <a:gd name="T26" fmla="*/ 2 w 662"/>
                <a:gd name="T27" fmla="*/ 26 h 1323"/>
                <a:gd name="T28" fmla="*/ 3 w 662"/>
                <a:gd name="T29" fmla="*/ 20 h 1323"/>
                <a:gd name="T30" fmla="*/ 6 w 662"/>
                <a:gd name="T31" fmla="*/ 14 h 1323"/>
                <a:gd name="T32" fmla="*/ 10 w 662"/>
                <a:gd name="T33" fmla="*/ 9 h 1323"/>
                <a:gd name="T34" fmla="*/ 15 w 662"/>
                <a:gd name="T35" fmla="*/ 5 h 1323"/>
                <a:gd name="T36" fmla="*/ 20 w 662"/>
                <a:gd name="T37" fmla="*/ 2 h 1323"/>
                <a:gd name="T38" fmla="*/ 26 w 662"/>
                <a:gd name="T39" fmla="*/ 0 h 1323"/>
                <a:gd name="T40" fmla="*/ 34 w 662"/>
                <a:gd name="T41" fmla="*/ 0 h 1323"/>
                <a:gd name="T42" fmla="*/ 629 w 662"/>
                <a:gd name="T43" fmla="*/ 0 h 1323"/>
                <a:gd name="T44" fmla="*/ 629 w 662"/>
                <a:gd name="T45" fmla="*/ 0 h 1323"/>
                <a:gd name="T46" fmla="*/ 635 w 662"/>
                <a:gd name="T47" fmla="*/ 0 h 1323"/>
                <a:gd name="T48" fmla="*/ 641 w 662"/>
                <a:gd name="T49" fmla="*/ 2 h 1323"/>
                <a:gd name="T50" fmla="*/ 647 w 662"/>
                <a:gd name="T51" fmla="*/ 5 h 1323"/>
                <a:gd name="T52" fmla="*/ 652 w 662"/>
                <a:gd name="T53" fmla="*/ 9 h 1323"/>
                <a:gd name="T54" fmla="*/ 657 w 662"/>
                <a:gd name="T55" fmla="*/ 14 h 1323"/>
                <a:gd name="T56" fmla="*/ 659 w 662"/>
                <a:gd name="T57" fmla="*/ 20 h 1323"/>
                <a:gd name="T58" fmla="*/ 661 w 662"/>
                <a:gd name="T59" fmla="*/ 26 h 1323"/>
                <a:gd name="T60" fmla="*/ 662 w 662"/>
                <a:gd name="T61" fmla="*/ 33 h 1323"/>
                <a:gd name="T62" fmla="*/ 662 w 662"/>
                <a:gd name="T63" fmla="*/ 1290 h 1323"/>
                <a:gd name="T64" fmla="*/ 662 w 662"/>
                <a:gd name="T65" fmla="*/ 1290 h 1323"/>
                <a:gd name="T66" fmla="*/ 661 w 662"/>
                <a:gd name="T67" fmla="*/ 1296 h 1323"/>
                <a:gd name="T68" fmla="*/ 659 w 662"/>
                <a:gd name="T69" fmla="*/ 1302 h 1323"/>
                <a:gd name="T70" fmla="*/ 657 w 662"/>
                <a:gd name="T71" fmla="*/ 1308 h 1323"/>
                <a:gd name="T72" fmla="*/ 652 w 662"/>
                <a:gd name="T73" fmla="*/ 1313 h 1323"/>
                <a:gd name="T74" fmla="*/ 647 w 662"/>
                <a:gd name="T75" fmla="*/ 1317 h 1323"/>
                <a:gd name="T76" fmla="*/ 641 w 662"/>
                <a:gd name="T77" fmla="*/ 1320 h 1323"/>
                <a:gd name="T78" fmla="*/ 635 w 662"/>
                <a:gd name="T79" fmla="*/ 1322 h 1323"/>
                <a:gd name="T80" fmla="*/ 629 w 662"/>
                <a:gd name="T81" fmla="*/ 1323 h 1323"/>
                <a:gd name="T82" fmla="*/ 629 w 662"/>
                <a:gd name="T83" fmla="*/ 1323 h 1323"/>
                <a:gd name="T84" fmla="*/ 67 w 662"/>
                <a:gd name="T85" fmla="*/ 1257 h 1323"/>
                <a:gd name="T86" fmla="*/ 596 w 662"/>
                <a:gd name="T87" fmla="*/ 1257 h 1323"/>
                <a:gd name="T88" fmla="*/ 596 w 662"/>
                <a:gd name="T89" fmla="*/ 66 h 1323"/>
                <a:gd name="T90" fmla="*/ 67 w 662"/>
                <a:gd name="T91" fmla="*/ 66 h 1323"/>
                <a:gd name="T92" fmla="*/ 67 w 662"/>
                <a:gd name="T93" fmla="*/ 1257 h 1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2" h="1323">
                  <a:moveTo>
                    <a:pt x="629" y="1323"/>
                  </a:moveTo>
                  <a:lnTo>
                    <a:pt x="34" y="1323"/>
                  </a:lnTo>
                  <a:lnTo>
                    <a:pt x="34" y="1323"/>
                  </a:lnTo>
                  <a:lnTo>
                    <a:pt x="26" y="1322"/>
                  </a:lnTo>
                  <a:lnTo>
                    <a:pt x="20" y="1320"/>
                  </a:lnTo>
                  <a:lnTo>
                    <a:pt x="15" y="1317"/>
                  </a:lnTo>
                  <a:lnTo>
                    <a:pt x="10" y="1313"/>
                  </a:lnTo>
                  <a:lnTo>
                    <a:pt x="6" y="1308"/>
                  </a:lnTo>
                  <a:lnTo>
                    <a:pt x="3" y="1302"/>
                  </a:lnTo>
                  <a:lnTo>
                    <a:pt x="2" y="1296"/>
                  </a:lnTo>
                  <a:lnTo>
                    <a:pt x="0" y="1290"/>
                  </a:lnTo>
                  <a:lnTo>
                    <a:pt x="0" y="33"/>
                  </a:lnTo>
                  <a:lnTo>
                    <a:pt x="0" y="33"/>
                  </a:lnTo>
                  <a:lnTo>
                    <a:pt x="2" y="26"/>
                  </a:lnTo>
                  <a:lnTo>
                    <a:pt x="3" y="20"/>
                  </a:lnTo>
                  <a:lnTo>
                    <a:pt x="6" y="14"/>
                  </a:lnTo>
                  <a:lnTo>
                    <a:pt x="10" y="9"/>
                  </a:lnTo>
                  <a:lnTo>
                    <a:pt x="15" y="5"/>
                  </a:lnTo>
                  <a:lnTo>
                    <a:pt x="20" y="2"/>
                  </a:lnTo>
                  <a:lnTo>
                    <a:pt x="26" y="0"/>
                  </a:lnTo>
                  <a:lnTo>
                    <a:pt x="34" y="0"/>
                  </a:lnTo>
                  <a:lnTo>
                    <a:pt x="629" y="0"/>
                  </a:lnTo>
                  <a:lnTo>
                    <a:pt x="629" y="0"/>
                  </a:lnTo>
                  <a:lnTo>
                    <a:pt x="635" y="0"/>
                  </a:lnTo>
                  <a:lnTo>
                    <a:pt x="641" y="2"/>
                  </a:lnTo>
                  <a:lnTo>
                    <a:pt x="647" y="5"/>
                  </a:lnTo>
                  <a:lnTo>
                    <a:pt x="652" y="9"/>
                  </a:lnTo>
                  <a:lnTo>
                    <a:pt x="657" y="14"/>
                  </a:lnTo>
                  <a:lnTo>
                    <a:pt x="659" y="20"/>
                  </a:lnTo>
                  <a:lnTo>
                    <a:pt x="661" y="26"/>
                  </a:lnTo>
                  <a:lnTo>
                    <a:pt x="662" y="33"/>
                  </a:lnTo>
                  <a:lnTo>
                    <a:pt x="662" y="1290"/>
                  </a:lnTo>
                  <a:lnTo>
                    <a:pt x="662" y="1290"/>
                  </a:lnTo>
                  <a:lnTo>
                    <a:pt x="661" y="1296"/>
                  </a:lnTo>
                  <a:lnTo>
                    <a:pt x="659" y="1302"/>
                  </a:lnTo>
                  <a:lnTo>
                    <a:pt x="657" y="1308"/>
                  </a:lnTo>
                  <a:lnTo>
                    <a:pt x="652" y="1313"/>
                  </a:lnTo>
                  <a:lnTo>
                    <a:pt x="647" y="1317"/>
                  </a:lnTo>
                  <a:lnTo>
                    <a:pt x="641" y="1320"/>
                  </a:lnTo>
                  <a:lnTo>
                    <a:pt x="635" y="1322"/>
                  </a:lnTo>
                  <a:lnTo>
                    <a:pt x="629" y="1323"/>
                  </a:lnTo>
                  <a:lnTo>
                    <a:pt x="629" y="1323"/>
                  </a:lnTo>
                  <a:close/>
                  <a:moveTo>
                    <a:pt x="67" y="1257"/>
                  </a:moveTo>
                  <a:lnTo>
                    <a:pt x="596" y="1257"/>
                  </a:lnTo>
                  <a:lnTo>
                    <a:pt x="596" y="66"/>
                  </a:lnTo>
                  <a:lnTo>
                    <a:pt x="67" y="66"/>
                  </a:lnTo>
                  <a:lnTo>
                    <a:pt x="67" y="1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5" name="Freeform 59">
              <a:extLst>
                <a:ext uri="{FF2B5EF4-FFF2-40B4-BE49-F238E27FC236}">
                  <a16:creationId xmlns:a16="http://schemas.microsoft.com/office/drawing/2014/main" id="{A74BB011-45AD-995F-D516-7EA0AEA2CB5B}"/>
                </a:ext>
              </a:extLst>
            </p:cNvPr>
            <p:cNvSpPr>
              <a:spLocks noEditPoints="1"/>
            </p:cNvSpPr>
            <p:nvPr/>
          </p:nvSpPr>
          <p:spPr bwMode="auto">
            <a:xfrm>
              <a:off x="4386263" y="2724151"/>
              <a:ext cx="74613" cy="165100"/>
            </a:xfrm>
            <a:custGeom>
              <a:avLst/>
              <a:gdLst>
                <a:gd name="T0" fmla="*/ 297 w 330"/>
                <a:gd name="T1" fmla="*/ 728 h 728"/>
                <a:gd name="T2" fmla="*/ 33 w 330"/>
                <a:gd name="T3" fmla="*/ 728 h 728"/>
                <a:gd name="T4" fmla="*/ 33 w 330"/>
                <a:gd name="T5" fmla="*/ 728 h 728"/>
                <a:gd name="T6" fmla="*/ 26 w 330"/>
                <a:gd name="T7" fmla="*/ 727 h 728"/>
                <a:gd name="T8" fmla="*/ 20 w 330"/>
                <a:gd name="T9" fmla="*/ 725 h 728"/>
                <a:gd name="T10" fmla="*/ 14 w 330"/>
                <a:gd name="T11" fmla="*/ 722 h 728"/>
                <a:gd name="T12" fmla="*/ 9 w 330"/>
                <a:gd name="T13" fmla="*/ 718 h 728"/>
                <a:gd name="T14" fmla="*/ 5 w 330"/>
                <a:gd name="T15" fmla="*/ 713 h 728"/>
                <a:gd name="T16" fmla="*/ 2 w 330"/>
                <a:gd name="T17" fmla="*/ 707 h 728"/>
                <a:gd name="T18" fmla="*/ 1 w 330"/>
                <a:gd name="T19" fmla="*/ 701 h 728"/>
                <a:gd name="T20" fmla="*/ 0 w 330"/>
                <a:gd name="T21" fmla="*/ 695 h 728"/>
                <a:gd name="T22" fmla="*/ 0 w 330"/>
                <a:gd name="T23" fmla="*/ 33 h 728"/>
                <a:gd name="T24" fmla="*/ 0 w 330"/>
                <a:gd name="T25" fmla="*/ 33 h 728"/>
                <a:gd name="T26" fmla="*/ 1 w 330"/>
                <a:gd name="T27" fmla="*/ 26 h 728"/>
                <a:gd name="T28" fmla="*/ 2 w 330"/>
                <a:gd name="T29" fmla="*/ 20 h 728"/>
                <a:gd name="T30" fmla="*/ 5 w 330"/>
                <a:gd name="T31" fmla="*/ 15 h 728"/>
                <a:gd name="T32" fmla="*/ 9 w 330"/>
                <a:gd name="T33" fmla="*/ 9 h 728"/>
                <a:gd name="T34" fmla="*/ 14 w 330"/>
                <a:gd name="T35" fmla="*/ 5 h 728"/>
                <a:gd name="T36" fmla="*/ 20 w 330"/>
                <a:gd name="T37" fmla="*/ 2 h 728"/>
                <a:gd name="T38" fmla="*/ 26 w 330"/>
                <a:gd name="T39" fmla="*/ 1 h 728"/>
                <a:gd name="T40" fmla="*/ 33 w 330"/>
                <a:gd name="T41" fmla="*/ 0 h 728"/>
                <a:gd name="T42" fmla="*/ 297 w 330"/>
                <a:gd name="T43" fmla="*/ 0 h 728"/>
                <a:gd name="T44" fmla="*/ 297 w 330"/>
                <a:gd name="T45" fmla="*/ 0 h 728"/>
                <a:gd name="T46" fmla="*/ 304 w 330"/>
                <a:gd name="T47" fmla="*/ 1 h 728"/>
                <a:gd name="T48" fmla="*/ 310 w 330"/>
                <a:gd name="T49" fmla="*/ 2 h 728"/>
                <a:gd name="T50" fmla="*/ 316 w 330"/>
                <a:gd name="T51" fmla="*/ 5 h 728"/>
                <a:gd name="T52" fmla="*/ 321 w 330"/>
                <a:gd name="T53" fmla="*/ 9 h 728"/>
                <a:gd name="T54" fmla="*/ 325 w 330"/>
                <a:gd name="T55" fmla="*/ 15 h 728"/>
                <a:gd name="T56" fmla="*/ 328 w 330"/>
                <a:gd name="T57" fmla="*/ 20 h 728"/>
                <a:gd name="T58" fmla="*/ 330 w 330"/>
                <a:gd name="T59" fmla="*/ 26 h 728"/>
                <a:gd name="T60" fmla="*/ 330 w 330"/>
                <a:gd name="T61" fmla="*/ 33 h 728"/>
                <a:gd name="T62" fmla="*/ 330 w 330"/>
                <a:gd name="T63" fmla="*/ 695 h 728"/>
                <a:gd name="T64" fmla="*/ 330 w 330"/>
                <a:gd name="T65" fmla="*/ 695 h 728"/>
                <a:gd name="T66" fmla="*/ 330 w 330"/>
                <a:gd name="T67" fmla="*/ 701 h 728"/>
                <a:gd name="T68" fmla="*/ 328 w 330"/>
                <a:gd name="T69" fmla="*/ 707 h 728"/>
                <a:gd name="T70" fmla="*/ 325 w 330"/>
                <a:gd name="T71" fmla="*/ 713 h 728"/>
                <a:gd name="T72" fmla="*/ 321 w 330"/>
                <a:gd name="T73" fmla="*/ 718 h 728"/>
                <a:gd name="T74" fmla="*/ 316 w 330"/>
                <a:gd name="T75" fmla="*/ 722 h 728"/>
                <a:gd name="T76" fmla="*/ 310 w 330"/>
                <a:gd name="T77" fmla="*/ 725 h 728"/>
                <a:gd name="T78" fmla="*/ 304 w 330"/>
                <a:gd name="T79" fmla="*/ 727 h 728"/>
                <a:gd name="T80" fmla="*/ 297 w 330"/>
                <a:gd name="T81" fmla="*/ 728 h 728"/>
                <a:gd name="T82" fmla="*/ 297 w 330"/>
                <a:gd name="T83" fmla="*/ 728 h 728"/>
                <a:gd name="T84" fmla="*/ 66 w 330"/>
                <a:gd name="T85" fmla="*/ 662 h 728"/>
                <a:gd name="T86" fmla="*/ 264 w 330"/>
                <a:gd name="T87" fmla="*/ 662 h 728"/>
                <a:gd name="T88" fmla="*/ 264 w 330"/>
                <a:gd name="T89" fmla="*/ 66 h 728"/>
                <a:gd name="T90" fmla="*/ 66 w 330"/>
                <a:gd name="T91" fmla="*/ 66 h 728"/>
                <a:gd name="T92" fmla="*/ 66 w 330"/>
                <a:gd name="T93" fmla="*/ 66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728">
                  <a:moveTo>
                    <a:pt x="297" y="728"/>
                  </a:moveTo>
                  <a:lnTo>
                    <a:pt x="33" y="728"/>
                  </a:lnTo>
                  <a:lnTo>
                    <a:pt x="33" y="728"/>
                  </a:lnTo>
                  <a:lnTo>
                    <a:pt x="26" y="727"/>
                  </a:lnTo>
                  <a:lnTo>
                    <a:pt x="20" y="725"/>
                  </a:lnTo>
                  <a:lnTo>
                    <a:pt x="14" y="722"/>
                  </a:lnTo>
                  <a:lnTo>
                    <a:pt x="9" y="718"/>
                  </a:lnTo>
                  <a:lnTo>
                    <a:pt x="5" y="713"/>
                  </a:lnTo>
                  <a:lnTo>
                    <a:pt x="2" y="707"/>
                  </a:lnTo>
                  <a:lnTo>
                    <a:pt x="1" y="701"/>
                  </a:lnTo>
                  <a:lnTo>
                    <a:pt x="0" y="695"/>
                  </a:lnTo>
                  <a:lnTo>
                    <a:pt x="0" y="33"/>
                  </a:lnTo>
                  <a:lnTo>
                    <a:pt x="0" y="33"/>
                  </a:lnTo>
                  <a:lnTo>
                    <a:pt x="1" y="26"/>
                  </a:lnTo>
                  <a:lnTo>
                    <a:pt x="2" y="20"/>
                  </a:lnTo>
                  <a:lnTo>
                    <a:pt x="5" y="15"/>
                  </a:lnTo>
                  <a:lnTo>
                    <a:pt x="9" y="9"/>
                  </a:lnTo>
                  <a:lnTo>
                    <a:pt x="14" y="5"/>
                  </a:lnTo>
                  <a:lnTo>
                    <a:pt x="20" y="2"/>
                  </a:lnTo>
                  <a:lnTo>
                    <a:pt x="26" y="1"/>
                  </a:lnTo>
                  <a:lnTo>
                    <a:pt x="33" y="0"/>
                  </a:lnTo>
                  <a:lnTo>
                    <a:pt x="297" y="0"/>
                  </a:lnTo>
                  <a:lnTo>
                    <a:pt x="297" y="0"/>
                  </a:lnTo>
                  <a:lnTo>
                    <a:pt x="304" y="1"/>
                  </a:lnTo>
                  <a:lnTo>
                    <a:pt x="310" y="2"/>
                  </a:lnTo>
                  <a:lnTo>
                    <a:pt x="316" y="5"/>
                  </a:lnTo>
                  <a:lnTo>
                    <a:pt x="321" y="9"/>
                  </a:lnTo>
                  <a:lnTo>
                    <a:pt x="325" y="15"/>
                  </a:lnTo>
                  <a:lnTo>
                    <a:pt x="328" y="20"/>
                  </a:lnTo>
                  <a:lnTo>
                    <a:pt x="330" y="26"/>
                  </a:lnTo>
                  <a:lnTo>
                    <a:pt x="330" y="33"/>
                  </a:lnTo>
                  <a:lnTo>
                    <a:pt x="330" y="695"/>
                  </a:lnTo>
                  <a:lnTo>
                    <a:pt x="330" y="695"/>
                  </a:lnTo>
                  <a:lnTo>
                    <a:pt x="330" y="701"/>
                  </a:lnTo>
                  <a:lnTo>
                    <a:pt x="328" y="707"/>
                  </a:lnTo>
                  <a:lnTo>
                    <a:pt x="325" y="713"/>
                  </a:lnTo>
                  <a:lnTo>
                    <a:pt x="321" y="718"/>
                  </a:lnTo>
                  <a:lnTo>
                    <a:pt x="316" y="722"/>
                  </a:lnTo>
                  <a:lnTo>
                    <a:pt x="310" y="725"/>
                  </a:lnTo>
                  <a:lnTo>
                    <a:pt x="304" y="727"/>
                  </a:lnTo>
                  <a:lnTo>
                    <a:pt x="297" y="728"/>
                  </a:lnTo>
                  <a:lnTo>
                    <a:pt x="297" y="728"/>
                  </a:lnTo>
                  <a:close/>
                  <a:moveTo>
                    <a:pt x="66" y="662"/>
                  </a:moveTo>
                  <a:lnTo>
                    <a:pt x="264" y="662"/>
                  </a:lnTo>
                  <a:lnTo>
                    <a:pt x="264" y="66"/>
                  </a:lnTo>
                  <a:lnTo>
                    <a:pt x="66" y="66"/>
                  </a:lnTo>
                  <a:lnTo>
                    <a:pt x="66" y="6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6" name="Freeform 60">
              <a:extLst>
                <a:ext uri="{FF2B5EF4-FFF2-40B4-BE49-F238E27FC236}">
                  <a16:creationId xmlns:a16="http://schemas.microsoft.com/office/drawing/2014/main" id="{DD35B159-D598-F394-FFB3-5A64ED1995B7}"/>
                </a:ext>
              </a:extLst>
            </p:cNvPr>
            <p:cNvSpPr>
              <a:spLocks noEditPoints="1"/>
            </p:cNvSpPr>
            <p:nvPr/>
          </p:nvSpPr>
          <p:spPr bwMode="auto">
            <a:xfrm>
              <a:off x="4130675" y="2724151"/>
              <a:ext cx="76200" cy="165100"/>
            </a:xfrm>
            <a:custGeom>
              <a:avLst/>
              <a:gdLst>
                <a:gd name="T0" fmla="*/ 297 w 330"/>
                <a:gd name="T1" fmla="*/ 728 h 728"/>
                <a:gd name="T2" fmla="*/ 32 w 330"/>
                <a:gd name="T3" fmla="*/ 728 h 728"/>
                <a:gd name="T4" fmla="*/ 32 w 330"/>
                <a:gd name="T5" fmla="*/ 728 h 728"/>
                <a:gd name="T6" fmla="*/ 26 w 330"/>
                <a:gd name="T7" fmla="*/ 727 h 728"/>
                <a:gd name="T8" fmla="*/ 20 w 330"/>
                <a:gd name="T9" fmla="*/ 725 h 728"/>
                <a:gd name="T10" fmla="*/ 15 w 330"/>
                <a:gd name="T11" fmla="*/ 722 h 728"/>
                <a:gd name="T12" fmla="*/ 9 w 330"/>
                <a:gd name="T13" fmla="*/ 718 h 728"/>
                <a:gd name="T14" fmla="*/ 5 w 330"/>
                <a:gd name="T15" fmla="*/ 713 h 728"/>
                <a:gd name="T16" fmla="*/ 2 w 330"/>
                <a:gd name="T17" fmla="*/ 707 h 728"/>
                <a:gd name="T18" fmla="*/ 0 w 330"/>
                <a:gd name="T19" fmla="*/ 701 h 728"/>
                <a:gd name="T20" fmla="*/ 0 w 330"/>
                <a:gd name="T21" fmla="*/ 695 h 728"/>
                <a:gd name="T22" fmla="*/ 0 w 330"/>
                <a:gd name="T23" fmla="*/ 33 h 728"/>
                <a:gd name="T24" fmla="*/ 0 w 330"/>
                <a:gd name="T25" fmla="*/ 33 h 728"/>
                <a:gd name="T26" fmla="*/ 0 w 330"/>
                <a:gd name="T27" fmla="*/ 26 h 728"/>
                <a:gd name="T28" fmla="*/ 2 w 330"/>
                <a:gd name="T29" fmla="*/ 20 h 728"/>
                <a:gd name="T30" fmla="*/ 5 w 330"/>
                <a:gd name="T31" fmla="*/ 15 h 728"/>
                <a:gd name="T32" fmla="*/ 9 w 330"/>
                <a:gd name="T33" fmla="*/ 9 h 728"/>
                <a:gd name="T34" fmla="*/ 15 w 330"/>
                <a:gd name="T35" fmla="*/ 5 h 728"/>
                <a:gd name="T36" fmla="*/ 20 w 330"/>
                <a:gd name="T37" fmla="*/ 2 h 728"/>
                <a:gd name="T38" fmla="*/ 26 w 330"/>
                <a:gd name="T39" fmla="*/ 1 h 728"/>
                <a:gd name="T40" fmla="*/ 32 w 330"/>
                <a:gd name="T41" fmla="*/ 0 h 728"/>
                <a:gd name="T42" fmla="*/ 297 w 330"/>
                <a:gd name="T43" fmla="*/ 0 h 728"/>
                <a:gd name="T44" fmla="*/ 297 w 330"/>
                <a:gd name="T45" fmla="*/ 0 h 728"/>
                <a:gd name="T46" fmla="*/ 304 w 330"/>
                <a:gd name="T47" fmla="*/ 1 h 728"/>
                <a:gd name="T48" fmla="*/ 311 w 330"/>
                <a:gd name="T49" fmla="*/ 2 h 728"/>
                <a:gd name="T50" fmla="*/ 316 w 330"/>
                <a:gd name="T51" fmla="*/ 5 h 728"/>
                <a:gd name="T52" fmla="*/ 321 w 330"/>
                <a:gd name="T53" fmla="*/ 9 h 728"/>
                <a:gd name="T54" fmla="*/ 325 w 330"/>
                <a:gd name="T55" fmla="*/ 15 h 728"/>
                <a:gd name="T56" fmla="*/ 328 w 330"/>
                <a:gd name="T57" fmla="*/ 20 h 728"/>
                <a:gd name="T58" fmla="*/ 329 w 330"/>
                <a:gd name="T59" fmla="*/ 26 h 728"/>
                <a:gd name="T60" fmla="*/ 330 w 330"/>
                <a:gd name="T61" fmla="*/ 33 h 728"/>
                <a:gd name="T62" fmla="*/ 330 w 330"/>
                <a:gd name="T63" fmla="*/ 695 h 728"/>
                <a:gd name="T64" fmla="*/ 330 w 330"/>
                <a:gd name="T65" fmla="*/ 695 h 728"/>
                <a:gd name="T66" fmla="*/ 329 w 330"/>
                <a:gd name="T67" fmla="*/ 701 h 728"/>
                <a:gd name="T68" fmla="*/ 328 w 330"/>
                <a:gd name="T69" fmla="*/ 707 h 728"/>
                <a:gd name="T70" fmla="*/ 325 w 330"/>
                <a:gd name="T71" fmla="*/ 713 h 728"/>
                <a:gd name="T72" fmla="*/ 321 w 330"/>
                <a:gd name="T73" fmla="*/ 718 h 728"/>
                <a:gd name="T74" fmla="*/ 316 w 330"/>
                <a:gd name="T75" fmla="*/ 722 h 728"/>
                <a:gd name="T76" fmla="*/ 311 w 330"/>
                <a:gd name="T77" fmla="*/ 725 h 728"/>
                <a:gd name="T78" fmla="*/ 304 w 330"/>
                <a:gd name="T79" fmla="*/ 727 h 728"/>
                <a:gd name="T80" fmla="*/ 297 w 330"/>
                <a:gd name="T81" fmla="*/ 728 h 728"/>
                <a:gd name="T82" fmla="*/ 297 w 330"/>
                <a:gd name="T83" fmla="*/ 728 h 728"/>
                <a:gd name="T84" fmla="*/ 65 w 330"/>
                <a:gd name="T85" fmla="*/ 662 h 728"/>
                <a:gd name="T86" fmla="*/ 264 w 330"/>
                <a:gd name="T87" fmla="*/ 662 h 728"/>
                <a:gd name="T88" fmla="*/ 264 w 330"/>
                <a:gd name="T89" fmla="*/ 66 h 728"/>
                <a:gd name="T90" fmla="*/ 65 w 330"/>
                <a:gd name="T91" fmla="*/ 66 h 728"/>
                <a:gd name="T92" fmla="*/ 65 w 330"/>
                <a:gd name="T93" fmla="*/ 66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728">
                  <a:moveTo>
                    <a:pt x="297" y="728"/>
                  </a:moveTo>
                  <a:lnTo>
                    <a:pt x="32" y="728"/>
                  </a:lnTo>
                  <a:lnTo>
                    <a:pt x="32" y="728"/>
                  </a:lnTo>
                  <a:lnTo>
                    <a:pt x="26" y="727"/>
                  </a:lnTo>
                  <a:lnTo>
                    <a:pt x="20" y="725"/>
                  </a:lnTo>
                  <a:lnTo>
                    <a:pt x="15" y="722"/>
                  </a:lnTo>
                  <a:lnTo>
                    <a:pt x="9" y="718"/>
                  </a:lnTo>
                  <a:lnTo>
                    <a:pt x="5" y="713"/>
                  </a:lnTo>
                  <a:lnTo>
                    <a:pt x="2" y="707"/>
                  </a:lnTo>
                  <a:lnTo>
                    <a:pt x="0" y="701"/>
                  </a:lnTo>
                  <a:lnTo>
                    <a:pt x="0" y="695"/>
                  </a:lnTo>
                  <a:lnTo>
                    <a:pt x="0" y="33"/>
                  </a:lnTo>
                  <a:lnTo>
                    <a:pt x="0" y="33"/>
                  </a:lnTo>
                  <a:lnTo>
                    <a:pt x="0" y="26"/>
                  </a:lnTo>
                  <a:lnTo>
                    <a:pt x="2" y="20"/>
                  </a:lnTo>
                  <a:lnTo>
                    <a:pt x="5" y="15"/>
                  </a:lnTo>
                  <a:lnTo>
                    <a:pt x="9" y="9"/>
                  </a:lnTo>
                  <a:lnTo>
                    <a:pt x="15" y="5"/>
                  </a:lnTo>
                  <a:lnTo>
                    <a:pt x="20" y="2"/>
                  </a:lnTo>
                  <a:lnTo>
                    <a:pt x="26" y="1"/>
                  </a:lnTo>
                  <a:lnTo>
                    <a:pt x="32" y="0"/>
                  </a:lnTo>
                  <a:lnTo>
                    <a:pt x="297" y="0"/>
                  </a:lnTo>
                  <a:lnTo>
                    <a:pt x="297" y="0"/>
                  </a:lnTo>
                  <a:lnTo>
                    <a:pt x="304" y="1"/>
                  </a:lnTo>
                  <a:lnTo>
                    <a:pt x="311" y="2"/>
                  </a:lnTo>
                  <a:lnTo>
                    <a:pt x="316" y="5"/>
                  </a:lnTo>
                  <a:lnTo>
                    <a:pt x="321" y="9"/>
                  </a:lnTo>
                  <a:lnTo>
                    <a:pt x="325" y="15"/>
                  </a:lnTo>
                  <a:lnTo>
                    <a:pt x="328" y="20"/>
                  </a:lnTo>
                  <a:lnTo>
                    <a:pt x="329" y="26"/>
                  </a:lnTo>
                  <a:lnTo>
                    <a:pt x="330" y="33"/>
                  </a:lnTo>
                  <a:lnTo>
                    <a:pt x="330" y="695"/>
                  </a:lnTo>
                  <a:lnTo>
                    <a:pt x="330" y="695"/>
                  </a:lnTo>
                  <a:lnTo>
                    <a:pt x="329" y="701"/>
                  </a:lnTo>
                  <a:lnTo>
                    <a:pt x="328" y="707"/>
                  </a:lnTo>
                  <a:lnTo>
                    <a:pt x="325" y="713"/>
                  </a:lnTo>
                  <a:lnTo>
                    <a:pt x="321" y="718"/>
                  </a:lnTo>
                  <a:lnTo>
                    <a:pt x="316" y="722"/>
                  </a:lnTo>
                  <a:lnTo>
                    <a:pt x="311" y="725"/>
                  </a:lnTo>
                  <a:lnTo>
                    <a:pt x="304" y="727"/>
                  </a:lnTo>
                  <a:lnTo>
                    <a:pt x="297" y="728"/>
                  </a:lnTo>
                  <a:lnTo>
                    <a:pt x="297" y="728"/>
                  </a:lnTo>
                  <a:close/>
                  <a:moveTo>
                    <a:pt x="65" y="662"/>
                  </a:moveTo>
                  <a:lnTo>
                    <a:pt x="264" y="662"/>
                  </a:lnTo>
                  <a:lnTo>
                    <a:pt x="264" y="66"/>
                  </a:lnTo>
                  <a:lnTo>
                    <a:pt x="65" y="66"/>
                  </a:lnTo>
                  <a:lnTo>
                    <a:pt x="65" y="6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7" name="Freeform 61">
              <a:extLst>
                <a:ext uri="{FF2B5EF4-FFF2-40B4-BE49-F238E27FC236}">
                  <a16:creationId xmlns:a16="http://schemas.microsoft.com/office/drawing/2014/main" id="{9241C6DF-105C-5D7B-F3A0-8B6C0A31CC26}"/>
                </a:ext>
              </a:extLst>
            </p:cNvPr>
            <p:cNvSpPr>
              <a:spLocks/>
            </p:cNvSpPr>
            <p:nvPr/>
          </p:nvSpPr>
          <p:spPr bwMode="auto">
            <a:xfrm>
              <a:off x="4176713" y="2709864"/>
              <a:ext cx="14288" cy="30163"/>
            </a:xfrm>
            <a:custGeom>
              <a:avLst/>
              <a:gdLst>
                <a:gd name="T0" fmla="*/ 33 w 66"/>
                <a:gd name="T1" fmla="*/ 132 h 132"/>
                <a:gd name="T2" fmla="*/ 33 w 66"/>
                <a:gd name="T3" fmla="*/ 132 h 132"/>
                <a:gd name="T4" fmla="*/ 27 w 66"/>
                <a:gd name="T5" fmla="*/ 131 h 132"/>
                <a:gd name="T6" fmla="*/ 20 w 66"/>
                <a:gd name="T7" fmla="*/ 129 h 132"/>
                <a:gd name="T8" fmla="*/ 14 w 66"/>
                <a:gd name="T9" fmla="*/ 126 h 132"/>
                <a:gd name="T10" fmla="*/ 10 w 66"/>
                <a:gd name="T11" fmla="*/ 123 h 132"/>
                <a:gd name="T12" fmla="*/ 6 w 66"/>
                <a:gd name="T13" fmla="*/ 118 h 132"/>
                <a:gd name="T14" fmla="*/ 3 w 66"/>
                <a:gd name="T15" fmla="*/ 112 h 132"/>
                <a:gd name="T16" fmla="*/ 1 w 66"/>
                <a:gd name="T17" fmla="*/ 105 h 132"/>
                <a:gd name="T18" fmla="*/ 0 w 66"/>
                <a:gd name="T19" fmla="*/ 99 h 132"/>
                <a:gd name="T20" fmla="*/ 0 w 66"/>
                <a:gd name="T21" fmla="*/ 33 h 132"/>
                <a:gd name="T22" fmla="*/ 0 w 66"/>
                <a:gd name="T23" fmla="*/ 33 h 132"/>
                <a:gd name="T24" fmla="*/ 1 w 66"/>
                <a:gd name="T25" fmla="*/ 27 h 132"/>
                <a:gd name="T26" fmla="*/ 3 w 66"/>
                <a:gd name="T27" fmla="*/ 21 h 132"/>
                <a:gd name="T28" fmla="*/ 6 w 66"/>
                <a:gd name="T29" fmla="*/ 14 h 132"/>
                <a:gd name="T30" fmla="*/ 10 w 66"/>
                <a:gd name="T31" fmla="*/ 9 h 132"/>
                <a:gd name="T32" fmla="*/ 14 w 66"/>
                <a:gd name="T33" fmla="*/ 6 h 132"/>
                <a:gd name="T34" fmla="*/ 20 w 66"/>
                <a:gd name="T35" fmla="*/ 3 h 132"/>
                <a:gd name="T36" fmla="*/ 27 w 66"/>
                <a:gd name="T37" fmla="*/ 1 h 132"/>
                <a:gd name="T38" fmla="*/ 33 w 66"/>
                <a:gd name="T39" fmla="*/ 0 h 132"/>
                <a:gd name="T40" fmla="*/ 33 w 66"/>
                <a:gd name="T41" fmla="*/ 0 h 132"/>
                <a:gd name="T42" fmla="*/ 40 w 66"/>
                <a:gd name="T43" fmla="*/ 1 h 132"/>
                <a:gd name="T44" fmla="*/ 46 w 66"/>
                <a:gd name="T45" fmla="*/ 3 h 132"/>
                <a:gd name="T46" fmla="*/ 52 w 66"/>
                <a:gd name="T47" fmla="*/ 6 h 132"/>
                <a:gd name="T48" fmla="*/ 57 w 66"/>
                <a:gd name="T49" fmla="*/ 9 h 132"/>
                <a:gd name="T50" fmla="*/ 61 w 66"/>
                <a:gd name="T51" fmla="*/ 14 h 132"/>
                <a:gd name="T52" fmla="*/ 64 w 66"/>
                <a:gd name="T53" fmla="*/ 21 h 132"/>
                <a:gd name="T54" fmla="*/ 65 w 66"/>
                <a:gd name="T55" fmla="*/ 27 h 132"/>
                <a:gd name="T56" fmla="*/ 66 w 66"/>
                <a:gd name="T57" fmla="*/ 33 h 132"/>
                <a:gd name="T58" fmla="*/ 66 w 66"/>
                <a:gd name="T59" fmla="*/ 99 h 132"/>
                <a:gd name="T60" fmla="*/ 66 w 66"/>
                <a:gd name="T61" fmla="*/ 99 h 132"/>
                <a:gd name="T62" fmla="*/ 65 w 66"/>
                <a:gd name="T63" fmla="*/ 105 h 132"/>
                <a:gd name="T64" fmla="*/ 64 w 66"/>
                <a:gd name="T65" fmla="*/ 112 h 132"/>
                <a:gd name="T66" fmla="*/ 61 w 66"/>
                <a:gd name="T67" fmla="*/ 118 h 132"/>
                <a:gd name="T68" fmla="*/ 57 w 66"/>
                <a:gd name="T69" fmla="*/ 123 h 132"/>
                <a:gd name="T70" fmla="*/ 52 w 66"/>
                <a:gd name="T71" fmla="*/ 126 h 132"/>
                <a:gd name="T72" fmla="*/ 46 w 66"/>
                <a:gd name="T73" fmla="*/ 129 h 132"/>
                <a:gd name="T74" fmla="*/ 40 w 66"/>
                <a:gd name="T75" fmla="*/ 131 h 132"/>
                <a:gd name="T76" fmla="*/ 33 w 66"/>
                <a:gd name="T77" fmla="*/ 132 h 132"/>
                <a:gd name="T78" fmla="*/ 33 w 66"/>
                <a:gd name="T7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32">
                  <a:moveTo>
                    <a:pt x="33" y="132"/>
                  </a:moveTo>
                  <a:lnTo>
                    <a:pt x="33" y="132"/>
                  </a:lnTo>
                  <a:lnTo>
                    <a:pt x="27" y="131"/>
                  </a:lnTo>
                  <a:lnTo>
                    <a:pt x="20" y="129"/>
                  </a:lnTo>
                  <a:lnTo>
                    <a:pt x="14" y="126"/>
                  </a:lnTo>
                  <a:lnTo>
                    <a:pt x="10" y="123"/>
                  </a:lnTo>
                  <a:lnTo>
                    <a:pt x="6" y="118"/>
                  </a:lnTo>
                  <a:lnTo>
                    <a:pt x="3" y="112"/>
                  </a:lnTo>
                  <a:lnTo>
                    <a:pt x="1" y="105"/>
                  </a:lnTo>
                  <a:lnTo>
                    <a:pt x="0" y="99"/>
                  </a:lnTo>
                  <a:lnTo>
                    <a:pt x="0" y="33"/>
                  </a:lnTo>
                  <a:lnTo>
                    <a:pt x="0" y="33"/>
                  </a:lnTo>
                  <a:lnTo>
                    <a:pt x="1" y="27"/>
                  </a:lnTo>
                  <a:lnTo>
                    <a:pt x="3" y="21"/>
                  </a:lnTo>
                  <a:lnTo>
                    <a:pt x="6" y="14"/>
                  </a:lnTo>
                  <a:lnTo>
                    <a:pt x="10" y="9"/>
                  </a:lnTo>
                  <a:lnTo>
                    <a:pt x="14" y="6"/>
                  </a:lnTo>
                  <a:lnTo>
                    <a:pt x="20" y="3"/>
                  </a:lnTo>
                  <a:lnTo>
                    <a:pt x="27" y="1"/>
                  </a:lnTo>
                  <a:lnTo>
                    <a:pt x="33" y="0"/>
                  </a:lnTo>
                  <a:lnTo>
                    <a:pt x="33" y="0"/>
                  </a:lnTo>
                  <a:lnTo>
                    <a:pt x="40" y="1"/>
                  </a:lnTo>
                  <a:lnTo>
                    <a:pt x="46" y="3"/>
                  </a:lnTo>
                  <a:lnTo>
                    <a:pt x="52" y="6"/>
                  </a:lnTo>
                  <a:lnTo>
                    <a:pt x="57" y="9"/>
                  </a:lnTo>
                  <a:lnTo>
                    <a:pt x="61" y="14"/>
                  </a:lnTo>
                  <a:lnTo>
                    <a:pt x="64" y="21"/>
                  </a:lnTo>
                  <a:lnTo>
                    <a:pt x="65" y="27"/>
                  </a:lnTo>
                  <a:lnTo>
                    <a:pt x="66" y="33"/>
                  </a:lnTo>
                  <a:lnTo>
                    <a:pt x="66" y="99"/>
                  </a:lnTo>
                  <a:lnTo>
                    <a:pt x="66" y="99"/>
                  </a:lnTo>
                  <a:lnTo>
                    <a:pt x="65" y="105"/>
                  </a:lnTo>
                  <a:lnTo>
                    <a:pt x="64" y="112"/>
                  </a:lnTo>
                  <a:lnTo>
                    <a:pt x="61" y="118"/>
                  </a:lnTo>
                  <a:lnTo>
                    <a:pt x="57" y="123"/>
                  </a:lnTo>
                  <a:lnTo>
                    <a:pt x="52" y="126"/>
                  </a:lnTo>
                  <a:lnTo>
                    <a:pt x="46" y="129"/>
                  </a:lnTo>
                  <a:lnTo>
                    <a:pt x="40" y="131"/>
                  </a:lnTo>
                  <a:lnTo>
                    <a:pt x="33" y="132"/>
                  </a:lnTo>
                  <a:lnTo>
                    <a:pt x="33"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8" name="Freeform 62">
              <a:extLst>
                <a:ext uri="{FF2B5EF4-FFF2-40B4-BE49-F238E27FC236}">
                  <a16:creationId xmlns:a16="http://schemas.microsoft.com/office/drawing/2014/main" id="{5DAB6F8B-A097-4D81-9905-7E668E5279EC}"/>
                </a:ext>
              </a:extLst>
            </p:cNvPr>
            <p:cNvSpPr>
              <a:spLocks/>
            </p:cNvSpPr>
            <p:nvPr/>
          </p:nvSpPr>
          <p:spPr bwMode="auto">
            <a:xfrm>
              <a:off x="4400550" y="2709864"/>
              <a:ext cx="15875" cy="30163"/>
            </a:xfrm>
            <a:custGeom>
              <a:avLst/>
              <a:gdLst>
                <a:gd name="T0" fmla="*/ 33 w 66"/>
                <a:gd name="T1" fmla="*/ 132 h 132"/>
                <a:gd name="T2" fmla="*/ 33 w 66"/>
                <a:gd name="T3" fmla="*/ 132 h 132"/>
                <a:gd name="T4" fmla="*/ 26 w 66"/>
                <a:gd name="T5" fmla="*/ 131 h 132"/>
                <a:gd name="T6" fmla="*/ 20 w 66"/>
                <a:gd name="T7" fmla="*/ 129 h 132"/>
                <a:gd name="T8" fmla="*/ 15 w 66"/>
                <a:gd name="T9" fmla="*/ 126 h 132"/>
                <a:gd name="T10" fmla="*/ 10 w 66"/>
                <a:gd name="T11" fmla="*/ 123 h 132"/>
                <a:gd name="T12" fmla="*/ 5 w 66"/>
                <a:gd name="T13" fmla="*/ 118 h 132"/>
                <a:gd name="T14" fmla="*/ 2 w 66"/>
                <a:gd name="T15" fmla="*/ 112 h 132"/>
                <a:gd name="T16" fmla="*/ 0 w 66"/>
                <a:gd name="T17" fmla="*/ 105 h 132"/>
                <a:gd name="T18" fmla="*/ 0 w 66"/>
                <a:gd name="T19" fmla="*/ 99 h 132"/>
                <a:gd name="T20" fmla="*/ 0 w 66"/>
                <a:gd name="T21" fmla="*/ 33 h 132"/>
                <a:gd name="T22" fmla="*/ 0 w 66"/>
                <a:gd name="T23" fmla="*/ 33 h 132"/>
                <a:gd name="T24" fmla="*/ 0 w 66"/>
                <a:gd name="T25" fmla="*/ 27 h 132"/>
                <a:gd name="T26" fmla="*/ 2 w 66"/>
                <a:gd name="T27" fmla="*/ 21 h 132"/>
                <a:gd name="T28" fmla="*/ 5 w 66"/>
                <a:gd name="T29" fmla="*/ 14 h 132"/>
                <a:gd name="T30" fmla="*/ 10 w 66"/>
                <a:gd name="T31" fmla="*/ 9 h 132"/>
                <a:gd name="T32" fmla="*/ 15 w 66"/>
                <a:gd name="T33" fmla="*/ 6 h 132"/>
                <a:gd name="T34" fmla="*/ 20 w 66"/>
                <a:gd name="T35" fmla="*/ 3 h 132"/>
                <a:gd name="T36" fmla="*/ 26 w 66"/>
                <a:gd name="T37" fmla="*/ 1 h 132"/>
                <a:gd name="T38" fmla="*/ 33 w 66"/>
                <a:gd name="T39" fmla="*/ 0 h 132"/>
                <a:gd name="T40" fmla="*/ 33 w 66"/>
                <a:gd name="T41" fmla="*/ 0 h 132"/>
                <a:gd name="T42" fmla="*/ 40 w 66"/>
                <a:gd name="T43" fmla="*/ 1 h 132"/>
                <a:gd name="T44" fmla="*/ 46 w 66"/>
                <a:gd name="T45" fmla="*/ 3 h 132"/>
                <a:gd name="T46" fmla="*/ 52 w 66"/>
                <a:gd name="T47" fmla="*/ 6 h 132"/>
                <a:gd name="T48" fmla="*/ 56 w 66"/>
                <a:gd name="T49" fmla="*/ 9 h 132"/>
                <a:gd name="T50" fmla="*/ 60 w 66"/>
                <a:gd name="T51" fmla="*/ 14 h 132"/>
                <a:gd name="T52" fmla="*/ 63 w 66"/>
                <a:gd name="T53" fmla="*/ 21 h 132"/>
                <a:gd name="T54" fmla="*/ 65 w 66"/>
                <a:gd name="T55" fmla="*/ 27 h 132"/>
                <a:gd name="T56" fmla="*/ 66 w 66"/>
                <a:gd name="T57" fmla="*/ 33 h 132"/>
                <a:gd name="T58" fmla="*/ 66 w 66"/>
                <a:gd name="T59" fmla="*/ 99 h 132"/>
                <a:gd name="T60" fmla="*/ 66 w 66"/>
                <a:gd name="T61" fmla="*/ 99 h 132"/>
                <a:gd name="T62" fmla="*/ 65 w 66"/>
                <a:gd name="T63" fmla="*/ 105 h 132"/>
                <a:gd name="T64" fmla="*/ 63 w 66"/>
                <a:gd name="T65" fmla="*/ 112 h 132"/>
                <a:gd name="T66" fmla="*/ 60 w 66"/>
                <a:gd name="T67" fmla="*/ 118 h 132"/>
                <a:gd name="T68" fmla="*/ 56 w 66"/>
                <a:gd name="T69" fmla="*/ 123 h 132"/>
                <a:gd name="T70" fmla="*/ 52 w 66"/>
                <a:gd name="T71" fmla="*/ 126 h 132"/>
                <a:gd name="T72" fmla="*/ 46 w 66"/>
                <a:gd name="T73" fmla="*/ 129 h 132"/>
                <a:gd name="T74" fmla="*/ 40 w 66"/>
                <a:gd name="T75" fmla="*/ 131 h 132"/>
                <a:gd name="T76" fmla="*/ 33 w 66"/>
                <a:gd name="T77" fmla="*/ 132 h 132"/>
                <a:gd name="T78" fmla="*/ 33 w 66"/>
                <a:gd name="T7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32">
                  <a:moveTo>
                    <a:pt x="33" y="132"/>
                  </a:moveTo>
                  <a:lnTo>
                    <a:pt x="33" y="132"/>
                  </a:lnTo>
                  <a:lnTo>
                    <a:pt x="26" y="131"/>
                  </a:lnTo>
                  <a:lnTo>
                    <a:pt x="20" y="129"/>
                  </a:lnTo>
                  <a:lnTo>
                    <a:pt x="15" y="126"/>
                  </a:lnTo>
                  <a:lnTo>
                    <a:pt x="10" y="123"/>
                  </a:lnTo>
                  <a:lnTo>
                    <a:pt x="5" y="118"/>
                  </a:lnTo>
                  <a:lnTo>
                    <a:pt x="2" y="112"/>
                  </a:lnTo>
                  <a:lnTo>
                    <a:pt x="0" y="105"/>
                  </a:lnTo>
                  <a:lnTo>
                    <a:pt x="0" y="99"/>
                  </a:lnTo>
                  <a:lnTo>
                    <a:pt x="0" y="33"/>
                  </a:lnTo>
                  <a:lnTo>
                    <a:pt x="0" y="33"/>
                  </a:lnTo>
                  <a:lnTo>
                    <a:pt x="0" y="27"/>
                  </a:lnTo>
                  <a:lnTo>
                    <a:pt x="2" y="21"/>
                  </a:lnTo>
                  <a:lnTo>
                    <a:pt x="5" y="14"/>
                  </a:lnTo>
                  <a:lnTo>
                    <a:pt x="10" y="9"/>
                  </a:lnTo>
                  <a:lnTo>
                    <a:pt x="15" y="6"/>
                  </a:lnTo>
                  <a:lnTo>
                    <a:pt x="20" y="3"/>
                  </a:lnTo>
                  <a:lnTo>
                    <a:pt x="26" y="1"/>
                  </a:lnTo>
                  <a:lnTo>
                    <a:pt x="33" y="0"/>
                  </a:lnTo>
                  <a:lnTo>
                    <a:pt x="33" y="0"/>
                  </a:lnTo>
                  <a:lnTo>
                    <a:pt x="40" y="1"/>
                  </a:lnTo>
                  <a:lnTo>
                    <a:pt x="46" y="3"/>
                  </a:lnTo>
                  <a:lnTo>
                    <a:pt x="52" y="6"/>
                  </a:lnTo>
                  <a:lnTo>
                    <a:pt x="56" y="9"/>
                  </a:lnTo>
                  <a:lnTo>
                    <a:pt x="60" y="14"/>
                  </a:lnTo>
                  <a:lnTo>
                    <a:pt x="63" y="21"/>
                  </a:lnTo>
                  <a:lnTo>
                    <a:pt x="65" y="27"/>
                  </a:lnTo>
                  <a:lnTo>
                    <a:pt x="66" y="33"/>
                  </a:lnTo>
                  <a:lnTo>
                    <a:pt x="66" y="99"/>
                  </a:lnTo>
                  <a:lnTo>
                    <a:pt x="66" y="99"/>
                  </a:lnTo>
                  <a:lnTo>
                    <a:pt x="65" y="105"/>
                  </a:lnTo>
                  <a:lnTo>
                    <a:pt x="63" y="112"/>
                  </a:lnTo>
                  <a:lnTo>
                    <a:pt x="60" y="118"/>
                  </a:lnTo>
                  <a:lnTo>
                    <a:pt x="56" y="123"/>
                  </a:lnTo>
                  <a:lnTo>
                    <a:pt x="52" y="126"/>
                  </a:lnTo>
                  <a:lnTo>
                    <a:pt x="46" y="129"/>
                  </a:lnTo>
                  <a:lnTo>
                    <a:pt x="40" y="131"/>
                  </a:lnTo>
                  <a:lnTo>
                    <a:pt x="33" y="132"/>
                  </a:lnTo>
                  <a:lnTo>
                    <a:pt x="33"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9" name="Freeform 63">
              <a:extLst>
                <a:ext uri="{FF2B5EF4-FFF2-40B4-BE49-F238E27FC236}">
                  <a16:creationId xmlns:a16="http://schemas.microsoft.com/office/drawing/2014/main" id="{C8C15639-65FF-EBAF-7E20-88B913A1F15A}"/>
                </a:ext>
              </a:extLst>
            </p:cNvPr>
            <p:cNvSpPr>
              <a:spLocks noEditPoints="1"/>
            </p:cNvSpPr>
            <p:nvPr/>
          </p:nvSpPr>
          <p:spPr bwMode="auto">
            <a:xfrm>
              <a:off x="4265613" y="2559051"/>
              <a:ext cx="60325" cy="46038"/>
            </a:xfrm>
            <a:custGeom>
              <a:avLst/>
              <a:gdLst>
                <a:gd name="T0" fmla="*/ 231 w 264"/>
                <a:gd name="T1" fmla="*/ 199 h 199"/>
                <a:gd name="T2" fmla="*/ 33 w 264"/>
                <a:gd name="T3" fmla="*/ 199 h 199"/>
                <a:gd name="T4" fmla="*/ 33 w 264"/>
                <a:gd name="T5" fmla="*/ 199 h 199"/>
                <a:gd name="T6" fmla="*/ 26 w 264"/>
                <a:gd name="T7" fmla="*/ 198 h 199"/>
                <a:gd name="T8" fmla="*/ 20 w 264"/>
                <a:gd name="T9" fmla="*/ 196 h 199"/>
                <a:gd name="T10" fmla="*/ 15 w 264"/>
                <a:gd name="T11" fmla="*/ 193 h 199"/>
                <a:gd name="T12" fmla="*/ 9 w 264"/>
                <a:gd name="T13" fmla="*/ 189 h 199"/>
                <a:gd name="T14" fmla="*/ 5 w 264"/>
                <a:gd name="T15" fmla="*/ 185 h 199"/>
                <a:gd name="T16" fmla="*/ 2 w 264"/>
                <a:gd name="T17" fmla="*/ 178 h 199"/>
                <a:gd name="T18" fmla="*/ 0 w 264"/>
                <a:gd name="T19" fmla="*/ 172 h 199"/>
                <a:gd name="T20" fmla="*/ 0 w 264"/>
                <a:gd name="T21" fmla="*/ 166 h 199"/>
                <a:gd name="T22" fmla="*/ 0 w 264"/>
                <a:gd name="T23" fmla="*/ 34 h 199"/>
                <a:gd name="T24" fmla="*/ 0 w 264"/>
                <a:gd name="T25" fmla="*/ 34 h 199"/>
                <a:gd name="T26" fmla="*/ 0 w 264"/>
                <a:gd name="T27" fmla="*/ 27 h 199"/>
                <a:gd name="T28" fmla="*/ 2 w 264"/>
                <a:gd name="T29" fmla="*/ 21 h 199"/>
                <a:gd name="T30" fmla="*/ 5 w 264"/>
                <a:gd name="T31" fmla="*/ 15 h 199"/>
                <a:gd name="T32" fmla="*/ 9 w 264"/>
                <a:gd name="T33" fmla="*/ 10 h 199"/>
                <a:gd name="T34" fmla="*/ 15 w 264"/>
                <a:gd name="T35" fmla="*/ 6 h 199"/>
                <a:gd name="T36" fmla="*/ 20 w 264"/>
                <a:gd name="T37" fmla="*/ 4 h 199"/>
                <a:gd name="T38" fmla="*/ 26 w 264"/>
                <a:gd name="T39" fmla="*/ 1 h 199"/>
                <a:gd name="T40" fmla="*/ 33 w 264"/>
                <a:gd name="T41" fmla="*/ 0 h 199"/>
                <a:gd name="T42" fmla="*/ 231 w 264"/>
                <a:gd name="T43" fmla="*/ 0 h 199"/>
                <a:gd name="T44" fmla="*/ 231 w 264"/>
                <a:gd name="T45" fmla="*/ 0 h 199"/>
                <a:gd name="T46" fmla="*/ 238 w 264"/>
                <a:gd name="T47" fmla="*/ 1 h 199"/>
                <a:gd name="T48" fmla="*/ 244 w 264"/>
                <a:gd name="T49" fmla="*/ 4 h 199"/>
                <a:gd name="T50" fmla="*/ 250 w 264"/>
                <a:gd name="T51" fmla="*/ 6 h 199"/>
                <a:gd name="T52" fmla="*/ 255 w 264"/>
                <a:gd name="T53" fmla="*/ 10 h 199"/>
                <a:gd name="T54" fmla="*/ 259 w 264"/>
                <a:gd name="T55" fmla="*/ 15 h 199"/>
                <a:gd name="T56" fmla="*/ 262 w 264"/>
                <a:gd name="T57" fmla="*/ 21 h 199"/>
                <a:gd name="T58" fmla="*/ 264 w 264"/>
                <a:gd name="T59" fmla="*/ 27 h 199"/>
                <a:gd name="T60" fmla="*/ 264 w 264"/>
                <a:gd name="T61" fmla="*/ 34 h 199"/>
                <a:gd name="T62" fmla="*/ 264 w 264"/>
                <a:gd name="T63" fmla="*/ 166 h 199"/>
                <a:gd name="T64" fmla="*/ 264 w 264"/>
                <a:gd name="T65" fmla="*/ 166 h 199"/>
                <a:gd name="T66" fmla="*/ 264 w 264"/>
                <a:gd name="T67" fmla="*/ 172 h 199"/>
                <a:gd name="T68" fmla="*/ 262 w 264"/>
                <a:gd name="T69" fmla="*/ 178 h 199"/>
                <a:gd name="T70" fmla="*/ 259 w 264"/>
                <a:gd name="T71" fmla="*/ 185 h 199"/>
                <a:gd name="T72" fmla="*/ 255 w 264"/>
                <a:gd name="T73" fmla="*/ 189 h 199"/>
                <a:gd name="T74" fmla="*/ 250 w 264"/>
                <a:gd name="T75" fmla="*/ 193 h 199"/>
                <a:gd name="T76" fmla="*/ 244 w 264"/>
                <a:gd name="T77" fmla="*/ 196 h 199"/>
                <a:gd name="T78" fmla="*/ 238 w 264"/>
                <a:gd name="T79" fmla="*/ 198 h 199"/>
                <a:gd name="T80" fmla="*/ 231 w 264"/>
                <a:gd name="T81" fmla="*/ 199 h 199"/>
                <a:gd name="T82" fmla="*/ 231 w 264"/>
                <a:gd name="T83" fmla="*/ 199 h 199"/>
                <a:gd name="T84" fmla="*/ 66 w 264"/>
                <a:gd name="T85" fmla="*/ 133 h 199"/>
                <a:gd name="T86" fmla="*/ 198 w 264"/>
                <a:gd name="T87" fmla="*/ 133 h 199"/>
                <a:gd name="T88" fmla="*/ 198 w 264"/>
                <a:gd name="T89" fmla="*/ 67 h 199"/>
                <a:gd name="T90" fmla="*/ 66 w 264"/>
                <a:gd name="T91" fmla="*/ 67 h 199"/>
                <a:gd name="T92" fmla="*/ 66 w 264"/>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4" h="199">
                  <a:moveTo>
                    <a:pt x="231" y="199"/>
                  </a:moveTo>
                  <a:lnTo>
                    <a:pt x="33" y="199"/>
                  </a:lnTo>
                  <a:lnTo>
                    <a:pt x="33" y="199"/>
                  </a:lnTo>
                  <a:lnTo>
                    <a:pt x="26" y="198"/>
                  </a:lnTo>
                  <a:lnTo>
                    <a:pt x="20" y="196"/>
                  </a:lnTo>
                  <a:lnTo>
                    <a:pt x="15" y="193"/>
                  </a:lnTo>
                  <a:lnTo>
                    <a:pt x="9" y="189"/>
                  </a:lnTo>
                  <a:lnTo>
                    <a:pt x="5" y="185"/>
                  </a:lnTo>
                  <a:lnTo>
                    <a:pt x="2" y="178"/>
                  </a:lnTo>
                  <a:lnTo>
                    <a:pt x="0" y="172"/>
                  </a:lnTo>
                  <a:lnTo>
                    <a:pt x="0" y="166"/>
                  </a:lnTo>
                  <a:lnTo>
                    <a:pt x="0" y="34"/>
                  </a:lnTo>
                  <a:lnTo>
                    <a:pt x="0" y="34"/>
                  </a:lnTo>
                  <a:lnTo>
                    <a:pt x="0" y="27"/>
                  </a:lnTo>
                  <a:lnTo>
                    <a:pt x="2" y="21"/>
                  </a:lnTo>
                  <a:lnTo>
                    <a:pt x="5" y="15"/>
                  </a:lnTo>
                  <a:lnTo>
                    <a:pt x="9" y="10"/>
                  </a:lnTo>
                  <a:lnTo>
                    <a:pt x="15" y="6"/>
                  </a:lnTo>
                  <a:lnTo>
                    <a:pt x="20" y="4"/>
                  </a:lnTo>
                  <a:lnTo>
                    <a:pt x="26" y="1"/>
                  </a:lnTo>
                  <a:lnTo>
                    <a:pt x="33" y="0"/>
                  </a:lnTo>
                  <a:lnTo>
                    <a:pt x="231" y="0"/>
                  </a:lnTo>
                  <a:lnTo>
                    <a:pt x="231" y="0"/>
                  </a:lnTo>
                  <a:lnTo>
                    <a:pt x="238" y="1"/>
                  </a:lnTo>
                  <a:lnTo>
                    <a:pt x="244" y="4"/>
                  </a:lnTo>
                  <a:lnTo>
                    <a:pt x="250" y="6"/>
                  </a:lnTo>
                  <a:lnTo>
                    <a:pt x="255" y="10"/>
                  </a:lnTo>
                  <a:lnTo>
                    <a:pt x="259" y="15"/>
                  </a:lnTo>
                  <a:lnTo>
                    <a:pt x="262" y="21"/>
                  </a:lnTo>
                  <a:lnTo>
                    <a:pt x="264" y="27"/>
                  </a:lnTo>
                  <a:lnTo>
                    <a:pt x="264" y="34"/>
                  </a:lnTo>
                  <a:lnTo>
                    <a:pt x="264" y="166"/>
                  </a:lnTo>
                  <a:lnTo>
                    <a:pt x="264" y="166"/>
                  </a:lnTo>
                  <a:lnTo>
                    <a:pt x="264" y="172"/>
                  </a:lnTo>
                  <a:lnTo>
                    <a:pt x="262" y="178"/>
                  </a:lnTo>
                  <a:lnTo>
                    <a:pt x="259" y="185"/>
                  </a:lnTo>
                  <a:lnTo>
                    <a:pt x="255" y="189"/>
                  </a:lnTo>
                  <a:lnTo>
                    <a:pt x="250" y="193"/>
                  </a:lnTo>
                  <a:lnTo>
                    <a:pt x="244" y="196"/>
                  </a:lnTo>
                  <a:lnTo>
                    <a:pt x="238" y="198"/>
                  </a:lnTo>
                  <a:lnTo>
                    <a:pt x="231" y="199"/>
                  </a:lnTo>
                  <a:lnTo>
                    <a:pt x="231" y="199"/>
                  </a:lnTo>
                  <a:close/>
                  <a:moveTo>
                    <a:pt x="66" y="133"/>
                  </a:moveTo>
                  <a:lnTo>
                    <a:pt x="198" y="133"/>
                  </a:lnTo>
                  <a:lnTo>
                    <a:pt x="198" y="67"/>
                  </a:lnTo>
                  <a:lnTo>
                    <a:pt x="66" y="67"/>
                  </a:lnTo>
                  <a:lnTo>
                    <a:pt x="6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0" name="Freeform 64">
              <a:extLst>
                <a:ext uri="{FF2B5EF4-FFF2-40B4-BE49-F238E27FC236}">
                  <a16:creationId xmlns:a16="http://schemas.microsoft.com/office/drawing/2014/main" id="{424B3311-5090-3FB6-1560-3E7396821B42}"/>
                </a:ext>
              </a:extLst>
            </p:cNvPr>
            <p:cNvSpPr>
              <a:spLocks/>
            </p:cNvSpPr>
            <p:nvPr/>
          </p:nvSpPr>
          <p:spPr bwMode="auto">
            <a:xfrm>
              <a:off x="4295775" y="2528889"/>
              <a:ext cx="15875" cy="46038"/>
            </a:xfrm>
            <a:custGeom>
              <a:avLst/>
              <a:gdLst>
                <a:gd name="T0" fmla="*/ 33 w 66"/>
                <a:gd name="T1" fmla="*/ 199 h 199"/>
                <a:gd name="T2" fmla="*/ 33 w 66"/>
                <a:gd name="T3" fmla="*/ 199 h 199"/>
                <a:gd name="T4" fmla="*/ 27 w 66"/>
                <a:gd name="T5" fmla="*/ 198 h 199"/>
                <a:gd name="T6" fmla="*/ 20 w 66"/>
                <a:gd name="T7" fmla="*/ 196 h 199"/>
                <a:gd name="T8" fmla="*/ 15 w 66"/>
                <a:gd name="T9" fmla="*/ 192 h 199"/>
                <a:gd name="T10" fmla="*/ 10 w 66"/>
                <a:gd name="T11" fmla="*/ 189 h 199"/>
                <a:gd name="T12" fmla="*/ 6 w 66"/>
                <a:gd name="T13" fmla="*/ 184 h 199"/>
                <a:gd name="T14" fmla="*/ 3 w 66"/>
                <a:gd name="T15" fmla="*/ 178 h 199"/>
                <a:gd name="T16" fmla="*/ 1 w 66"/>
                <a:gd name="T17" fmla="*/ 172 h 199"/>
                <a:gd name="T18" fmla="*/ 0 w 66"/>
                <a:gd name="T19" fmla="*/ 166 h 199"/>
                <a:gd name="T20" fmla="*/ 0 w 66"/>
                <a:gd name="T21" fmla="*/ 33 h 199"/>
                <a:gd name="T22" fmla="*/ 0 w 66"/>
                <a:gd name="T23" fmla="*/ 33 h 199"/>
                <a:gd name="T24" fmla="*/ 1 w 66"/>
                <a:gd name="T25" fmla="*/ 27 h 199"/>
                <a:gd name="T26" fmla="*/ 3 w 66"/>
                <a:gd name="T27" fmla="*/ 21 h 199"/>
                <a:gd name="T28" fmla="*/ 6 w 66"/>
                <a:gd name="T29" fmla="*/ 14 h 199"/>
                <a:gd name="T30" fmla="*/ 10 w 66"/>
                <a:gd name="T31" fmla="*/ 10 h 199"/>
                <a:gd name="T32" fmla="*/ 15 w 66"/>
                <a:gd name="T33" fmla="*/ 6 h 199"/>
                <a:gd name="T34" fmla="*/ 20 w 66"/>
                <a:gd name="T35" fmla="*/ 3 h 199"/>
                <a:gd name="T36" fmla="*/ 27 w 66"/>
                <a:gd name="T37" fmla="*/ 1 h 199"/>
                <a:gd name="T38" fmla="*/ 33 w 66"/>
                <a:gd name="T39" fmla="*/ 0 h 199"/>
                <a:gd name="T40" fmla="*/ 33 w 66"/>
                <a:gd name="T41" fmla="*/ 0 h 199"/>
                <a:gd name="T42" fmla="*/ 40 w 66"/>
                <a:gd name="T43" fmla="*/ 1 h 199"/>
                <a:gd name="T44" fmla="*/ 46 w 66"/>
                <a:gd name="T45" fmla="*/ 3 h 199"/>
                <a:gd name="T46" fmla="*/ 51 w 66"/>
                <a:gd name="T47" fmla="*/ 6 h 199"/>
                <a:gd name="T48" fmla="*/ 57 w 66"/>
                <a:gd name="T49" fmla="*/ 10 h 199"/>
                <a:gd name="T50" fmla="*/ 61 w 66"/>
                <a:gd name="T51" fmla="*/ 14 h 199"/>
                <a:gd name="T52" fmla="*/ 64 w 66"/>
                <a:gd name="T53" fmla="*/ 21 h 199"/>
                <a:gd name="T54" fmla="*/ 66 w 66"/>
                <a:gd name="T55" fmla="*/ 27 h 199"/>
                <a:gd name="T56" fmla="*/ 66 w 66"/>
                <a:gd name="T57" fmla="*/ 33 h 199"/>
                <a:gd name="T58" fmla="*/ 66 w 66"/>
                <a:gd name="T59" fmla="*/ 166 h 199"/>
                <a:gd name="T60" fmla="*/ 66 w 66"/>
                <a:gd name="T61" fmla="*/ 166 h 199"/>
                <a:gd name="T62" fmla="*/ 66 w 66"/>
                <a:gd name="T63" fmla="*/ 172 h 199"/>
                <a:gd name="T64" fmla="*/ 64 w 66"/>
                <a:gd name="T65" fmla="*/ 178 h 199"/>
                <a:gd name="T66" fmla="*/ 61 w 66"/>
                <a:gd name="T67" fmla="*/ 184 h 199"/>
                <a:gd name="T68" fmla="*/ 57 w 66"/>
                <a:gd name="T69" fmla="*/ 189 h 199"/>
                <a:gd name="T70" fmla="*/ 51 w 66"/>
                <a:gd name="T71" fmla="*/ 192 h 199"/>
                <a:gd name="T72" fmla="*/ 46 w 66"/>
                <a:gd name="T73" fmla="*/ 196 h 199"/>
                <a:gd name="T74" fmla="*/ 40 w 66"/>
                <a:gd name="T75" fmla="*/ 198 h 199"/>
                <a:gd name="T76" fmla="*/ 33 w 66"/>
                <a:gd name="T77" fmla="*/ 199 h 199"/>
                <a:gd name="T78" fmla="*/ 33 w 66"/>
                <a:gd name="T79"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99">
                  <a:moveTo>
                    <a:pt x="33" y="199"/>
                  </a:moveTo>
                  <a:lnTo>
                    <a:pt x="33" y="199"/>
                  </a:lnTo>
                  <a:lnTo>
                    <a:pt x="27" y="198"/>
                  </a:lnTo>
                  <a:lnTo>
                    <a:pt x="20" y="196"/>
                  </a:lnTo>
                  <a:lnTo>
                    <a:pt x="15" y="192"/>
                  </a:lnTo>
                  <a:lnTo>
                    <a:pt x="10" y="189"/>
                  </a:lnTo>
                  <a:lnTo>
                    <a:pt x="6" y="184"/>
                  </a:lnTo>
                  <a:lnTo>
                    <a:pt x="3" y="178"/>
                  </a:lnTo>
                  <a:lnTo>
                    <a:pt x="1" y="172"/>
                  </a:lnTo>
                  <a:lnTo>
                    <a:pt x="0" y="166"/>
                  </a:lnTo>
                  <a:lnTo>
                    <a:pt x="0" y="33"/>
                  </a:lnTo>
                  <a:lnTo>
                    <a:pt x="0" y="33"/>
                  </a:lnTo>
                  <a:lnTo>
                    <a:pt x="1" y="27"/>
                  </a:lnTo>
                  <a:lnTo>
                    <a:pt x="3" y="21"/>
                  </a:lnTo>
                  <a:lnTo>
                    <a:pt x="6" y="14"/>
                  </a:lnTo>
                  <a:lnTo>
                    <a:pt x="10" y="10"/>
                  </a:lnTo>
                  <a:lnTo>
                    <a:pt x="15" y="6"/>
                  </a:lnTo>
                  <a:lnTo>
                    <a:pt x="20" y="3"/>
                  </a:lnTo>
                  <a:lnTo>
                    <a:pt x="27" y="1"/>
                  </a:lnTo>
                  <a:lnTo>
                    <a:pt x="33" y="0"/>
                  </a:lnTo>
                  <a:lnTo>
                    <a:pt x="33" y="0"/>
                  </a:lnTo>
                  <a:lnTo>
                    <a:pt x="40" y="1"/>
                  </a:lnTo>
                  <a:lnTo>
                    <a:pt x="46" y="3"/>
                  </a:lnTo>
                  <a:lnTo>
                    <a:pt x="51" y="6"/>
                  </a:lnTo>
                  <a:lnTo>
                    <a:pt x="57" y="10"/>
                  </a:lnTo>
                  <a:lnTo>
                    <a:pt x="61" y="14"/>
                  </a:lnTo>
                  <a:lnTo>
                    <a:pt x="64" y="21"/>
                  </a:lnTo>
                  <a:lnTo>
                    <a:pt x="66" y="27"/>
                  </a:lnTo>
                  <a:lnTo>
                    <a:pt x="66" y="33"/>
                  </a:lnTo>
                  <a:lnTo>
                    <a:pt x="66" y="166"/>
                  </a:lnTo>
                  <a:lnTo>
                    <a:pt x="66" y="166"/>
                  </a:lnTo>
                  <a:lnTo>
                    <a:pt x="66" y="172"/>
                  </a:lnTo>
                  <a:lnTo>
                    <a:pt x="64" y="178"/>
                  </a:lnTo>
                  <a:lnTo>
                    <a:pt x="61" y="184"/>
                  </a:lnTo>
                  <a:lnTo>
                    <a:pt x="57" y="189"/>
                  </a:lnTo>
                  <a:lnTo>
                    <a:pt x="51" y="192"/>
                  </a:lnTo>
                  <a:lnTo>
                    <a:pt x="46" y="196"/>
                  </a:lnTo>
                  <a:lnTo>
                    <a:pt x="40" y="198"/>
                  </a:lnTo>
                  <a:lnTo>
                    <a:pt x="33" y="199"/>
                  </a:lnTo>
                  <a:lnTo>
                    <a:pt x="33"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1" name="Freeform 65">
              <a:extLst>
                <a:ext uri="{FF2B5EF4-FFF2-40B4-BE49-F238E27FC236}">
                  <a16:creationId xmlns:a16="http://schemas.microsoft.com/office/drawing/2014/main" id="{5FD14013-E0BF-0425-F329-86E70EB63198}"/>
                </a:ext>
              </a:extLst>
            </p:cNvPr>
            <p:cNvSpPr>
              <a:spLocks/>
            </p:cNvSpPr>
            <p:nvPr/>
          </p:nvSpPr>
          <p:spPr bwMode="auto">
            <a:xfrm>
              <a:off x="4251325" y="2635251"/>
              <a:ext cx="90488" cy="14288"/>
            </a:xfrm>
            <a:custGeom>
              <a:avLst/>
              <a:gdLst>
                <a:gd name="T0" fmla="*/ 363 w 396"/>
                <a:gd name="T1" fmla="*/ 65 h 65"/>
                <a:gd name="T2" fmla="*/ 33 w 396"/>
                <a:gd name="T3" fmla="*/ 65 h 65"/>
                <a:gd name="T4" fmla="*/ 33 w 396"/>
                <a:gd name="T5" fmla="*/ 65 h 65"/>
                <a:gd name="T6" fmla="*/ 26 w 396"/>
                <a:gd name="T7" fmla="*/ 65 h 65"/>
                <a:gd name="T8" fmla="*/ 20 w 396"/>
                <a:gd name="T9" fmla="*/ 63 h 65"/>
                <a:gd name="T10" fmla="*/ 14 w 396"/>
                <a:gd name="T11" fmla="*/ 60 h 65"/>
                <a:gd name="T12" fmla="*/ 9 w 396"/>
                <a:gd name="T13" fmla="*/ 56 h 65"/>
                <a:gd name="T14" fmla="*/ 5 w 396"/>
                <a:gd name="T15" fmla="*/ 50 h 65"/>
                <a:gd name="T16" fmla="*/ 2 w 396"/>
                <a:gd name="T17" fmla="*/ 45 h 65"/>
                <a:gd name="T18" fmla="*/ 0 w 396"/>
                <a:gd name="T19" fmla="*/ 39 h 65"/>
                <a:gd name="T20" fmla="*/ 0 w 396"/>
                <a:gd name="T21" fmla="*/ 33 h 65"/>
                <a:gd name="T22" fmla="*/ 0 w 396"/>
                <a:gd name="T23" fmla="*/ 33 h 65"/>
                <a:gd name="T24" fmla="*/ 0 w 396"/>
                <a:gd name="T25" fmla="*/ 26 h 65"/>
                <a:gd name="T26" fmla="*/ 2 w 396"/>
                <a:gd name="T27" fmla="*/ 19 h 65"/>
                <a:gd name="T28" fmla="*/ 5 w 396"/>
                <a:gd name="T29" fmla="*/ 14 h 65"/>
                <a:gd name="T30" fmla="*/ 9 w 396"/>
                <a:gd name="T31" fmla="*/ 9 h 65"/>
                <a:gd name="T32" fmla="*/ 14 w 396"/>
                <a:gd name="T33" fmla="*/ 5 h 65"/>
                <a:gd name="T34" fmla="*/ 20 w 396"/>
                <a:gd name="T35" fmla="*/ 2 h 65"/>
                <a:gd name="T36" fmla="*/ 26 w 396"/>
                <a:gd name="T37" fmla="*/ 0 h 65"/>
                <a:gd name="T38" fmla="*/ 33 w 396"/>
                <a:gd name="T39" fmla="*/ 0 h 65"/>
                <a:gd name="T40" fmla="*/ 363 w 396"/>
                <a:gd name="T41" fmla="*/ 0 h 65"/>
                <a:gd name="T42" fmla="*/ 363 w 396"/>
                <a:gd name="T43" fmla="*/ 0 h 65"/>
                <a:gd name="T44" fmla="*/ 370 w 396"/>
                <a:gd name="T45" fmla="*/ 0 h 65"/>
                <a:gd name="T46" fmla="*/ 377 w 396"/>
                <a:gd name="T47" fmla="*/ 2 h 65"/>
                <a:gd name="T48" fmla="*/ 382 w 396"/>
                <a:gd name="T49" fmla="*/ 5 h 65"/>
                <a:gd name="T50" fmla="*/ 387 w 396"/>
                <a:gd name="T51" fmla="*/ 9 h 65"/>
                <a:gd name="T52" fmla="*/ 391 w 396"/>
                <a:gd name="T53" fmla="*/ 14 h 65"/>
                <a:gd name="T54" fmla="*/ 394 w 396"/>
                <a:gd name="T55" fmla="*/ 19 h 65"/>
                <a:gd name="T56" fmla="*/ 396 w 396"/>
                <a:gd name="T57" fmla="*/ 26 h 65"/>
                <a:gd name="T58" fmla="*/ 396 w 396"/>
                <a:gd name="T59" fmla="*/ 33 h 65"/>
                <a:gd name="T60" fmla="*/ 396 w 396"/>
                <a:gd name="T61" fmla="*/ 33 h 65"/>
                <a:gd name="T62" fmla="*/ 396 w 396"/>
                <a:gd name="T63" fmla="*/ 39 h 65"/>
                <a:gd name="T64" fmla="*/ 394 w 396"/>
                <a:gd name="T65" fmla="*/ 45 h 65"/>
                <a:gd name="T66" fmla="*/ 391 w 396"/>
                <a:gd name="T67" fmla="*/ 50 h 65"/>
                <a:gd name="T68" fmla="*/ 387 w 396"/>
                <a:gd name="T69" fmla="*/ 56 h 65"/>
                <a:gd name="T70" fmla="*/ 382 w 396"/>
                <a:gd name="T71" fmla="*/ 60 h 65"/>
                <a:gd name="T72" fmla="*/ 377 w 396"/>
                <a:gd name="T73" fmla="*/ 63 h 65"/>
                <a:gd name="T74" fmla="*/ 370 w 396"/>
                <a:gd name="T75" fmla="*/ 65 h 65"/>
                <a:gd name="T76" fmla="*/ 363 w 396"/>
                <a:gd name="T77" fmla="*/ 65 h 65"/>
                <a:gd name="T78" fmla="*/ 363 w 396"/>
                <a:gd name="T7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5">
                  <a:moveTo>
                    <a:pt x="363" y="65"/>
                  </a:moveTo>
                  <a:lnTo>
                    <a:pt x="33" y="65"/>
                  </a:lnTo>
                  <a:lnTo>
                    <a:pt x="33" y="65"/>
                  </a:lnTo>
                  <a:lnTo>
                    <a:pt x="26" y="65"/>
                  </a:lnTo>
                  <a:lnTo>
                    <a:pt x="20" y="63"/>
                  </a:lnTo>
                  <a:lnTo>
                    <a:pt x="14" y="60"/>
                  </a:lnTo>
                  <a:lnTo>
                    <a:pt x="9" y="56"/>
                  </a:lnTo>
                  <a:lnTo>
                    <a:pt x="5" y="50"/>
                  </a:lnTo>
                  <a:lnTo>
                    <a:pt x="2" y="45"/>
                  </a:lnTo>
                  <a:lnTo>
                    <a:pt x="0" y="39"/>
                  </a:lnTo>
                  <a:lnTo>
                    <a:pt x="0" y="33"/>
                  </a:lnTo>
                  <a:lnTo>
                    <a:pt x="0" y="33"/>
                  </a:lnTo>
                  <a:lnTo>
                    <a:pt x="0" y="26"/>
                  </a:lnTo>
                  <a:lnTo>
                    <a:pt x="2" y="19"/>
                  </a:lnTo>
                  <a:lnTo>
                    <a:pt x="5" y="14"/>
                  </a:lnTo>
                  <a:lnTo>
                    <a:pt x="9" y="9"/>
                  </a:lnTo>
                  <a:lnTo>
                    <a:pt x="14" y="5"/>
                  </a:lnTo>
                  <a:lnTo>
                    <a:pt x="20" y="2"/>
                  </a:lnTo>
                  <a:lnTo>
                    <a:pt x="26" y="0"/>
                  </a:lnTo>
                  <a:lnTo>
                    <a:pt x="33" y="0"/>
                  </a:lnTo>
                  <a:lnTo>
                    <a:pt x="363" y="0"/>
                  </a:lnTo>
                  <a:lnTo>
                    <a:pt x="363" y="0"/>
                  </a:lnTo>
                  <a:lnTo>
                    <a:pt x="370" y="0"/>
                  </a:lnTo>
                  <a:lnTo>
                    <a:pt x="377" y="2"/>
                  </a:lnTo>
                  <a:lnTo>
                    <a:pt x="382" y="5"/>
                  </a:lnTo>
                  <a:lnTo>
                    <a:pt x="387" y="9"/>
                  </a:lnTo>
                  <a:lnTo>
                    <a:pt x="391" y="14"/>
                  </a:lnTo>
                  <a:lnTo>
                    <a:pt x="394" y="19"/>
                  </a:lnTo>
                  <a:lnTo>
                    <a:pt x="396" y="26"/>
                  </a:lnTo>
                  <a:lnTo>
                    <a:pt x="396" y="33"/>
                  </a:lnTo>
                  <a:lnTo>
                    <a:pt x="396" y="33"/>
                  </a:lnTo>
                  <a:lnTo>
                    <a:pt x="396" y="39"/>
                  </a:lnTo>
                  <a:lnTo>
                    <a:pt x="394" y="45"/>
                  </a:lnTo>
                  <a:lnTo>
                    <a:pt x="391" y="50"/>
                  </a:lnTo>
                  <a:lnTo>
                    <a:pt x="387" y="56"/>
                  </a:lnTo>
                  <a:lnTo>
                    <a:pt x="382" y="60"/>
                  </a:lnTo>
                  <a:lnTo>
                    <a:pt x="377" y="63"/>
                  </a:lnTo>
                  <a:lnTo>
                    <a:pt x="370" y="65"/>
                  </a:lnTo>
                  <a:lnTo>
                    <a:pt x="363" y="65"/>
                  </a:lnTo>
                  <a:lnTo>
                    <a:pt x="363"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2" name="Freeform 66">
              <a:extLst>
                <a:ext uri="{FF2B5EF4-FFF2-40B4-BE49-F238E27FC236}">
                  <a16:creationId xmlns:a16="http://schemas.microsoft.com/office/drawing/2014/main" id="{42046B35-96CE-C7CA-8199-5687D387827B}"/>
                </a:ext>
              </a:extLst>
            </p:cNvPr>
            <p:cNvSpPr>
              <a:spLocks/>
            </p:cNvSpPr>
            <p:nvPr/>
          </p:nvSpPr>
          <p:spPr bwMode="auto">
            <a:xfrm>
              <a:off x="4251325" y="2679701"/>
              <a:ext cx="90488" cy="14288"/>
            </a:xfrm>
            <a:custGeom>
              <a:avLst/>
              <a:gdLst>
                <a:gd name="T0" fmla="*/ 363 w 396"/>
                <a:gd name="T1" fmla="*/ 67 h 67"/>
                <a:gd name="T2" fmla="*/ 33 w 396"/>
                <a:gd name="T3" fmla="*/ 67 h 67"/>
                <a:gd name="T4" fmla="*/ 33 w 396"/>
                <a:gd name="T5" fmla="*/ 67 h 67"/>
                <a:gd name="T6" fmla="*/ 26 w 396"/>
                <a:gd name="T7" fmla="*/ 67 h 67"/>
                <a:gd name="T8" fmla="*/ 20 w 396"/>
                <a:gd name="T9" fmla="*/ 65 h 67"/>
                <a:gd name="T10" fmla="*/ 14 w 396"/>
                <a:gd name="T11" fmla="*/ 61 h 67"/>
                <a:gd name="T12" fmla="*/ 9 w 396"/>
                <a:gd name="T13" fmla="*/ 57 h 67"/>
                <a:gd name="T14" fmla="*/ 5 w 396"/>
                <a:gd name="T15" fmla="*/ 52 h 67"/>
                <a:gd name="T16" fmla="*/ 2 w 396"/>
                <a:gd name="T17" fmla="*/ 47 h 67"/>
                <a:gd name="T18" fmla="*/ 0 w 396"/>
                <a:gd name="T19" fmla="*/ 41 h 67"/>
                <a:gd name="T20" fmla="*/ 0 w 396"/>
                <a:gd name="T21" fmla="*/ 33 h 67"/>
                <a:gd name="T22" fmla="*/ 0 w 396"/>
                <a:gd name="T23" fmla="*/ 33 h 67"/>
                <a:gd name="T24" fmla="*/ 0 w 396"/>
                <a:gd name="T25" fmla="*/ 27 h 67"/>
                <a:gd name="T26" fmla="*/ 2 w 396"/>
                <a:gd name="T27" fmla="*/ 21 h 67"/>
                <a:gd name="T28" fmla="*/ 5 w 396"/>
                <a:gd name="T29" fmla="*/ 15 h 67"/>
                <a:gd name="T30" fmla="*/ 9 w 396"/>
                <a:gd name="T31" fmla="*/ 11 h 67"/>
                <a:gd name="T32" fmla="*/ 14 w 396"/>
                <a:gd name="T33" fmla="*/ 7 h 67"/>
                <a:gd name="T34" fmla="*/ 20 w 396"/>
                <a:gd name="T35" fmla="*/ 3 h 67"/>
                <a:gd name="T36" fmla="*/ 26 w 396"/>
                <a:gd name="T37" fmla="*/ 1 h 67"/>
                <a:gd name="T38" fmla="*/ 33 w 396"/>
                <a:gd name="T39" fmla="*/ 0 h 67"/>
                <a:gd name="T40" fmla="*/ 363 w 396"/>
                <a:gd name="T41" fmla="*/ 0 h 67"/>
                <a:gd name="T42" fmla="*/ 363 w 396"/>
                <a:gd name="T43" fmla="*/ 0 h 67"/>
                <a:gd name="T44" fmla="*/ 370 w 396"/>
                <a:gd name="T45" fmla="*/ 1 h 67"/>
                <a:gd name="T46" fmla="*/ 377 w 396"/>
                <a:gd name="T47" fmla="*/ 3 h 67"/>
                <a:gd name="T48" fmla="*/ 382 w 396"/>
                <a:gd name="T49" fmla="*/ 7 h 67"/>
                <a:gd name="T50" fmla="*/ 387 w 396"/>
                <a:gd name="T51" fmla="*/ 11 h 67"/>
                <a:gd name="T52" fmla="*/ 391 w 396"/>
                <a:gd name="T53" fmla="*/ 15 h 67"/>
                <a:gd name="T54" fmla="*/ 394 w 396"/>
                <a:gd name="T55" fmla="*/ 21 h 67"/>
                <a:gd name="T56" fmla="*/ 396 w 396"/>
                <a:gd name="T57" fmla="*/ 27 h 67"/>
                <a:gd name="T58" fmla="*/ 396 w 396"/>
                <a:gd name="T59" fmla="*/ 33 h 67"/>
                <a:gd name="T60" fmla="*/ 396 w 396"/>
                <a:gd name="T61" fmla="*/ 33 h 67"/>
                <a:gd name="T62" fmla="*/ 396 w 396"/>
                <a:gd name="T63" fmla="*/ 41 h 67"/>
                <a:gd name="T64" fmla="*/ 394 w 396"/>
                <a:gd name="T65" fmla="*/ 47 h 67"/>
                <a:gd name="T66" fmla="*/ 391 w 396"/>
                <a:gd name="T67" fmla="*/ 52 h 67"/>
                <a:gd name="T68" fmla="*/ 387 w 396"/>
                <a:gd name="T69" fmla="*/ 57 h 67"/>
                <a:gd name="T70" fmla="*/ 382 w 396"/>
                <a:gd name="T71" fmla="*/ 61 h 67"/>
                <a:gd name="T72" fmla="*/ 377 w 396"/>
                <a:gd name="T73" fmla="*/ 65 h 67"/>
                <a:gd name="T74" fmla="*/ 370 w 396"/>
                <a:gd name="T75" fmla="*/ 67 h 67"/>
                <a:gd name="T76" fmla="*/ 363 w 396"/>
                <a:gd name="T77" fmla="*/ 67 h 67"/>
                <a:gd name="T78" fmla="*/ 363 w 396"/>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7">
                  <a:moveTo>
                    <a:pt x="363" y="67"/>
                  </a:moveTo>
                  <a:lnTo>
                    <a:pt x="33" y="67"/>
                  </a:lnTo>
                  <a:lnTo>
                    <a:pt x="33" y="67"/>
                  </a:lnTo>
                  <a:lnTo>
                    <a:pt x="26" y="67"/>
                  </a:lnTo>
                  <a:lnTo>
                    <a:pt x="20" y="65"/>
                  </a:lnTo>
                  <a:lnTo>
                    <a:pt x="14" y="61"/>
                  </a:lnTo>
                  <a:lnTo>
                    <a:pt x="9" y="57"/>
                  </a:lnTo>
                  <a:lnTo>
                    <a:pt x="5" y="52"/>
                  </a:lnTo>
                  <a:lnTo>
                    <a:pt x="2" y="47"/>
                  </a:lnTo>
                  <a:lnTo>
                    <a:pt x="0" y="41"/>
                  </a:lnTo>
                  <a:lnTo>
                    <a:pt x="0" y="33"/>
                  </a:lnTo>
                  <a:lnTo>
                    <a:pt x="0" y="33"/>
                  </a:lnTo>
                  <a:lnTo>
                    <a:pt x="0" y="27"/>
                  </a:lnTo>
                  <a:lnTo>
                    <a:pt x="2" y="21"/>
                  </a:lnTo>
                  <a:lnTo>
                    <a:pt x="5" y="15"/>
                  </a:lnTo>
                  <a:lnTo>
                    <a:pt x="9" y="11"/>
                  </a:lnTo>
                  <a:lnTo>
                    <a:pt x="14" y="7"/>
                  </a:lnTo>
                  <a:lnTo>
                    <a:pt x="20" y="3"/>
                  </a:lnTo>
                  <a:lnTo>
                    <a:pt x="26" y="1"/>
                  </a:lnTo>
                  <a:lnTo>
                    <a:pt x="33" y="0"/>
                  </a:lnTo>
                  <a:lnTo>
                    <a:pt x="363" y="0"/>
                  </a:lnTo>
                  <a:lnTo>
                    <a:pt x="363" y="0"/>
                  </a:lnTo>
                  <a:lnTo>
                    <a:pt x="370" y="1"/>
                  </a:lnTo>
                  <a:lnTo>
                    <a:pt x="377" y="3"/>
                  </a:lnTo>
                  <a:lnTo>
                    <a:pt x="382" y="7"/>
                  </a:lnTo>
                  <a:lnTo>
                    <a:pt x="387" y="11"/>
                  </a:lnTo>
                  <a:lnTo>
                    <a:pt x="391" y="15"/>
                  </a:lnTo>
                  <a:lnTo>
                    <a:pt x="394" y="21"/>
                  </a:lnTo>
                  <a:lnTo>
                    <a:pt x="396" y="27"/>
                  </a:lnTo>
                  <a:lnTo>
                    <a:pt x="396" y="33"/>
                  </a:lnTo>
                  <a:lnTo>
                    <a:pt x="396" y="33"/>
                  </a:lnTo>
                  <a:lnTo>
                    <a:pt x="396" y="41"/>
                  </a:lnTo>
                  <a:lnTo>
                    <a:pt x="394" y="47"/>
                  </a:lnTo>
                  <a:lnTo>
                    <a:pt x="391" y="52"/>
                  </a:lnTo>
                  <a:lnTo>
                    <a:pt x="387" y="57"/>
                  </a:lnTo>
                  <a:lnTo>
                    <a:pt x="382" y="61"/>
                  </a:lnTo>
                  <a:lnTo>
                    <a:pt x="377" y="65"/>
                  </a:lnTo>
                  <a:lnTo>
                    <a:pt x="370" y="67"/>
                  </a:lnTo>
                  <a:lnTo>
                    <a:pt x="363" y="67"/>
                  </a:lnTo>
                  <a:lnTo>
                    <a:pt x="36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3" name="Freeform 67">
              <a:extLst>
                <a:ext uri="{FF2B5EF4-FFF2-40B4-BE49-F238E27FC236}">
                  <a16:creationId xmlns:a16="http://schemas.microsoft.com/office/drawing/2014/main" id="{351B116F-C75D-2DCB-485D-4977D7FA6EC6}"/>
                </a:ext>
              </a:extLst>
            </p:cNvPr>
            <p:cNvSpPr>
              <a:spLocks/>
            </p:cNvSpPr>
            <p:nvPr/>
          </p:nvSpPr>
          <p:spPr bwMode="auto">
            <a:xfrm>
              <a:off x="4251325" y="2724151"/>
              <a:ext cx="90488" cy="15875"/>
            </a:xfrm>
            <a:custGeom>
              <a:avLst/>
              <a:gdLst>
                <a:gd name="T0" fmla="*/ 363 w 396"/>
                <a:gd name="T1" fmla="*/ 66 h 66"/>
                <a:gd name="T2" fmla="*/ 33 w 396"/>
                <a:gd name="T3" fmla="*/ 66 h 66"/>
                <a:gd name="T4" fmla="*/ 33 w 396"/>
                <a:gd name="T5" fmla="*/ 66 h 66"/>
                <a:gd name="T6" fmla="*/ 26 w 396"/>
                <a:gd name="T7" fmla="*/ 65 h 66"/>
                <a:gd name="T8" fmla="*/ 20 w 396"/>
                <a:gd name="T9" fmla="*/ 63 h 66"/>
                <a:gd name="T10" fmla="*/ 14 w 396"/>
                <a:gd name="T11" fmla="*/ 60 h 66"/>
                <a:gd name="T12" fmla="*/ 9 w 396"/>
                <a:gd name="T13" fmla="*/ 57 h 66"/>
                <a:gd name="T14" fmla="*/ 5 w 396"/>
                <a:gd name="T15" fmla="*/ 52 h 66"/>
                <a:gd name="T16" fmla="*/ 2 w 396"/>
                <a:gd name="T17" fmla="*/ 46 h 66"/>
                <a:gd name="T18" fmla="*/ 0 w 396"/>
                <a:gd name="T19" fmla="*/ 39 h 66"/>
                <a:gd name="T20" fmla="*/ 0 w 396"/>
                <a:gd name="T21" fmla="*/ 33 h 66"/>
                <a:gd name="T22" fmla="*/ 0 w 396"/>
                <a:gd name="T23" fmla="*/ 33 h 66"/>
                <a:gd name="T24" fmla="*/ 0 w 396"/>
                <a:gd name="T25" fmla="*/ 26 h 66"/>
                <a:gd name="T26" fmla="*/ 2 w 396"/>
                <a:gd name="T27" fmla="*/ 20 h 66"/>
                <a:gd name="T28" fmla="*/ 5 w 396"/>
                <a:gd name="T29" fmla="*/ 15 h 66"/>
                <a:gd name="T30" fmla="*/ 9 w 396"/>
                <a:gd name="T31" fmla="*/ 9 h 66"/>
                <a:gd name="T32" fmla="*/ 14 w 396"/>
                <a:gd name="T33" fmla="*/ 5 h 66"/>
                <a:gd name="T34" fmla="*/ 20 w 396"/>
                <a:gd name="T35" fmla="*/ 2 h 66"/>
                <a:gd name="T36" fmla="*/ 26 w 396"/>
                <a:gd name="T37" fmla="*/ 1 h 66"/>
                <a:gd name="T38" fmla="*/ 33 w 396"/>
                <a:gd name="T39" fmla="*/ 0 h 66"/>
                <a:gd name="T40" fmla="*/ 363 w 396"/>
                <a:gd name="T41" fmla="*/ 0 h 66"/>
                <a:gd name="T42" fmla="*/ 363 w 396"/>
                <a:gd name="T43" fmla="*/ 0 h 66"/>
                <a:gd name="T44" fmla="*/ 370 w 396"/>
                <a:gd name="T45" fmla="*/ 1 h 66"/>
                <a:gd name="T46" fmla="*/ 377 w 396"/>
                <a:gd name="T47" fmla="*/ 2 h 66"/>
                <a:gd name="T48" fmla="*/ 382 w 396"/>
                <a:gd name="T49" fmla="*/ 5 h 66"/>
                <a:gd name="T50" fmla="*/ 387 w 396"/>
                <a:gd name="T51" fmla="*/ 9 h 66"/>
                <a:gd name="T52" fmla="*/ 391 w 396"/>
                <a:gd name="T53" fmla="*/ 15 h 66"/>
                <a:gd name="T54" fmla="*/ 394 w 396"/>
                <a:gd name="T55" fmla="*/ 20 h 66"/>
                <a:gd name="T56" fmla="*/ 396 w 396"/>
                <a:gd name="T57" fmla="*/ 26 h 66"/>
                <a:gd name="T58" fmla="*/ 396 w 396"/>
                <a:gd name="T59" fmla="*/ 33 h 66"/>
                <a:gd name="T60" fmla="*/ 396 w 396"/>
                <a:gd name="T61" fmla="*/ 33 h 66"/>
                <a:gd name="T62" fmla="*/ 396 w 396"/>
                <a:gd name="T63" fmla="*/ 39 h 66"/>
                <a:gd name="T64" fmla="*/ 394 w 396"/>
                <a:gd name="T65" fmla="*/ 46 h 66"/>
                <a:gd name="T66" fmla="*/ 391 w 396"/>
                <a:gd name="T67" fmla="*/ 52 h 66"/>
                <a:gd name="T68" fmla="*/ 387 w 396"/>
                <a:gd name="T69" fmla="*/ 57 h 66"/>
                <a:gd name="T70" fmla="*/ 382 w 396"/>
                <a:gd name="T71" fmla="*/ 60 h 66"/>
                <a:gd name="T72" fmla="*/ 377 w 396"/>
                <a:gd name="T73" fmla="*/ 63 h 66"/>
                <a:gd name="T74" fmla="*/ 370 w 396"/>
                <a:gd name="T75" fmla="*/ 65 h 66"/>
                <a:gd name="T76" fmla="*/ 363 w 396"/>
                <a:gd name="T77" fmla="*/ 66 h 66"/>
                <a:gd name="T78" fmla="*/ 363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3" y="66"/>
                  </a:moveTo>
                  <a:lnTo>
                    <a:pt x="33" y="66"/>
                  </a:lnTo>
                  <a:lnTo>
                    <a:pt x="33" y="66"/>
                  </a:lnTo>
                  <a:lnTo>
                    <a:pt x="26" y="65"/>
                  </a:lnTo>
                  <a:lnTo>
                    <a:pt x="20" y="63"/>
                  </a:lnTo>
                  <a:lnTo>
                    <a:pt x="14" y="60"/>
                  </a:lnTo>
                  <a:lnTo>
                    <a:pt x="9" y="57"/>
                  </a:lnTo>
                  <a:lnTo>
                    <a:pt x="5" y="52"/>
                  </a:lnTo>
                  <a:lnTo>
                    <a:pt x="2" y="46"/>
                  </a:lnTo>
                  <a:lnTo>
                    <a:pt x="0" y="39"/>
                  </a:lnTo>
                  <a:lnTo>
                    <a:pt x="0" y="33"/>
                  </a:lnTo>
                  <a:lnTo>
                    <a:pt x="0" y="33"/>
                  </a:lnTo>
                  <a:lnTo>
                    <a:pt x="0" y="26"/>
                  </a:lnTo>
                  <a:lnTo>
                    <a:pt x="2" y="20"/>
                  </a:lnTo>
                  <a:lnTo>
                    <a:pt x="5" y="15"/>
                  </a:lnTo>
                  <a:lnTo>
                    <a:pt x="9" y="9"/>
                  </a:lnTo>
                  <a:lnTo>
                    <a:pt x="14" y="5"/>
                  </a:lnTo>
                  <a:lnTo>
                    <a:pt x="20" y="2"/>
                  </a:lnTo>
                  <a:lnTo>
                    <a:pt x="26" y="1"/>
                  </a:lnTo>
                  <a:lnTo>
                    <a:pt x="33" y="0"/>
                  </a:lnTo>
                  <a:lnTo>
                    <a:pt x="363" y="0"/>
                  </a:lnTo>
                  <a:lnTo>
                    <a:pt x="363" y="0"/>
                  </a:lnTo>
                  <a:lnTo>
                    <a:pt x="370" y="1"/>
                  </a:lnTo>
                  <a:lnTo>
                    <a:pt x="377" y="2"/>
                  </a:lnTo>
                  <a:lnTo>
                    <a:pt x="382" y="5"/>
                  </a:lnTo>
                  <a:lnTo>
                    <a:pt x="387" y="9"/>
                  </a:lnTo>
                  <a:lnTo>
                    <a:pt x="391" y="15"/>
                  </a:lnTo>
                  <a:lnTo>
                    <a:pt x="394" y="20"/>
                  </a:lnTo>
                  <a:lnTo>
                    <a:pt x="396" y="26"/>
                  </a:lnTo>
                  <a:lnTo>
                    <a:pt x="396" y="33"/>
                  </a:lnTo>
                  <a:lnTo>
                    <a:pt x="396" y="33"/>
                  </a:lnTo>
                  <a:lnTo>
                    <a:pt x="396" y="39"/>
                  </a:lnTo>
                  <a:lnTo>
                    <a:pt x="394" y="46"/>
                  </a:lnTo>
                  <a:lnTo>
                    <a:pt x="391" y="52"/>
                  </a:lnTo>
                  <a:lnTo>
                    <a:pt x="387" y="57"/>
                  </a:lnTo>
                  <a:lnTo>
                    <a:pt x="382" y="60"/>
                  </a:lnTo>
                  <a:lnTo>
                    <a:pt x="377" y="63"/>
                  </a:lnTo>
                  <a:lnTo>
                    <a:pt x="370" y="65"/>
                  </a:lnTo>
                  <a:lnTo>
                    <a:pt x="363" y="66"/>
                  </a:lnTo>
                  <a:lnTo>
                    <a:pt x="3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4" name="Freeform 68">
              <a:extLst>
                <a:ext uri="{FF2B5EF4-FFF2-40B4-BE49-F238E27FC236}">
                  <a16:creationId xmlns:a16="http://schemas.microsoft.com/office/drawing/2014/main" id="{BAE896A7-664F-9CEA-B5D5-8D5A42BDFC01}"/>
                </a:ext>
              </a:extLst>
            </p:cNvPr>
            <p:cNvSpPr>
              <a:spLocks/>
            </p:cNvSpPr>
            <p:nvPr/>
          </p:nvSpPr>
          <p:spPr bwMode="auto">
            <a:xfrm>
              <a:off x="4251325" y="2770189"/>
              <a:ext cx="90488" cy="14288"/>
            </a:xfrm>
            <a:custGeom>
              <a:avLst/>
              <a:gdLst>
                <a:gd name="T0" fmla="*/ 363 w 396"/>
                <a:gd name="T1" fmla="*/ 66 h 66"/>
                <a:gd name="T2" fmla="*/ 33 w 396"/>
                <a:gd name="T3" fmla="*/ 66 h 66"/>
                <a:gd name="T4" fmla="*/ 33 w 396"/>
                <a:gd name="T5" fmla="*/ 66 h 66"/>
                <a:gd name="T6" fmla="*/ 26 w 396"/>
                <a:gd name="T7" fmla="*/ 65 h 66"/>
                <a:gd name="T8" fmla="*/ 20 w 396"/>
                <a:gd name="T9" fmla="*/ 63 h 66"/>
                <a:gd name="T10" fmla="*/ 14 w 396"/>
                <a:gd name="T11" fmla="*/ 60 h 66"/>
                <a:gd name="T12" fmla="*/ 9 w 396"/>
                <a:gd name="T13" fmla="*/ 56 h 66"/>
                <a:gd name="T14" fmla="*/ 5 w 396"/>
                <a:gd name="T15" fmla="*/ 52 h 66"/>
                <a:gd name="T16" fmla="*/ 2 w 396"/>
                <a:gd name="T17" fmla="*/ 45 h 66"/>
                <a:gd name="T18" fmla="*/ 0 w 396"/>
                <a:gd name="T19" fmla="*/ 39 h 66"/>
                <a:gd name="T20" fmla="*/ 0 w 396"/>
                <a:gd name="T21" fmla="*/ 33 h 66"/>
                <a:gd name="T22" fmla="*/ 0 w 396"/>
                <a:gd name="T23" fmla="*/ 33 h 66"/>
                <a:gd name="T24" fmla="*/ 0 w 396"/>
                <a:gd name="T25" fmla="*/ 26 h 66"/>
                <a:gd name="T26" fmla="*/ 2 w 396"/>
                <a:gd name="T27" fmla="*/ 20 h 66"/>
                <a:gd name="T28" fmla="*/ 5 w 396"/>
                <a:gd name="T29" fmla="*/ 14 h 66"/>
                <a:gd name="T30" fmla="*/ 9 w 396"/>
                <a:gd name="T31" fmla="*/ 9 h 66"/>
                <a:gd name="T32" fmla="*/ 14 w 396"/>
                <a:gd name="T33" fmla="*/ 5 h 66"/>
                <a:gd name="T34" fmla="*/ 20 w 396"/>
                <a:gd name="T35" fmla="*/ 2 h 66"/>
                <a:gd name="T36" fmla="*/ 26 w 396"/>
                <a:gd name="T37" fmla="*/ 0 h 66"/>
                <a:gd name="T38" fmla="*/ 33 w 396"/>
                <a:gd name="T39" fmla="*/ 0 h 66"/>
                <a:gd name="T40" fmla="*/ 363 w 396"/>
                <a:gd name="T41" fmla="*/ 0 h 66"/>
                <a:gd name="T42" fmla="*/ 363 w 396"/>
                <a:gd name="T43" fmla="*/ 0 h 66"/>
                <a:gd name="T44" fmla="*/ 370 w 396"/>
                <a:gd name="T45" fmla="*/ 0 h 66"/>
                <a:gd name="T46" fmla="*/ 377 w 396"/>
                <a:gd name="T47" fmla="*/ 2 h 66"/>
                <a:gd name="T48" fmla="*/ 382 w 396"/>
                <a:gd name="T49" fmla="*/ 5 h 66"/>
                <a:gd name="T50" fmla="*/ 387 w 396"/>
                <a:gd name="T51" fmla="*/ 9 h 66"/>
                <a:gd name="T52" fmla="*/ 391 w 396"/>
                <a:gd name="T53" fmla="*/ 14 h 66"/>
                <a:gd name="T54" fmla="*/ 394 w 396"/>
                <a:gd name="T55" fmla="*/ 20 h 66"/>
                <a:gd name="T56" fmla="*/ 396 w 396"/>
                <a:gd name="T57" fmla="*/ 26 h 66"/>
                <a:gd name="T58" fmla="*/ 396 w 396"/>
                <a:gd name="T59" fmla="*/ 33 h 66"/>
                <a:gd name="T60" fmla="*/ 396 w 396"/>
                <a:gd name="T61" fmla="*/ 33 h 66"/>
                <a:gd name="T62" fmla="*/ 396 w 396"/>
                <a:gd name="T63" fmla="*/ 39 h 66"/>
                <a:gd name="T64" fmla="*/ 394 w 396"/>
                <a:gd name="T65" fmla="*/ 45 h 66"/>
                <a:gd name="T66" fmla="*/ 391 w 396"/>
                <a:gd name="T67" fmla="*/ 52 h 66"/>
                <a:gd name="T68" fmla="*/ 387 w 396"/>
                <a:gd name="T69" fmla="*/ 56 h 66"/>
                <a:gd name="T70" fmla="*/ 382 w 396"/>
                <a:gd name="T71" fmla="*/ 60 h 66"/>
                <a:gd name="T72" fmla="*/ 377 w 396"/>
                <a:gd name="T73" fmla="*/ 63 h 66"/>
                <a:gd name="T74" fmla="*/ 370 w 396"/>
                <a:gd name="T75" fmla="*/ 65 h 66"/>
                <a:gd name="T76" fmla="*/ 363 w 396"/>
                <a:gd name="T77" fmla="*/ 66 h 66"/>
                <a:gd name="T78" fmla="*/ 363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3" y="66"/>
                  </a:moveTo>
                  <a:lnTo>
                    <a:pt x="33" y="66"/>
                  </a:lnTo>
                  <a:lnTo>
                    <a:pt x="33" y="66"/>
                  </a:lnTo>
                  <a:lnTo>
                    <a:pt x="26" y="65"/>
                  </a:lnTo>
                  <a:lnTo>
                    <a:pt x="20" y="63"/>
                  </a:lnTo>
                  <a:lnTo>
                    <a:pt x="14" y="60"/>
                  </a:lnTo>
                  <a:lnTo>
                    <a:pt x="9" y="56"/>
                  </a:lnTo>
                  <a:lnTo>
                    <a:pt x="5" y="52"/>
                  </a:lnTo>
                  <a:lnTo>
                    <a:pt x="2" y="45"/>
                  </a:lnTo>
                  <a:lnTo>
                    <a:pt x="0" y="39"/>
                  </a:lnTo>
                  <a:lnTo>
                    <a:pt x="0" y="33"/>
                  </a:lnTo>
                  <a:lnTo>
                    <a:pt x="0" y="33"/>
                  </a:lnTo>
                  <a:lnTo>
                    <a:pt x="0" y="26"/>
                  </a:lnTo>
                  <a:lnTo>
                    <a:pt x="2" y="20"/>
                  </a:lnTo>
                  <a:lnTo>
                    <a:pt x="5" y="14"/>
                  </a:lnTo>
                  <a:lnTo>
                    <a:pt x="9" y="9"/>
                  </a:lnTo>
                  <a:lnTo>
                    <a:pt x="14" y="5"/>
                  </a:lnTo>
                  <a:lnTo>
                    <a:pt x="20" y="2"/>
                  </a:lnTo>
                  <a:lnTo>
                    <a:pt x="26" y="0"/>
                  </a:lnTo>
                  <a:lnTo>
                    <a:pt x="33" y="0"/>
                  </a:lnTo>
                  <a:lnTo>
                    <a:pt x="363" y="0"/>
                  </a:lnTo>
                  <a:lnTo>
                    <a:pt x="363" y="0"/>
                  </a:lnTo>
                  <a:lnTo>
                    <a:pt x="370" y="0"/>
                  </a:lnTo>
                  <a:lnTo>
                    <a:pt x="377" y="2"/>
                  </a:lnTo>
                  <a:lnTo>
                    <a:pt x="382" y="5"/>
                  </a:lnTo>
                  <a:lnTo>
                    <a:pt x="387" y="9"/>
                  </a:lnTo>
                  <a:lnTo>
                    <a:pt x="391" y="14"/>
                  </a:lnTo>
                  <a:lnTo>
                    <a:pt x="394" y="20"/>
                  </a:lnTo>
                  <a:lnTo>
                    <a:pt x="396" y="26"/>
                  </a:lnTo>
                  <a:lnTo>
                    <a:pt x="396" y="33"/>
                  </a:lnTo>
                  <a:lnTo>
                    <a:pt x="396" y="33"/>
                  </a:lnTo>
                  <a:lnTo>
                    <a:pt x="396" y="39"/>
                  </a:lnTo>
                  <a:lnTo>
                    <a:pt x="394" y="45"/>
                  </a:lnTo>
                  <a:lnTo>
                    <a:pt x="391" y="52"/>
                  </a:lnTo>
                  <a:lnTo>
                    <a:pt x="387" y="56"/>
                  </a:lnTo>
                  <a:lnTo>
                    <a:pt x="382" y="60"/>
                  </a:lnTo>
                  <a:lnTo>
                    <a:pt x="377" y="63"/>
                  </a:lnTo>
                  <a:lnTo>
                    <a:pt x="370" y="65"/>
                  </a:lnTo>
                  <a:lnTo>
                    <a:pt x="363" y="66"/>
                  </a:lnTo>
                  <a:lnTo>
                    <a:pt x="3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5" name="Freeform 69">
              <a:extLst>
                <a:ext uri="{FF2B5EF4-FFF2-40B4-BE49-F238E27FC236}">
                  <a16:creationId xmlns:a16="http://schemas.microsoft.com/office/drawing/2014/main" id="{75EABC51-040D-3E99-5A31-F35F62D4337F}"/>
                </a:ext>
              </a:extLst>
            </p:cNvPr>
            <p:cNvSpPr>
              <a:spLocks/>
            </p:cNvSpPr>
            <p:nvPr/>
          </p:nvSpPr>
          <p:spPr bwMode="auto">
            <a:xfrm>
              <a:off x="4251325" y="2814639"/>
              <a:ext cx="90488" cy="14288"/>
            </a:xfrm>
            <a:custGeom>
              <a:avLst/>
              <a:gdLst>
                <a:gd name="T0" fmla="*/ 363 w 396"/>
                <a:gd name="T1" fmla="*/ 66 h 66"/>
                <a:gd name="T2" fmla="*/ 33 w 396"/>
                <a:gd name="T3" fmla="*/ 66 h 66"/>
                <a:gd name="T4" fmla="*/ 33 w 396"/>
                <a:gd name="T5" fmla="*/ 66 h 66"/>
                <a:gd name="T6" fmla="*/ 26 w 396"/>
                <a:gd name="T7" fmla="*/ 66 h 66"/>
                <a:gd name="T8" fmla="*/ 20 w 396"/>
                <a:gd name="T9" fmla="*/ 64 h 66"/>
                <a:gd name="T10" fmla="*/ 14 w 396"/>
                <a:gd name="T11" fmla="*/ 61 h 66"/>
                <a:gd name="T12" fmla="*/ 9 w 396"/>
                <a:gd name="T13" fmla="*/ 56 h 66"/>
                <a:gd name="T14" fmla="*/ 5 w 396"/>
                <a:gd name="T15" fmla="*/ 51 h 66"/>
                <a:gd name="T16" fmla="*/ 2 w 396"/>
                <a:gd name="T17" fmla="*/ 46 h 66"/>
                <a:gd name="T18" fmla="*/ 0 w 396"/>
                <a:gd name="T19" fmla="*/ 40 h 66"/>
                <a:gd name="T20" fmla="*/ 0 w 396"/>
                <a:gd name="T21" fmla="*/ 33 h 66"/>
                <a:gd name="T22" fmla="*/ 0 w 396"/>
                <a:gd name="T23" fmla="*/ 33 h 66"/>
                <a:gd name="T24" fmla="*/ 0 w 396"/>
                <a:gd name="T25" fmla="*/ 26 h 66"/>
                <a:gd name="T26" fmla="*/ 2 w 396"/>
                <a:gd name="T27" fmla="*/ 20 h 66"/>
                <a:gd name="T28" fmla="*/ 5 w 396"/>
                <a:gd name="T29" fmla="*/ 14 h 66"/>
                <a:gd name="T30" fmla="*/ 9 w 396"/>
                <a:gd name="T31" fmla="*/ 10 h 66"/>
                <a:gd name="T32" fmla="*/ 14 w 396"/>
                <a:gd name="T33" fmla="*/ 6 h 66"/>
                <a:gd name="T34" fmla="*/ 20 w 396"/>
                <a:gd name="T35" fmla="*/ 3 h 66"/>
                <a:gd name="T36" fmla="*/ 26 w 396"/>
                <a:gd name="T37" fmla="*/ 1 h 66"/>
                <a:gd name="T38" fmla="*/ 33 w 396"/>
                <a:gd name="T39" fmla="*/ 0 h 66"/>
                <a:gd name="T40" fmla="*/ 363 w 396"/>
                <a:gd name="T41" fmla="*/ 0 h 66"/>
                <a:gd name="T42" fmla="*/ 363 w 396"/>
                <a:gd name="T43" fmla="*/ 0 h 66"/>
                <a:gd name="T44" fmla="*/ 370 w 396"/>
                <a:gd name="T45" fmla="*/ 1 h 66"/>
                <a:gd name="T46" fmla="*/ 377 w 396"/>
                <a:gd name="T47" fmla="*/ 3 h 66"/>
                <a:gd name="T48" fmla="*/ 382 w 396"/>
                <a:gd name="T49" fmla="*/ 6 h 66"/>
                <a:gd name="T50" fmla="*/ 387 w 396"/>
                <a:gd name="T51" fmla="*/ 10 h 66"/>
                <a:gd name="T52" fmla="*/ 391 w 396"/>
                <a:gd name="T53" fmla="*/ 14 h 66"/>
                <a:gd name="T54" fmla="*/ 394 w 396"/>
                <a:gd name="T55" fmla="*/ 20 h 66"/>
                <a:gd name="T56" fmla="*/ 396 w 396"/>
                <a:gd name="T57" fmla="*/ 26 h 66"/>
                <a:gd name="T58" fmla="*/ 396 w 396"/>
                <a:gd name="T59" fmla="*/ 33 h 66"/>
                <a:gd name="T60" fmla="*/ 396 w 396"/>
                <a:gd name="T61" fmla="*/ 33 h 66"/>
                <a:gd name="T62" fmla="*/ 396 w 396"/>
                <a:gd name="T63" fmla="*/ 40 h 66"/>
                <a:gd name="T64" fmla="*/ 394 w 396"/>
                <a:gd name="T65" fmla="*/ 46 h 66"/>
                <a:gd name="T66" fmla="*/ 391 w 396"/>
                <a:gd name="T67" fmla="*/ 51 h 66"/>
                <a:gd name="T68" fmla="*/ 387 w 396"/>
                <a:gd name="T69" fmla="*/ 56 h 66"/>
                <a:gd name="T70" fmla="*/ 382 w 396"/>
                <a:gd name="T71" fmla="*/ 61 h 66"/>
                <a:gd name="T72" fmla="*/ 377 w 396"/>
                <a:gd name="T73" fmla="*/ 64 h 66"/>
                <a:gd name="T74" fmla="*/ 370 w 396"/>
                <a:gd name="T75" fmla="*/ 66 h 66"/>
                <a:gd name="T76" fmla="*/ 363 w 396"/>
                <a:gd name="T77" fmla="*/ 66 h 66"/>
                <a:gd name="T78" fmla="*/ 363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3" y="66"/>
                  </a:moveTo>
                  <a:lnTo>
                    <a:pt x="33" y="66"/>
                  </a:lnTo>
                  <a:lnTo>
                    <a:pt x="33" y="66"/>
                  </a:lnTo>
                  <a:lnTo>
                    <a:pt x="26" y="66"/>
                  </a:lnTo>
                  <a:lnTo>
                    <a:pt x="20" y="64"/>
                  </a:lnTo>
                  <a:lnTo>
                    <a:pt x="14" y="61"/>
                  </a:lnTo>
                  <a:lnTo>
                    <a:pt x="9" y="56"/>
                  </a:lnTo>
                  <a:lnTo>
                    <a:pt x="5" y="51"/>
                  </a:lnTo>
                  <a:lnTo>
                    <a:pt x="2" y="46"/>
                  </a:lnTo>
                  <a:lnTo>
                    <a:pt x="0" y="40"/>
                  </a:lnTo>
                  <a:lnTo>
                    <a:pt x="0" y="33"/>
                  </a:lnTo>
                  <a:lnTo>
                    <a:pt x="0" y="33"/>
                  </a:lnTo>
                  <a:lnTo>
                    <a:pt x="0" y="26"/>
                  </a:lnTo>
                  <a:lnTo>
                    <a:pt x="2" y="20"/>
                  </a:lnTo>
                  <a:lnTo>
                    <a:pt x="5" y="14"/>
                  </a:lnTo>
                  <a:lnTo>
                    <a:pt x="9" y="10"/>
                  </a:lnTo>
                  <a:lnTo>
                    <a:pt x="14" y="6"/>
                  </a:lnTo>
                  <a:lnTo>
                    <a:pt x="20" y="3"/>
                  </a:lnTo>
                  <a:lnTo>
                    <a:pt x="26" y="1"/>
                  </a:lnTo>
                  <a:lnTo>
                    <a:pt x="33" y="0"/>
                  </a:lnTo>
                  <a:lnTo>
                    <a:pt x="363" y="0"/>
                  </a:lnTo>
                  <a:lnTo>
                    <a:pt x="363" y="0"/>
                  </a:lnTo>
                  <a:lnTo>
                    <a:pt x="370" y="1"/>
                  </a:lnTo>
                  <a:lnTo>
                    <a:pt x="377" y="3"/>
                  </a:lnTo>
                  <a:lnTo>
                    <a:pt x="382" y="6"/>
                  </a:lnTo>
                  <a:lnTo>
                    <a:pt x="387" y="10"/>
                  </a:lnTo>
                  <a:lnTo>
                    <a:pt x="391" y="14"/>
                  </a:lnTo>
                  <a:lnTo>
                    <a:pt x="394" y="20"/>
                  </a:lnTo>
                  <a:lnTo>
                    <a:pt x="396" y="26"/>
                  </a:lnTo>
                  <a:lnTo>
                    <a:pt x="396" y="33"/>
                  </a:lnTo>
                  <a:lnTo>
                    <a:pt x="396" y="33"/>
                  </a:lnTo>
                  <a:lnTo>
                    <a:pt x="396" y="40"/>
                  </a:lnTo>
                  <a:lnTo>
                    <a:pt x="394" y="46"/>
                  </a:lnTo>
                  <a:lnTo>
                    <a:pt x="391" y="51"/>
                  </a:lnTo>
                  <a:lnTo>
                    <a:pt x="387" y="56"/>
                  </a:lnTo>
                  <a:lnTo>
                    <a:pt x="382" y="61"/>
                  </a:lnTo>
                  <a:lnTo>
                    <a:pt x="377" y="64"/>
                  </a:lnTo>
                  <a:lnTo>
                    <a:pt x="370" y="66"/>
                  </a:lnTo>
                  <a:lnTo>
                    <a:pt x="363" y="66"/>
                  </a:lnTo>
                  <a:lnTo>
                    <a:pt x="3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76" name="Group 75">
            <a:extLst>
              <a:ext uri="{FF2B5EF4-FFF2-40B4-BE49-F238E27FC236}">
                <a16:creationId xmlns:a16="http://schemas.microsoft.com/office/drawing/2014/main" id="{9FBFC2C1-FE44-4A71-CC38-7504A2A56AA9}"/>
              </a:ext>
            </a:extLst>
          </p:cNvPr>
          <p:cNvGrpSpPr/>
          <p:nvPr/>
        </p:nvGrpSpPr>
        <p:grpSpPr>
          <a:xfrm>
            <a:off x="5614449" y="4305775"/>
            <a:ext cx="260671" cy="259523"/>
            <a:chOff x="3395663" y="1809750"/>
            <a:chExt cx="360363" cy="358776"/>
          </a:xfrm>
          <a:solidFill>
            <a:schemeClr val="bg1"/>
          </a:solidFill>
        </p:grpSpPr>
        <p:sp>
          <p:nvSpPr>
            <p:cNvPr id="77" name="Freeform 48">
              <a:extLst>
                <a:ext uri="{FF2B5EF4-FFF2-40B4-BE49-F238E27FC236}">
                  <a16:creationId xmlns:a16="http://schemas.microsoft.com/office/drawing/2014/main" id="{CEB9612D-9911-8767-31F1-DB618EBEFEEF}"/>
                </a:ext>
              </a:extLst>
            </p:cNvPr>
            <p:cNvSpPr>
              <a:spLocks noEditPoints="1"/>
            </p:cNvSpPr>
            <p:nvPr/>
          </p:nvSpPr>
          <p:spPr bwMode="auto">
            <a:xfrm>
              <a:off x="3603625" y="1884363"/>
              <a:ext cx="111125" cy="122238"/>
            </a:xfrm>
            <a:custGeom>
              <a:avLst/>
              <a:gdLst>
                <a:gd name="T0" fmla="*/ 223 w 486"/>
                <a:gd name="T1" fmla="*/ 542 h 542"/>
                <a:gd name="T2" fmla="*/ 195 w 486"/>
                <a:gd name="T3" fmla="*/ 536 h 542"/>
                <a:gd name="T4" fmla="*/ 162 w 486"/>
                <a:gd name="T5" fmla="*/ 521 h 542"/>
                <a:gd name="T6" fmla="*/ 137 w 486"/>
                <a:gd name="T7" fmla="*/ 502 h 542"/>
                <a:gd name="T8" fmla="*/ 113 w 486"/>
                <a:gd name="T9" fmla="*/ 473 h 542"/>
                <a:gd name="T10" fmla="*/ 89 w 486"/>
                <a:gd name="T11" fmla="*/ 433 h 542"/>
                <a:gd name="T12" fmla="*/ 69 w 486"/>
                <a:gd name="T13" fmla="*/ 409 h 542"/>
                <a:gd name="T14" fmla="*/ 40 w 486"/>
                <a:gd name="T15" fmla="*/ 382 h 542"/>
                <a:gd name="T16" fmla="*/ 20 w 486"/>
                <a:gd name="T17" fmla="*/ 354 h 542"/>
                <a:gd name="T18" fmla="*/ 8 w 486"/>
                <a:gd name="T19" fmla="*/ 328 h 542"/>
                <a:gd name="T20" fmla="*/ 0 w 486"/>
                <a:gd name="T21" fmla="*/ 282 h 542"/>
                <a:gd name="T22" fmla="*/ 1 w 486"/>
                <a:gd name="T23" fmla="*/ 262 h 542"/>
                <a:gd name="T24" fmla="*/ 9 w 486"/>
                <a:gd name="T25" fmla="*/ 233 h 542"/>
                <a:gd name="T26" fmla="*/ 24 w 486"/>
                <a:gd name="T27" fmla="*/ 204 h 542"/>
                <a:gd name="T28" fmla="*/ 43 w 486"/>
                <a:gd name="T29" fmla="*/ 178 h 542"/>
                <a:gd name="T30" fmla="*/ 90 w 486"/>
                <a:gd name="T31" fmla="*/ 138 h 542"/>
                <a:gd name="T32" fmla="*/ 128 w 486"/>
                <a:gd name="T33" fmla="*/ 116 h 542"/>
                <a:gd name="T34" fmla="*/ 184 w 486"/>
                <a:gd name="T35" fmla="*/ 94 h 542"/>
                <a:gd name="T36" fmla="*/ 240 w 486"/>
                <a:gd name="T37" fmla="*/ 79 h 542"/>
                <a:gd name="T38" fmla="*/ 323 w 486"/>
                <a:gd name="T39" fmla="*/ 54 h 542"/>
                <a:gd name="T40" fmla="*/ 386 w 486"/>
                <a:gd name="T41" fmla="*/ 22 h 542"/>
                <a:gd name="T42" fmla="*/ 414 w 486"/>
                <a:gd name="T43" fmla="*/ 3 h 542"/>
                <a:gd name="T44" fmla="*/ 435 w 486"/>
                <a:gd name="T45" fmla="*/ 1 h 542"/>
                <a:gd name="T46" fmla="*/ 449 w 486"/>
                <a:gd name="T47" fmla="*/ 7 h 542"/>
                <a:gd name="T48" fmla="*/ 457 w 486"/>
                <a:gd name="T49" fmla="*/ 20 h 542"/>
                <a:gd name="T50" fmla="*/ 472 w 486"/>
                <a:gd name="T51" fmla="*/ 59 h 542"/>
                <a:gd name="T52" fmla="*/ 485 w 486"/>
                <a:gd name="T53" fmla="*/ 133 h 542"/>
                <a:gd name="T54" fmla="*/ 483 w 486"/>
                <a:gd name="T55" fmla="*/ 229 h 542"/>
                <a:gd name="T56" fmla="*/ 465 w 486"/>
                <a:gd name="T57" fmla="*/ 322 h 542"/>
                <a:gd name="T58" fmla="*/ 435 w 486"/>
                <a:gd name="T59" fmla="*/ 403 h 542"/>
                <a:gd name="T60" fmla="*/ 401 w 486"/>
                <a:gd name="T61" fmla="*/ 455 h 542"/>
                <a:gd name="T62" fmla="*/ 375 w 486"/>
                <a:gd name="T63" fmla="*/ 481 h 542"/>
                <a:gd name="T64" fmla="*/ 317 w 486"/>
                <a:gd name="T65" fmla="*/ 522 h 542"/>
                <a:gd name="T66" fmla="*/ 256 w 486"/>
                <a:gd name="T67" fmla="*/ 541 h 542"/>
                <a:gd name="T68" fmla="*/ 236 w 486"/>
                <a:gd name="T69" fmla="*/ 542 h 542"/>
                <a:gd name="T70" fmla="*/ 390 w 486"/>
                <a:gd name="T71" fmla="*/ 96 h 542"/>
                <a:gd name="T72" fmla="*/ 330 w 486"/>
                <a:gd name="T73" fmla="*/ 121 h 542"/>
                <a:gd name="T74" fmla="*/ 256 w 486"/>
                <a:gd name="T75" fmla="*/ 143 h 542"/>
                <a:gd name="T76" fmla="*/ 206 w 486"/>
                <a:gd name="T77" fmla="*/ 156 h 542"/>
                <a:gd name="T78" fmla="*/ 158 w 486"/>
                <a:gd name="T79" fmla="*/ 175 h 542"/>
                <a:gd name="T80" fmla="*/ 127 w 486"/>
                <a:gd name="T81" fmla="*/ 192 h 542"/>
                <a:gd name="T82" fmla="*/ 91 w 486"/>
                <a:gd name="T83" fmla="*/ 224 h 542"/>
                <a:gd name="T84" fmla="*/ 70 w 486"/>
                <a:gd name="T85" fmla="*/ 259 h 542"/>
                <a:gd name="T86" fmla="*/ 66 w 486"/>
                <a:gd name="T87" fmla="*/ 282 h 542"/>
                <a:gd name="T88" fmla="*/ 69 w 486"/>
                <a:gd name="T89" fmla="*/ 303 h 542"/>
                <a:gd name="T90" fmla="*/ 86 w 486"/>
                <a:gd name="T91" fmla="*/ 333 h 542"/>
                <a:gd name="T92" fmla="*/ 117 w 486"/>
                <a:gd name="T93" fmla="*/ 362 h 542"/>
                <a:gd name="T94" fmla="*/ 131 w 486"/>
                <a:gd name="T95" fmla="*/ 372 h 542"/>
                <a:gd name="T96" fmla="*/ 139 w 486"/>
                <a:gd name="T97" fmla="*/ 385 h 542"/>
                <a:gd name="T98" fmla="*/ 156 w 486"/>
                <a:gd name="T99" fmla="*/ 420 h 542"/>
                <a:gd name="T100" fmla="*/ 187 w 486"/>
                <a:gd name="T101" fmla="*/ 457 h 542"/>
                <a:gd name="T102" fmla="*/ 222 w 486"/>
                <a:gd name="T103" fmla="*/ 475 h 542"/>
                <a:gd name="T104" fmla="*/ 239 w 486"/>
                <a:gd name="T105" fmla="*/ 476 h 542"/>
                <a:gd name="T106" fmla="*/ 265 w 486"/>
                <a:gd name="T107" fmla="*/ 472 h 542"/>
                <a:gd name="T108" fmla="*/ 305 w 486"/>
                <a:gd name="T109" fmla="*/ 453 h 542"/>
                <a:gd name="T110" fmla="*/ 346 w 486"/>
                <a:gd name="T111" fmla="*/ 418 h 542"/>
                <a:gd name="T112" fmla="*/ 366 w 486"/>
                <a:gd name="T113" fmla="*/ 391 h 542"/>
                <a:gd name="T114" fmla="*/ 391 w 486"/>
                <a:gd name="T115" fmla="*/ 337 h 542"/>
                <a:gd name="T116" fmla="*/ 410 w 486"/>
                <a:gd name="T117" fmla="*/ 270 h 542"/>
                <a:gd name="T118" fmla="*/ 419 w 486"/>
                <a:gd name="T119" fmla="*/ 199 h 542"/>
                <a:gd name="T120" fmla="*/ 418 w 486"/>
                <a:gd name="T121" fmla="*/ 128 h 542"/>
                <a:gd name="T122" fmla="*/ 411 w 486"/>
                <a:gd name="T123" fmla="*/ 85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6" h="542">
                  <a:moveTo>
                    <a:pt x="236" y="542"/>
                  </a:moveTo>
                  <a:lnTo>
                    <a:pt x="236" y="542"/>
                  </a:lnTo>
                  <a:lnTo>
                    <a:pt x="223" y="542"/>
                  </a:lnTo>
                  <a:lnTo>
                    <a:pt x="210" y="540"/>
                  </a:lnTo>
                  <a:lnTo>
                    <a:pt x="210" y="540"/>
                  </a:lnTo>
                  <a:lnTo>
                    <a:pt x="195" y="536"/>
                  </a:lnTo>
                  <a:lnTo>
                    <a:pt x="179" y="530"/>
                  </a:lnTo>
                  <a:lnTo>
                    <a:pt x="171" y="526"/>
                  </a:lnTo>
                  <a:lnTo>
                    <a:pt x="162" y="521"/>
                  </a:lnTo>
                  <a:lnTo>
                    <a:pt x="154" y="515"/>
                  </a:lnTo>
                  <a:lnTo>
                    <a:pt x="146" y="509"/>
                  </a:lnTo>
                  <a:lnTo>
                    <a:pt x="137" y="502"/>
                  </a:lnTo>
                  <a:lnTo>
                    <a:pt x="129" y="493"/>
                  </a:lnTo>
                  <a:lnTo>
                    <a:pt x="121" y="483"/>
                  </a:lnTo>
                  <a:lnTo>
                    <a:pt x="113" y="473"/>
                  </a:lnTo>
                  <a:lnTo>
                    <a:pt x="104" y="461"/>
                  </a:lnTo>
                  <a:lnTo>
                    <a:pt x="96" y="448"/>
                  </a:lnTo>
                  <a:lnTo>
                    <a:pt x="89" y="433"/>
                  </a:lnTo>
                  <a:lnTo>
                    <a:pt x="82" y="418"/>
                  </a:lnTo>
                  <a:lnTo>
                    <a:pt x="82" y="418"/>
                  </a:lnTo>
                  <a:lnTo>
                    <a:pt x="69" y="409"/>
                  </a:lnTo>
                  <a:lnTo>
                    <a:pt x="59" y="399"/>
                  </a:lnTo>
                  <a:lnTo>
                    <a:pt x="48" y="391"/>
                  </a:lnTo>
                  <a:lnTo>
                    <a:pt x="40" y="382"/>
                  </a:lnTo>
                  <a:lnTo>
                    <a:pt x="33" y="372"/>
                  </a:lnTo>
                  <a:lnTo>
                    <a:pt x="26" y="363"/>
                  </a:lnTo>
                  <a:lnTo>
                    <a:pt x="20" y="354"/>
                  </a:lnTo>
                  <a:lnTo>
                    <a:pt x="15" y="346"/>
                  </a:lnTo>
                  <a:lnTo>
                    <a:pt x="11" y="336"/>
                  </a:lnTo>
                  <a:lnTo>
                    <a:pt x="8" y="328"/>
                  </a:lnTo>
                  <a:lnTo>
                    <a:pt x="3" y="311"/>
                  </a:lnTo>
                  <a:lnTo>
                    <a:pt x="0" y="296"/>
                  </a:lnTo>
                  <a:lnTo>
                    <a:pt x="0" y="282"/>
                  </a:lnTo>
                  <a:lnTo>
                    <a:pt x="0" y="282"/>
                  </a:lnTo>
                  <a:lnTo>
                    <a:pt x="0" y="272"/>
                  </a:lnTo>
                  <a:lnTo>
                    <a:pt x="1" y="262"/>
                  </a:lnTo>
                  <a:lnTo>
                    <a:pt x="3" y="252"/>
                  </a:lnTo>
                  <a:lnTo>
                    <a:pt x="6" y="242"/>
                  </a:lnTo>
                  <a:lnTo>
                    <a:pt x="9" y="233"/>
                  </a:lnTo>
                  <a:lnTo>
                    <a:pt x="13" y="223"/>
                  </a:lnTo>
                  <a:lnTo>
                    <a:pt x="18" y="213"/>
                  </a:lnTo>
                  <a:lnTo>
                    <a:pt x="24" y="204"/>
                  </a:lnTo>
                  <a:lnTo>
                    <a:pt x="30" y="195"/>
                  </a:lnTo>
                  <a:lnTo>
                    <a:pt x="36" y="186"/>
                  </a:lnTo>
                  <a:lnTo>
                    <a:pt x="43" y="178"/>
                  </a:lnTo>
                  <a:lnTo>
                    <a:pt x="52" y="169"/>
                  </a:lnTo>
                  <a:lnTo>
                    <a:pt x="70" y="153"/>
                  </a:lnTo>
                  <a:lnTo>
                    <a:pt x="90" y="138"/>
                  </a:lnTo>
                  <a:lnTo>
                    <a:pt x="90" y="138"/>
                  </a:lnTo>
                  <a:lnTo>
                    <a:pt x="108" y="126"/>
                  </a:lnTo>
                  <a:lnTo>
                    <a:pt x="128" y="116"/>
                  </a:lnTo>
                  <a:lnTo>
                    <a:pt x="147" y="108"/>
                  </a:lnTo>
                  <a:lnTo>
                    <a:pt x="165" y="100"/>
                  </a:lnTo>
                  <a:lnTo>
                    <a:pt x="184" y="94"/>
                  </a:lnTo>
                  <a:lnTo>
                    <a:pt x="203" y="89"/>
                  </a:lnTo>
                  <a:lnTo>
                    <a:pt x="240" y="79"/>
                  </a:lnTo>
                  <a:lnTo>
                    <a:pt x="240" y="79"/>
                  </a:lnTo>
                  <a:lnTo>
                    <a:pt x="281" y="67"/>
                  </a:lnTo>
                  <a:lnTo>
                    <a:pt x="302" y="61"/>
                  </a:lnTo>
                  <a:lnTo>
                    <a:pt x="323" y="54"/>
                  </a:lnTo>
                  <a:lnTo>
                    <a:pt x="343" y="44"/>
                  </a:lnTo>
                  <a:lnTo>
                    <a:pt x="365" y="34"/>
                  </a:lnTo>
                  <a:lnTo>
                    <a:pt x="386" y="22"/>
                  </a:lnTo>
                  <a:lnTo>
                    <a:pt x="408" y="6"/>
                  </a:lnTo>
                  <a:lnTo>
                    <a:pt x="408" y="6"/>
                  </a:lnTo>
                  <a:lnTo>
                    <a:pt x="414" y="3"/>
                  </a:lnTo>
                  <a:lnTo>
                    <a:pt x="421" y="1"/>
                  </a:lnTo>
                  <a:lnTo>
                    <a:pt x="428" y="0"/>
                  </a:lnTo>
                  <a:lnTo>
                    <a:pt x="435" y="1"/>
                  </a:lnTo>
                  <a:lnTo>
                    <a:pt x="435" y="1"/>
                  </a:lnTo>
                  <a:lnTo>
                    <a:pt x="443" y="4"/>
                  </a:lnTo>
                  <a:lnTo>
                    <a:pt x="449" y="7"/>
                  </a:lnTo>
                  <a:lnTo>
                    <a:pt x="454" y="13"/>
                  </a:lnTo>
                  <a:lnTo>
                    <a:pt x="457" y="20"/>
                  </a:lnTo>
                  <a:lnTo>
                    <a:pt x="457" y="20"/>
                  </a:lnTo>
                  <a:lnTo>
                    <a:pt x="463" y="32"/>
                  </a:lnTo>
                  <a:lnTo>
                    <a:pt x="468" y="45"/>
                  </a:lnTo>
                  <a:lnTo>
                    <a:pt x="472" y="59"/>
                  </a:lnTo>
                  <a:lnTo>
                    <a:pt x="476" y="73"/>
                  </a:lnTo>
                  <a:lnTo>
                    <a:pt x="481" y="103"/>
                  </a:lnTo>
                  <a:lnTo>
                    <a:pt x="485" y="133"/>
                  </a:lnTo>
                  <a:lnTo>
                    <a:pt x="486" y="165"/>
                  </a:lnTo>
                  <a:lnTo>
                    <a:pt x="485" y="197"/>
                  </a:lnTo>
                  <a:lnTo>
                    <a:pt x="483" y="229"/>
                  </a:lnTo>
                  <a:lnTo>
                    <a:pt x="479" y="261"/>
                  </a:lnTo>
                  <a:lnTo>
                    <a:pt x="473" y="292"/>
                  </a:lnTo>
                  <a:lnTo>
                    <a:pt x="465" y="322"/>
                  </a:lnTo>
                  <a:lnTo>
                    <a:pt x="456" y="351"/>
                  </a:lnTo>
                  <a:lnTo>
                    <a:pt x="447" y="378"/>
                  </a:lnTo>
                  <a:lnTo>
                    <a:pt x="435" y="403"/>
                  </a:lnTo>
                  <a:lnTo>
                    <a:pt x="422" y="426"/>
                  </a:lnTo>
                  <a:lnTo>
                    <a:pt x="409" y="446"/>
                  </a:lnTo>
                  <a:lnTo>
                    <a:pt x="401" y="455"/>
                  </a:lnTo>
                  <a:lnTo>
                    <a:pt x="394" y="463"/>
                  </a:lnTo>
                  <a:lnTo>
                    <a:pt x="394" y="463"/>
                  </a:lnTo>
                  <a:lnTo>
                    <a:pt x="375" y="481"/>
                  </a:lnTo>
                  <a:lnTo>
                    <a:pt x="357" y="498"/>
                  </a:lnTo>
                  <a:lnTo>
                    <a:pt x="337" y="511"/>
                  </a:lnTo>
                  <a:lnTo>
                    <a:pt x="317" y="522"/>
                  </a:lnTo>
                  <a:lnTo>
                    <a:pt x="297" y="531"/>
                  </a:lnTo>
                  <a:lnTo>
                    <a:pt x="276" y="537"/>
                  </a:lnTo>
                  <a:lnTo>
                    <a:pt x="256" y="541"/>
                  </a:lnTo>
                  <a:lnTo>
                    <a:pt x="246" y="542"/>
                  </a:lnTo>
                  <a:lnTo>
                    <a:pt x="236" y="542"/>
                  </a:lnTo>
                  <a:lnTo>
                    <a:pt x="236" y="542"/>
                  </a:lnTo>
                  <a:close/>
                  <a:moveTo>
                    <a:pt x="411" y="85"/>
                  </a:moveTo>
                  <a:lnTo>
                    <a:pt x="411" y="85"/>
                  </a:lnTo>
                  <a:lnTo>
                    <a:pt x="390" y="96"/>
                  </a:lnTo>
                  <a:lnTo>
                    <a:pt x="369" y="105"/>
                  </a:lnTo>
                  <a:lnTo>
                    <a:pt x="350" y="114"/>
                  </a:lnTo>
                  <a:lnTo>
                    <a:pt x="330" y="121"/>
                  </a:lnTo>
                  <a:lnTo>
                    <a:pt x="311" y="127"/>
                  </a:lnTo>
                  <a:lnTo>
                    <a:pt x="293" y="133"/>
                  </a:lnTo>
                  <a:lnTo>
                    <a:pt x="256" y="143"/>
                  </a:lnTo>
                  <a:lnTo>
                    <a:pt x="256" y="143"/>
                  </a:lnTo>
                  <a:lnTo>
                    <a:pt x="222" y="152"/>
                  </a:lnTo>
                  <a:lnTo>
                    <a:pt x="206" y="156"/>
                  </a:lnTo>
                  <a:lnTo>
                    <a:pt x="189" y="162"/>
                  </a:lnTo>
                  <a:lnTo>
                    <a:pt x="174" y="169"/>
                  </a:lnTo>
                  <a:lnTo>
                    <a:pt x="158" y="175"/>
                  </a:lnTo>
                  <a:lnTo>
                    <a:pt x="143" y="183"/>
                  </a:lnTo>
                  <a:lnTo>
                    <a:pt x="127" y="192"/>
                  </a:lnTo>
                  <a:lnTo>
                    <a:pt x="127" y="192"/>
                  </a:lnTo>
                  <a:lnTo>
                    <a:pt x="114" y="203"/>
                  </a:lnTo>
                  <a:lnTo>
                    <a:pt x="101" y="213"/>
                  </a:lnTo>
                  <a:lnTo>
                    <a:pt x="91" y="224"/>
                  </a:lnTo>
                  <a:lnTo>
                    <a:pt x="82" y="236"/>
                  </a:lnTo>
                  <a:lnTo>
                    <a:pt x="75" y="247"/>
                  </a:lnTo>
                  <a:lnTo>
                    <a:pt x="70" y="259"/>
                  </a:lnTo>
                  <a:lnTo>
                    <a:pt x="67" y="271"/>
                  </a:lnTo>
                  <a:lnTo>
                    <a:pt x="66" y="282"/>
                  </a:lnTo>
                  <a:lnTo>
                    <a:pt x="66" y="282"/>
                  </a:lnTo>
                  <a:lnTo>
                    <a:pt x="66" y="290"/>
                  </a:lnTo>
                  <a:lnTo>
                    <a:pt x="67" y="296"/>
                  </a:lnTo>
                  <a:lnTo>
                    <a:pt x="69" y="303"/>
                  </a:lnTo>
                  <a:lnTo>
                    <a:pt x="71" y="309"/>
                  </a:lnTo>
                  <a:lnTo>
                    <a:pt x="77" y="322"/>
                  </a:lnTo>
                  <a:lnTo>
                    <a:pt x="86" y="333"/>
                  </a:lnTo>
                  <a:lnTo>
                    <a:pt x="95" y="343"/>
                  </a:lnTo>
                  <a:lnTo>
                    <a:pt x="105" y="353"/>
                  </a:lnTo>
                  <a:lnTo>
                    <a:pt x="117" y="362"/>
                  </a:lnTo>
                  <a:lnTo>
                    <a:pt x="127" y="369"/>
                  </a:lnTo>
                  <a:lnTo>
                    <a:pt x="127" y="369"/>
                  </a:lnTo>
                  <a:lnTo>
                    <a:pt x="131" y="372"/>
                  </a:lnTo>
                  <a:lnTo>
                    <a:pt x="134" y="376"/>
                  </a:lnTo>
                  <a:lnTo>
                    <a:pt x="137" y="380"/>
                  </a:lnTo>
                  <a:lnTo>
                    <a:pt x="139" y="385"/>
                  </a:lnTo>
                  <a:lnTo>
                    <a:pt x="139" y="385"/>
                  </a:lnTo>
                  <a:lnTo>
                    <a:pt x="148" y="403"/>
                  </a:lnTo>
                  <a:lnTo>
                    <a:pt x="156" y="420"/>
                  </a:lnTo>
                  <a:lnTo>
                    <a:pt x="166" y="435"/>
                  </a:lnTo>
                  <a:lnTo>
                    <a:pt x="176" y="447"/>
                  </a:lnTo>
                  <a:lnTo>
                    <a:pt x="187" y="457"/>
                  </a:lnTo>
                  <a:lnTo>
                    <a:pt x="198" y="466"/>
                  </a:lnTo>
                  <a:lnTo>
                    <a:pt x="210" y="472"/>
                  </a:lnTo>
                  <a:lnTo>
                    <a:pt x="222" y="475"/>
                  </a:lnTo>
                  <a:lnTo>
                    <a:pt x="222" y="475"/>
                  </a:lnTo>
                  <a:lnTo>
                    <a:pt x="231" y="476"/>
                  </a:lnTo>
                  <a:lnTo>
                    <a:pt x="239" y="476"/>
                  </a:lnTo>
                  <a:lnTo>
                    <a:pt x="247" y="476"/>
                  </a:lnTo>
                  <a:lnTo>
                    <a:pt x="255" y="475"/>
                  </a:lnTo>
                  <a:lnTo>
                    <a:pt x="265" y="472"/>
                  </a:lnTo>
                  <a:lnTo>
                    <a:pt x="273" y="470"/>
                  </a:lnTo>
                  <a:lnTo>
                    <a:pt x="290" y="462"/>
                  </a:lnTo>
                  <a:lnTo>
                    <a:pt x="305" y="453"/>
                  </a:lnTo>
                  <a:lnTo>
                    <a:pt x="320" y="442"/>
                  </a:lnTo>
                  <a:lnTo>
                    <a:pt x="334" y="430"/>
                  </a:lnTo>
                  <a:lnTo>
                    <a:pt x="346" y="418"/>
                  </a:lnTo>
                  <a:lnTo>
                    <a:pt x="346" y="418"/>
                  </a:lnTo>
                  <a:lnTo>
                    <a:pt x="357" y="406"/>
                  </a:lnTo>
                  <a:lnTo>
                    <a:pt x="366" y="391"/>
                  </a:lnTo>
                  <a:lnTo>
                    <a:pt x="375" y="374"/>
                  </a:lnTo>
                  <a:lnTo>
                    <a:pt x="384" y="357"/>
                  </a:lnTo>
                  <a:lnTo>
                    <a:pt x="391" y="337"/>
                  </a:lnTo>
                  <a:lnTo>
                    <a:pt x="398" y="316"/>
                  </a:lnTo>
                  <a:lnTo>
                    <a:pt x="404" y="294"/>
                  </a:lnTo>
                  <a:lnTo>
                    <a:pt x="410" y="270"/>
                  </a:lnTo>
                  <a:lnTo>
                    <a:pt x="414" y="247"/>
                  </a:lnTo>
                  <a:lnTo>
                    <a:pt x="417" y="222"/>
                  </a:lnTo>
                  <a:lnTo>
                    <a:pt x="419" y="199"/>
                  </a:lnTo>
                  <a:lnTo>
                    <a:pt x="420" y="175"/>
                  </a:lnTo>
                  <a:lnTo>
                    <a:pt x="419" y="151"/>
                  </a:lnTo>
                  <a:lnTo>
                    <a:pt x="418" y="128"/>
                  </a:lnTo>
                  <a:lnTo>
                    <a:pt x="415" y="105"/>
                  </a:lnTo>
                  <a:lnTo>
                    <a:pt x="411" y="85"/>
                  </a:lnTo>
                  <a:lnTo>
                    <a:pt x="411"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8" name="Freeform 49">
              <a:extLst>
                <a:ext uri="{FF2B5EF4-FFF2-40B4-BE49-F238E27FC236}">
                  <a16:creationId xmlns:a16="http://schemas.microsoft.com/office/drawing/2014/main" id="{DCB2B9EF-AEDD-FAEA-5DF2-5203B3642AAC}"/>
                </a:ext>
              </a:extLst>
            </p:cNvPr>
            <p:cNvSpPr>
              <a:spLocks noEditPoints="1"/>
            </p:cNvSpPr>
            <p:nvPr/>
          </p:nvSpPr>
          <p:spPr bwMode="auto">
            <a:xfrm>
              <a:off x="3455988" y="1809750"/>
              <a:ext cx="144463" cy="168275"/>
            </a:xfrm>
            <a:custGeom>
              <a:avLst/>
              <a:gdLst>
                <a:gd name="T0" fmla="*/ 282 w 635"/>
                <a:gd name="T1" fmla="*/ 742 h 744"/>
                <a:gd name="T2" fmla="*/ 231 w 635"/>
                <a:gd name="T3" fmla="*/ 726 h 744"/>
                <a:gd name="T4" fmla="*/ 179 w 635"/>
                <a:gd name="T5" fmla="*/ 695 h 744"/>
                <a:gd name="T6" fmla="*/ 126 w 635"/>
                <a:gd name="T7" fmla="*/ 650 h 744"/>
                <a:gd name="T8" fmla="*/ 92 w 635"/>
                <a:gd name="T9" fmla="*/ 610 h 744"/>
                <a:gd name="T10" fmla="*/ 59 w 635"/>
                <a:gd name="T11" fmla="*/ 554 h 744"/>
                <a:gd name="T12" fmla="*/ 27 w 635"/>
                <a:gd name="T13" fmla="*/ 465 h 744"/>
                <a:gd name="T14" fmla="*/ 1 w 635"/>
                <a:gd name="T15" fmla="*/ 297 h 744"/>
                <a:gd name="T16" fmla="*/ 3 w 635"/>
                <a:gd name="T17" fmla="*/ 189 h 744"/>
                <a:gd name="T18" fmla="*/ 16 w 635"/>
                <a:gd name="T19" fmla="*/ 108 h 744"/>
                <a:gd name="T20" fmla="*/ 41 w 635"/>
                <a:gd name="T21" fmla="*/ 34 h 744"/>
                <a:gd name="T22" fmla="*/ 59 w 635"/>
                <a:gd name="T23" fmla="*/ 7 h 744"/>
                <a:gd name="T24" fmla="*/ 80 w 635"/>
                <a:gd name="T25" fmla="*/ 0 h 744"/>
                <a:gd name="T26" fmla="*/ 100 w 635"/>
                <a:gd name="T27" fmla="*/ 8 h 744"/>
                <a:gd name="T28" fmla="*/ 154 w 635"/>
                <a:gd name="T29" fmla="*/ 47 h 744"/>
                <a:gd name="T30" fmla="*/ 267 w 635"/>
                <a:gd name="T31" fmla="*/ 95 h 744"/>
                <a:gd name="T32" fmla="*/ 388 w 635"/>
                <a:gd name="T33" fmla="*/ 133 h 744"/>
                <a:gd name="T34" fmla="*/ 478 w 635"/>
                <a:gd name="T35" fmla="*/ 173 h 744"/>
                <a:gd name="T36" fmla="*/ 531 w 635"/>
                <a:gd name="T37" fmla="*/ 212 h 744"/>
                <a:gd name="T38" fmla="*/ 567 w 635"/>
                <a:gd name="T39" fmla="*/ 251 h 744"/>
                <a:gd name="T40" fmla="*/ 604 w 635"/>
                <a:gd name="T41" fmla="*/ 307 h 744"/>
                <a:gd name="T42" fmla="*/ 627 w 635"/>
                <a:gd name="T43" fmla="*/ 362 h 744"/>
                <a:gd name="T44" fmla="*/ 635 w 635"/>
                <a:gd name="T45" fmla="*/ 415 h 744"/>
                <a:gd name="T46" fmla="*/ 630 w 635"/>
                <a:gd name="T47" fmla="*/ 452 h 744"/>
                <a:gd name="T48" fmla="*/ 614 w 635"/>
                <a:gd name="T49" fmla="*/ 497 h 744"/>
                <a:gd name="T50" fmla="*/ 582 w 635"/>
                <a:gd name="T51" fmla="*/ 537 h 744"/>
                <a:gd name="T52" fmla="*/ 538 w 635"/>
                <a:gd name="T53" fmla="*/ 573 h 744"/>
                <a:gd name="T54" fmla="*/ 481 w 635"/>
                <a:gd name="T55" fmla="*/ 605 h 744"/>
                <a:gd name="T56" fmla="*/ 449 w 635"/>
                <a:gd name="T57" fmla="*/ 660 h 744"/>
                <a:gd name="T58" fmla="*/ 413 w 635"/>
                <a:gd name="T59" fmla="*/ 702 h 744"/>
                <a:gd name="T60" fmla="*/ 372 w 635"/>
                <a:gd name="T61" fmla="*/ 729 h 744"/>
                <a:gd name="T62" fmla="*/ 328 w 635"/>
                <a:gd name="T63" fmla="*/ 743 h 744"/>
                <a:gd name="T64" fmla="*/ 307 w 635"/>
                <a:gd name="T65" fmla="*/ 744 h 744"/>
                <a:gd name="T66" fmla="*/ 83 w 635"/>
                <a:gd name="T67" fmla="*/ 115 h 744"/>
                <a:gd name="T68" fmla="*/ 66 w 635"/>
                <a:gd name="T69" fmla="*/ 249 h 744"/>
                <a:gd name="T70" fmla="*/ 77 w 635"/>
                <a:gd name="T71" fmla="*/ 390 h 744"/>
                <a:gd name="T72" fmla="*/ 113 w 635"/>
                <a:gd name="T73" fmla="*/ 513 h 744"/>
                <a:gd name="T74" fmla="*/ 145 w 635"/>
                <a:gd name="T75" fmla="*/ 570 h 744"/>
                <a:gd name="T76" fmla="*/ 195 w 635"/>
                <a:gd name="T77" fmla="*/ 624 h 744"/>
                <a:gd name="T78" fmla="*/ 239 w 635"/>
                <a:gd name="T79" fmla="*/ 656 h 744"/>
                <a:gd name="T80" fmla="*/ 281 w 635"/>
                <a:gd name="T81" fmla="*/ 675 h 744"/>
                <a:gd name="T82" fmla="*/ 319 w 635"/>
                <a:gd name="T83" fmla="*/ 678 h 744"/>
                <a:gd name="T84" fmla="*/ 341 w 635"/>
                <a:gd name="T85" fmla="*/ 670 h 744"/>
                <a:gd name="T86" fmla="*/ 377 w 635"/>
                <a:gd name="T87" fmla="*/ 645 h 744"/>
                <a:gd name="T88" fmla="*/ 426 w 635"/>
                <a:gd name="T89" fmla="*/ 567 h 744"/>
                <a:gd name="T90" fmla="*/ 438 w 635"/>
                <a:gd name="T91" fmla="*/ 553 h 744"/>
                <a:gd name="T92" fmla="*/ 491 w 635"/>
                <a:gd name="T93" fmla="*/ 526 h 744"/>
                <a:gd name="T94" fmla="*/ 547 w 635"/>
                <a:gd name="T95" fmla="*/ 477 h 744"/>
                <a:gd name="T96" fmla="*/ 564 w 635"/>
                <a:gd name="T97" fmla="*/ 446 h 744"/>
                <a:gd name="T98" fmla="*/ 569 w 635"/>
                <a:gd name="T99" fmla="*/ 417 h 744"/>
                <a:gd name="T100" fmla="*/ 562 w 635"/>
                <a:gd name="T101" fmla="*/ 375 h 744"/>
                <a:gd name="T102" fmla="*/ 531 w 635"/>
                <a:gd name="T103" fmla="*/ 314 h 744"/>
                <a:gd name="T104" fmla="*/ 504 w 635"/>
                <a:gd name="T105" fmla="*/ 279 h 744"/>
                <a:gd name="T106" fmla="*/ 475 w 635"/>
                <a:gd name="T107" fmla="*/ 250 h 744"/>
                <a:gd name="T108" fmla="*/ 417 w 635"/>
                <a:gd name="T109" fmla="*/ 215 h 744"/>
                <a:gd name="T110" fmla="*/ 305 w 635"/>
                <a:gd name="T111" fmla="*/ 177 h 744"/>
                <a:gd name="T112" fmla="*/ 200 w 635"/>
                <a:gd name="T113" fmla="*/ 142 h 744"/>
                <a:gd name="T114" fmla="*/ 92 w 635"/>
                <a:gd name="T115" fmla="*/ 85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5" h="744">
                  <a:moveTo>
                    <a:pt x="307" y="744"/>
                  </a:moveTo>
                  <a:lnTo>
                    <a:pt x="307" y="744"/>
                  </a:lnTo>
                  <a:lnTo>
                    <a:pt x="295" y="744"/>
                  </a:lnTo>
                  <a:lnTo>
                    <a:pt x="282" y="742"/>
                  </a:lnTo>
                  <a:lnTo>
                    <a:pt x="269" y="740"/>
                  </a:lnTo>
                  <a:lnTo>
                    <a:pt x="257" y="737"/>
                  </a:lnTo>
                  <a:lnTo>
                    <a:pt x="244" y="732"/>
                  </a:lnTo>
                  <a:lnTo>
                    <a:pt x="231" y="726"/>
                  </a:lnTo>
                  <a:lnTo>
                    <a:pt x="218" y="720"/>
                  </a:lnTo>
                  <a:lnTo>
                    <a:pt x="205" y="713"/>
                  </a:lnTo>
                  <a:lnTo>
                    <a:pt x="191" y="705"/>
                  </a:lnTo>
                  <a:lnTo>
                    <a:pt x="179" y="695"/>
                  </a:lnTo>
                  <a:lnTo>
                    <a:pt x="165" y="685"/>
                  </a:lnTo>
                  <a:lnTo>
                    <a:pt x="152" y="675"/>
                  </a:lnTo>
                  <a:lnTo>
                    <a:pt x="140" y="662"/>
                  </a:lnTo>
                  <a:lnTo>
                    <a:pt x="126" y="650"/>
                  </a:lnTo>
                  <a:lnTo>
                    <a:pt x="114" y="636"/>
                  </a:lnTo>
                  <a:lnTo>
                    <a:pt x="101" y="622"/>
                  </a:lnTo>
                  <a:lnTo>
                    <a:pt x="101" y="622"/>
                  </a:lnTo>
                  <a:lnTo>
                    <a:pt x="92" y="610"/>
                  </a:lnTo>
                  <a:lnTo>
                    <a:pt x="83" y="597"/>
                  </a:lnTo>
                  <a:lnTo>
                    <a:pt x="74" y="584"/>
                  </a:lnTo>
                  <a:lnTo>
                    <a:pt x="66" y="569"/>
                  </a:lnTo>
                  <a:lnTo>
                    <a:pt x="59" y="554"/>
                  </a:lnTo>
                  <a:lnTo>
                    <a:pt x="52" y="537"/>
                  </a:lnTo>
                  <a:lnTo>
                    <a:pt x="44" y="519"/>
                  </a:lnTo>
                  <a:lnTo>
                    <a:pt x="38" y="502"/>
                  </a:lnTo>
                  <a:lnTo>
                    <a:pt x="27" y="465"/>
                  </a:lnTo>
                  <a:lnTo>
                    <a:pt x="16" y="424"/>
                  </a:lnTo>
                  <a:lnTo>
                    <a:pt x="9" y="383"/>
                  </a:lnTo>
                  <a:lnTo>
                    <a:pt x="4" y="340"/>
                  </a:lnTo>
                  <a:lnTo>
                    <a:pt x="1" y="297"/>
                  </a:lnTo>
                  <a:lnTo>
                    <a:pt x="0" y="254"/>
                  </a:lnTo>
                  <a:lnTo>
                    <a:pt x="0" y="232"/>
                  </a:lnTo>
                  <a:lnTo>
                    <a:pt x="1" y="211"/>
                  </a:lnTo>
                  <a:lnTo>
                    <a:pt x="3" y="189"/>
                  </a:lnTo>
                  <a:lnTo>
                    <a:pt x="5" y="169"/>
                  </a:lnTo>
                  <a:lnTo>
                    <a:pt x="8" y="148"/>
                  </a:lnTo>
                  <a:lnTo>
                    <a:pt x="12" y="127"/>
                  </a:lnTo>
                  <a:lnTo>
                    <a:pt x="16" y="108"/>
                  </a:lnTo>
                  <a:lnTo>
                    <a:pt x="22" y="89"/>
                  </a:lnTo>
                  <a:lnTo>
                    <a:pt x="28" y="70"/>
                  </a:lnTo>
                  <a:lnTo>
                    <a:pt x="34" y="52"/>
                  </a:lnTo>
                  <a:lnTo>
                    <a:pt x="41" y="34"/>
                  </a:lnTo>
                  <a:lnTo>
                    <a:pt x="50" y="18"/>
                  </a:lnTo>
                  <a:lnTo>
                    <a:pt x="50" y="18"/>
                  </a:lnTo>
                  <a:lnTo>
                    <a:pt x="54" y="12"/>
                  </a:lnTo>
                  <a:lnTo>
                    <a:pt x="59" y="7"/>
                  </a:lnTo>
                  <a:lnTo>
                    <a:pt x="65" y="3"/>
                  </a:lnTo>
                  <a:lnTo>
                    <a:pt x="72" y="1"/>
                  </a:lnTo>
                  <a:lnTo>
                    <a:pt x="72" y="1"/>
                  </a:lnTo>
                  <a:lnTo>
                    <a:pt x="80" y="0"/>
                  </a:lnTo>
                  <a:lnTo>
                    <a:pt x="87" y="1"/>
                  </a:lnTo>
                  <a:lnTo>
                    <a:pt x="94" y="4"/>
                  </a:lnTo>
                  <a:lnTo>
                    <a:pt x="100" y="8"/>
                  </a:lnTo>
                  <a:lnTo>
                    <a:pt x="100" y="8"/>
                  </a:lnTo>
                  <a:lnTo>
                    <a:pt x="114" y="19"/>
                  </a:lnTo>
                  <a:lnTo>
                    <a:pt x="126" y="29"/>
                  </a:lnTo>
                  <a:lnTo>
                    <a:pt x="140" y="37"/>
                  </a:lnTo>
                  <a:lnTo>
                    <a:pt x="154" y="47"/>
                  </a:lnTo>
                  <a:lnTo>
                    <a:pt x="181" y="61"/>
                  </a:lnTo>
                  <a:lnTo>
                    <a:pt x="210" y="74"/>
                  </a:lnTo>
                  <a:lnTo>
                    <a:pt x="238" y="86"/>
                  </a:lnTo>
                  <a:lnTo>
                    <a:pt x="267" y="95"/>
                  </a:lnTo>
                  <a:lnTo>
                    <a:pt x="324" y="114"/>
                  </a:lnTo>
                  <a:lnTo>
                    <a:pt x="324" y="114"/>
                  </a:lnTo>
                  <a:lnTo>
                    <a:pt x="357" y="123"/>
                  </a:lnTo>
                  <a:lnTo>
                    <a:pt x="388" y="133"/>
                  </a:lnTo>
                  <a:lnTo>
                    <a:pt x="419" y="145"/>
                  </a:lnTo>
                  <a:lnTo>
                    <a:pt x="449" y="157"/>
                  </a:lnTo>
                  <a:lnTo>
                    <a:pt x="463" y="165"/>
                  </a:lnTo>
                  <a:lnTo>
                    <a:pt x="478" y="173"/>
                  </a:lnTo>
                  <a:lnTo>
                    <a:pt x="491" y="181"/>
                  </a:lnTo>
                  <a:lnTo>
                    <a:pt x="505" y="190"/>
                  </a:lnTo>
                  <a:lnTo>
                    <a:pt x="518" y="201"/>
                  </a:lnTo>
                  <a:lnTo>
                    <a:pt x="531" y="212"/>
                  </a:lnTo>
                  <a:lnTo>
                    <a:pt x="543" y="223"/>
                  </a:lnTo>
                  <a:lnTo>
                    <a:pt x="555" y="237"/>
                  </a:lnTo>
                  <a:lnTo>
                    <a:pt x="555" y="237"/>
                  </a:lnTo>
                  <a:lnTo>
                    <a:pt x="567" y="251"/>
                  </a:lnTo>
                  <a:lnTo>
                    <a:pt x="577" y="265"/>
                  </a:lnTo>
                  <a:lnTo>
                    <a:pt x="588" y="279"/>
                  </a:lnTo>
                  <a:lnTo>
                    <a:pt x="596" y="294"/>
                  </a:lnTo>
                  <a:lnTo>
                    <a:pt x="604" y="307"/>
                  </a:lnTo>
                  <a:lnTo>
                    <a:pt x="611" y="322"/>
                  </a:lnTo>
                  <a:lnTo>
                    <a:pt x="618" y="335"/>
                  </a:lnTo>
                  <a:lnTo>
                    <a:pt x="623" y="349"/>
                  </a:lnTo>
                  <a:lnTo>
                    <a:pt x="627" y="362"/>
                  </a:lnTo>
                  <a:lnTo>
                    <a:pt x="630" y="376"/>
                  </a:lnTo>
                  <a:lnTo>
                    <a:pt x="633" y="389"/>
                  </a:lnTo>
                  <a:lnTo>
                    <a:pt x="634" y="401"/>
                  </a:lnTo>
                  <a:lnTo>
                    <a:pt x="635" y="415"/>
                  </a:lnTo>
                  <a:lnTo>
                    <a:pt x="634" y="427"/>
                  </a:lnTo>
                  <a:lnTo>
                    <a:pt x="633" y="440"/>
                  </a:lnTo>
                  <a:lnTo>
                    <a:pt x="630" y="452"/>
                  </a:lnTo>
                  <a:lnTo>
                    <a:pt x="630" y="452"/>
                  </a:lnTo>
                  <a:lnTo>
                    <a:pt x="627" y="464"/>
                  </a:lnTo>
                  <a:lnTo>
                    <a:pt x="624" y="475"/>
                  </a:lnTo>
                  <a:lnTo>
                    <a:pt x="619" y="486"/>
                  </a:lnTo>
                  <a:lnTo>
                    <a:pt x="614" y="497"/>
                  </a:lnTo>
                  <a:lnTo>
                    <a:pt x="606" y="507"/>
                  </a:lnTo>
                  <a:lnTo>
                    <a:pt x="599" y="517"/>
                  </a:lnTo>
                  <a:lnTo>
                    <a:pt x="591" y="528"/>
                  </a:lnTo>
                  <a:lnTo>
                    <a:pt x="582" y="537"/>
                  </a:lnTo>
                  <a:lnTo>
                    <a:pt x="572" y="546"/>
                  </a:lnTo>
                  <a:lnTo>
                    <a:pt x="562" y="556"/>
                  </a:lnTo>
                  <a:lnTo>
                    <a:pt x="550" y="565"/>
                  </a:lnTo>
                  <a:lnTo>
                    <a:pt x="538" y="573"/>
                  </a:lnTo>
                  <a:lnTo>
                    <a:pt x="526" y="582"/>
                  </a:lnTo>
                  <a:lnTo>
                    <a:pt x="511" y="590"/>
                  </a:lnTo>
                  <a:lnTo>
                    <a:pt x="481" y="605"/>
                  </a:lnTo>
                  <a:lnTo>
                    <a:pt x="481" y="605"/>
                  </a:lnTo>
                  <a:lnTo>
                    <a:pt x="474" y="621"/>
                  </a:lnTo>
                  <a:lnTo>
                    <a:pt x="466" y="634"/>
                  </a:lnTo>
                  <a:lnTo>
                    <a:pt x="457" y="648"/>
                  </a:lnTo>
                  <a:lnTo>
                    <a:pt x="449" y="660"/>
                  </a:lnTo>
                  <a:lnTo>
                    <a:pt x="441" y="672"/>
                  </a:lnTo>
                  <a:lnTo>
                    <a:pt x="431" y="683"/>
                  </a:lnTo>
                  <a:lnTo>
                    <a:pt x="422" y="692"/>
                  </a:lnTo>
                  <a:lnTo>
                    <a:pt x="413" y="702"/>
                  </a:lnTo>
                  <a:lnTo>
                    <a:pt x="403" y="710"/>
                  </a:lnTo>
                  <a:lnTo>
                    <a:pt x="393" y="717"/>
                  </a:lnTo>
                  <a:lnTo>
                    <a:pt x="383" y="723"/>
                  </a:lnTo>
                  <a:lnTo>
                    <a:pt x="372" y="729"/>
                  </a:lnTo>
                  <a:lnTo>
                    <a:pt x="362" y="734"/>
                  </a:lnTo>
                  <a:lnTo>
                    <a:pt x="351" y="738"/>
                  </a:lnTo>
                  <a:lnTo>
                    <a:pt x="339" y="741"/>
                  </a:lnTo>
                  <a:lnTo>
                    <a:pt x="328" y="743"/>
                  </a:lnTo>
                  <a:lnTo>
                    <a:pt x="328" y="743"/>
                  </a:lnTo>
                  <a:lnTo>
                    <a:pt x="318" y="744"/>
                  </a:lnTo>
                  <a:lnTo>
                    <a:pt x="307" y="744"/>
                  </a:lnTo>
                  <a:lnTo>
                    <a:pt x="307" y="744"/>
                  </a:lnTo>
                  <a:close/>
                  <a:moveTo>
                    <a:pt x="92" y="85"/>
                  </a:moveTo>
                  <a:lnTo>
                    <a:pt x="92" y="85"/>
                  </a:lnTo>
                  <a:lnTo>
                    <a:pt x="87" y="99"/>
                  </a:lnTo>
                  <a:lnTo>
                    <a:pt x="83" y="115"/>
                  </a:lnTo>
                  <a:lnTo>
                    <a:pt x="75" y="147"/>
                  </a:lnTo>
                  <a:lnTo>
                    <a:pt x="70" y="180"/>
                  </a:lnTo>
                  <a:lnTo>
                    <a:pt x="67" y="214"/>
                  </a:lnTo>
                  <a:lnTo>
                    <a:pt x="66" y="249"/>
                  </a:lnTo>
                  <a:lnTo>
                    <a:pt x="66" y="285"/>
                  </a:lnTo>
                  <a:lnTo>
                    <a:pt x="68" y="321"/>
                  </a:lnTo>
                  <a:lnTo>
                    <a:pt x="72" y="355"/>
                  </a:lnTo>
                  <a:lnTo>
                    <a:pt x="77" y="390"/>
                  </a:lnTo>
                  <a:lnTo>
                    <a:pt x="85" y="423"/>
                  </a:lnTo>
                  <a:lnTo>
                    <a:pt x="92" y="455"/>
                  </a:lnTo>
                  <a:lnTo>
                    <a:pt x="102" y="485"/>
                  </a:lnTo>
                  <a:lnTo>
                    <a:pt x="113" y="513"/>
                  </a:lnTo>
                  <a:lnTo>
                    <a:pt x="124" y="538"/>
                  </a:lnTo>
                  <a:lnTo>
                    <a:pt x="131" y="549"/>
                  </a:lnTo>
                  <a:lnTo>
                    <a:pt x="137" y="560"/>
                  </a:lnTo>
                  <a:lnTo>
                    <a:pt x="145" y="570"/>
                  </a:lnTo>
                  <a:lnTo>
                    <a:pt x="151" y="578"/>
                  </a:lnTo>
                  <a:lnTo>
                    <a:pt x="151" y="578"/>
                  </a:lnTo>
                  <a:lnTo>
                    <a:pt x="174" y="603"/>
                  </a:lnTo>
                  <a:lnTo>
                    <a:pt x="195" y="624"/>
                  </a:lnTo>
                  <a:lnTo>
                    <a:pt x="207" y="633"/>
                  </a:lnTo>
                  <a:lnTo>
                    <a:pt x="217" y="643"/>
                  </a:lnTo>
                  <a:lnTo>
                    <a:pt x="229" y="650"/>
                  </a:lnTo>
                  <a:lnTo>
                    <a:pt x="239" y="656"/>
                  </a:lnTo>
                  <a:lnTo>
                    <a:pt x="250" y="662"/>
                  </a:lnTo>
                  <a:lnTo>
                    <a:pt x="261" y="667"/>
                  </a:lnTo>
                  <a:lnTo>
                    <a:pt x="271" y="672"/>
                  </a:lnTo>
                  <a:lnTo>
                    <a:pt x="281" y="675"/>
                  </a:lnTo>
                  <a:lnTo>
                    <a:pt x="291" y="677"/>
                  </a:lnTo>
                  <a:lnTo>
                    <a:pt x="300" y="678"/>
                  </a:lnTo>
                  <a:lnTo>
                    <a:pt x="309" y="678"/>
                  </a:lnTo>
                  <a:lnTo>
                    <a:pt x="319" y="678"/>
                  </a:lnTo>
                  <a:lnTo>
                    <a:pt x="319" y="678"/>
                  </a:lnTo>
                  <a:lnTo>
                    <a:pt x="327" y="676"/>
                  </a:lnTo>
                  <a:lnTo>
                    <a:pt x="334" y="674"/>
                  </a:lnTo>
                  <a:lnTo>
                    <a:pt x="341" y="670"/>
                  </a:lnTo>
                  <a:lnTo>
                    <a:pt x="349" y="667"/>
                  </a:lnTo>
                  <a:lnTo>
                    <a:pt x="356" y="662"/>
                  </a:lnTo>
                  <a:lnTo>
                    <a:pt x="363" y="657"/>
                  </a:lnTo>
                  <a:lnTo>
                    <a:pt x="377" y="645"/>
                  </a:lnTo>
                  <a:lnTo>
                    <a:pt x="390" y="630"/>
                  </a:lnTo>
                  <a:lnTo>
                    <a:pt x="402" y="612"/>
                  </a:lnTo>
                  <a:lnTo>
                    <a:pt x="415" y="591"/>
                  </a:lnTo>
                  <a:lnTo>
                    <a:pt x="426" y="567"/>
                  </a:lnTo>
                  <a:lnTo>
                    <a:pt x="426" y="567"/>
                  </a:lnTo>
                  <a:lnTo>
                    <a:pt x="429" y="562"/>
                  </a:lnTo>
                  <a:lnTo>
                    <a:pt x="433" y="557"/>
                  </a:lnTo>
                  <a:lnTo>
                    <a:pt x="438" y="553"/>
                  </a:lnTo>
                  <a:lnTo>
                    <a:pt x="443" y="549"/>
                  </a:lnTo>
                  <a:lnTo>
                    <a:pt x="443" y="549"/>
                  </a:lnTo>
                  <a:lnTo>
                    <a:pt x="469" y="538"/>
                  </a:lnTo>
                  <a:lnTo>
                    <a:pt x="491" y="526"/>
                  </a:lnTo>
                  <a:lnTo>
                    <a:pt x="511" y="512"/>
                  </a:lnTo>
                  <a:lnTo>
                    <a:pt x="528" y="499"/>
                  </a:lnTo>
                  <a:lnTo>
                    <a:pt x="542" y="484"/>
                  </a:lnTo>
                  <a:lnTo>
                    <a:pt x="547" y="477"/>
                  </a:lnTo>
                  <a:lnTo>
                    <a:pt x="552" y="469"/>
                  </a:lnTo>
                  <a:lnTo>
                    <a:pt x="558" y="461"/>
                  </a:lnTo>
                  <a:lnTo>
                    <a:pt x="561" y="453"/>
                  </a:lnTo>
                  <a:lnTo>
                    <a:pt x="564" y="446"/>
                  </a:lnTo>
                  <a:lnTo>
                    <a:pt x="566" y="438"/>
                  </a:lnTo>
                  <a:lnTo>
                    <a:pt x="566" y="438"/>
                  </a:lnTo>
                  <a:lnTo>
                    <a:pt x="568" y="427"/>
                  </a:lnTo>
                  <a:lnTo>
                    <a:pt x="569" y="417"/>
                  </a:lnTo>
                  <a:lnTo>
                    <a:pt x="568" y="406"/>
                  </a:lnTo>
                  <a:lnTo>
                    <a:pt x="567" y="395"/>
                  </a:lnTo>
                  <a:lnTo>
                    <a:pt x="565" y="385"/>
                  </a:lnTo>
                  <a:lnTo>
                    <a:pt x="562" y="375"/>
                  </a:lnTo>
                  <a:lnTo>
                    <a:pt x="558" y="363"/>
                  </a:lnTo>
                  <a:lnTo>
                    <a:pt x="554" y="353"/>
                  </a:lnTo>
                  <a:lnTo>
                    <a:pt x="543" y="333"/>
                  </a:lnTo>
                  <a:lnTo>
                    <a:pt x="531" y="314"/>
                  </a:lnTo>
                  <a:lnTo>
                    <a:pt x="517" y="296"/>
                  </a:lnTo>
                  <a:lnTo>
                    <a:pt x="504" y="279"/>
                  </a:lnTo>
                  <a:lnTo>
                    <a:pt x="504" y="279"/>
                  </a:lnTo>
                  <a:lnTo>
                    <a:pt x="504" y="279"/>
                  </a:lnTo>
                  <a:lnTo>
                    <a:pt x="504" y="279"/>
                  </a:lnTo>
                  <a:lnTo>
                    <a:pt x="495" y="269"/>
                  </a:lnTo>
                  <a:lnTo>
                    <a:pt x="485" y="260"/>
                  </a:lnTo>
                  <a:lnTo>
                    <a:pt x="475" y="250"/>
                  </a:lnTo>
                  <a:lnTo>
                    <a:pt x="463" y="242"/>
                  </a:lnTo>
                  <a:lnTo>
                    <a:pt x="453" y="235"/>
                  </a:lnTo>
                  <a:lnTo>
                    <a:pt x="441" y="228"/>
                  </a:lnTo>
                  <a:lnTo>
                    <a:pt x="417" y="215"/>
                  </a:lnTo>
                  <a:lnTo>
                    <a:pt x="391" y="205"/>
                  </a:lnTo>
                  <a:lnTo>
                    <a:pt x="363" y="195"/>
                  </a:lnTo>
                  <a:lnTo>
                    <a:pt x="335" y="186"/>
                  </a:lnTo>
                  <a:lnTo>
                    <a:pt x="305" y="177"/>
                  </a:lnTo>
                  <a:lnTo>
                    <a:pt x="305" y="177"/>
                  </a:lnTo>
                  <a:lnTo>
                    <a:pt x="253" y="160"/>
                  </a:lnTo>
                  <a:lnTo>
                    <a:pt x="226" y="152"/>
                  </a:lnTo>
                  <a:lnTo>
                    <a:pt x="200" y="142"/>
                  </a:lnTo>
                  <a:lnTo>
                    <a:pt x="173" y="130"/>
                  </a:lnTo>
                  <a:lnTo>
                    <a:pt x="146" y="117"/>
                  </a:lnTo>
                  <a:lnTo>
                    <a:pt x="119" y="102"/>
                  </a:lnTo>
                  <a:lnTo>
                    <a:pt x="92" y="85"/>
                  </a:lnTo>
                  <a:lnTo>
                    <a:pt x="92"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9" name="Freeform 50">
              <a:extLst>
                <a:ext uri="{FF2B5EF4-FFF2-40B4-BE49-F238E27FC236}">
                  <a16:creationId xmlns:a16="http://schemas.microsoft.com/office/drawing/2014/main" id="{0838C4A5-4757-896C-2DE1-FAB75DEA50AE}"/>
                </a:ext>
              </a:extLst>
            </p:cNvPr>
            <p:cNvSpPr>
              <a:spLocks/>
            </p:cNvSpPr>
            <p:nvPr/>
          </p:nvSpPr>
          <p:spPr bwMode="auto">
            <a:xfrm>
              <a:off x="3497263" y="1863725"/>
              <a:ext cx="176213" cy="169863"/>
            </a:xfrm>
            <a:custGeom>
              <a:avLst/>
              <a:gdLst>
                <a:gd name="T0" fmla="*/ 445 w 778"/>
                <a:gd name="T1" fmla="*/ 751 h 751"/>
                <a:gd name="T2" fmla="*/ 435 w 778"/>
                <a:gd name="T3" fmla="*/ 748 h 751"/>
                <a:gd name="T4" fmla="*/ 422 w 778"/>
                <a:gd name="T5" fmla="*/ 740 h 751"/>
                <a:gd name="T6" fmla="*/ 415 w 778"/>
                <a:gd name="T7" fmla="*/ 725 h 751"/>
                <a:gd name="T8" fmla="*/ 405 w 778"/>
                <a:gd name="T9" fmla="*/ 687 h 751"/>
                <a:gd name="T10" fmla="*/ 370 w 778"/>
                <a:gd name="T11" fmla="*/ 588 h 751"/>
                <a:gd name="T12" fmla="*/ 307 w 778"/>
                <a:gd name="T13" fmla="*/ 447 h 751"/>
                <a:gd name="T14" fmla="*/ 263 w 778"/>
                <a:gd name="T15" fmla="*/ 366 h 751"/>
                <a:gd name="T16" fmla="*/ 208 w 778"/>
                <a:gd name="T17" fmla="*/ 282 h 751"/>
                <a:gd name="T18" fmla="*/ 144 w 778"/>
                <a:gd name="T19" fmla="*/ 197 h 751"/>
                <a:gd name="T20" fmla="*/ 68 w 778"/>
                <a:gd name="T21" fmla="*/ 113 h 751"/>
                <a:gd name="T22" fmla="*/ 11 w 778"/>
                <a:gd name="T23" fmla="*/ 58 h 751"/>
                <a:gd name="T24" fmla="*/ 1 w 778"/>
                <a:gd name="T25" fmla="*/ 41 h 751"/>
                <a:gd name="T26" fmla="*/ 2 w 778"/>
                <a:gd name="T27" fmla="*/ 23 h 751"/>
                <a:gd name="T28" fmla="*/ 8 w 778"/>
                <a:gd name="T29" fmla="*/ 11 h 751"/>
                <a:gd name="T30" fmla="*/ 25 w 778"/>
                <a:gd name="T31" fmla="*/ 1 h 751"/>
                <a:gd name="T32" fmla="*/ 44 w 778"/>
                <a:gd name="T33" fmla="*/ 2 h 751"/>
                <a:gd name="T34" fmla="*/ 55 w 778"/>
                <a:gd name="T35" fmla="*/ 8 h 751"/>
                <a:gd name="T36" fmla="*/ 120 w 778"/>
                <a:gd name="T37" fmla="*/ 71 h 751"/>
                <a:gd name="T38" fmla="*/ 214 w 778"/>
                <a:gd name="T39" fmla="*/ 178 h 751"/>
                <a:gd name="T40" fmla="*/ 304 w 778"/>
                <a:gd name="T41" fmla="*/ 306 h 751"/>
                <a:gd name="T42" fmla="*/ 372 w 778"/>
                <a:gd name="T43" fmla="*/ 427 h 751"/>
                <a:gd name="T44" fmla="*/ 422 w 778"/>
                <a:gd name="T45" fmla="*/ 536 h 751"/>
                <a:gd name="T46" fmla="*/ 454 w 778"/>
                <a:gd name="T47" fmla="*/ 624 h 751"/>
                <a:gd name="T48" fmla="*/ 498 w 778"/>
                <a:gd name="T49" fmla="*/ 548 h 751"/>
                <a:gd name="T50" fmla="*/ 542 w 778"/>
                <a:gd name="T51" fmla="*/ 486 h 751"/>
                <a:gd name="T52" fmla="*/ 595 w 778"/>
                <a:gd name="T53" fmla="*/ 426 h 751"/>
                <a:gd name="T54" fmla="*/ 658 w 778"/>
                <a:gd name="T55" fmla="*/ 370 h 751"/>
                <a:gd name="T56" fmla="*/ 730 w 778"/>
                <a:gd name="T57" fmla="*/ 325 h 751"/>
                <a:gd name="T58" fmla="*/ 743 w 778"/>
                <a:gd name="T59" fmla="*/ 322 h 751"/>
                <a:gd name="T60" fmla="*/ 761 w 778"/>
                <a:gd name="T61" fmla="*/ 326 h 751"/>
                <a:gd name="T62" fmla="*/ 774 w 778"/>
                <a:gd name="T63" fmla="*/ 339 h 751"/>
                <a:gd name="T64" fmla="*/ 778 w 778"/>
                <a:gd name="T65" fmla="*/ 353 h 751"/>
                <a:gd name="T66" fmla="*/ 774 w 778"/>
                <a:gd name="T67" fmla="*/ 370 h 751"/>
                <a:gd name="T68" fmla="*/ 760 w 778"/>
                <a:gd name="T69" fmla="*/ 384 h 751"/>
                <a:gd name="T70" fmla="*/ 726 w 778"/>
                <a:gd name="T71" fmla="*/ 403 h 751"/>
                <a:gd name="T72" fmla="*/ 680 w 778"/>
                <a:gd name="T73" fmla="*/ 438 h 751"/>
                <a:gd name="T74" fmla="*/ 637 w 778"/>
                <a:gd name="T75" fmla="*/ 477 h 751"/>
                <a:gd name="T76" fmla="*/ 569 w 778"/>
                <a:gd name="T77" fmla="*/ 562 h 751"/>
                <a:gd name="T78" fmla="*/ 519 w 778"/>
                <a:gd name="T79" fmla="*/ 644 h 751"/>
                <a:gd name="T80" fmla="*/ 483 w 778"/>
                <a:gd name="T81" fmla="*/ 718 h 751"/>
                <a:gd name="T82" fmla="*/ 476 w 778"/>
                <a:gd name="T83" fmla="*/ 735 h 751"/>
                <a:gd name="T84" fmla="*/ 466 w 778"/>
                <a:gd name="T85" fmla="*/ 745 h 751"/>
                <a:gd name="T86" fmla="*/ 452 w 778"/>
                <a:gd name="T87" fmla="*/ 751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78" h="751">
                  <a:moveTo>
                    <a:pt x="447" y="751"/>
                  </a:moveTo>
                  <a:lnTo>
                    <a:pt x="447" y="751"/>
                  </a:lnTo>
                  <a:lnTo>
                    <a:pt x="445" y="751"/>
                  </a:lnTo>
                  <a:lnTo>
                    <a:pt x="445" y="751"/>
                  </a:lnTo>
                  <a:lnTo>
                    <a:pt x="440" y="750"/>
                  </a:lnTo>
                  <a:lnTo>
                    <a:pt x="435" y="748"/>
                  </a:lnTo>
                  <a:lnTo>
                    <a:pt x="429" y="746"/>
                  </a:lnTo>
                  <a:lnTo>
                    <a:pt x="425" y="743"/>
                  </a:lnTo>
                  <a:lnTo>
                    <a:pt x="422" y="740"/>
                  </a:lnTo>
                  <a:lnTo>
                    <a:pt x="419" y="735"/>
                  </a:lnTo>
                  <a:lnTo>
                    <a:pt x="417" y="730"/>
                  </a:lnTo>
                  <a:lnTo>
                    <a:pt x="415" y="725"/>
                  </a:lnTo>
                  <a:lnTo>
                    <a:pt x="415" y="725"/>
                  </a:lnTo>
                  <a:lnTo>
                    <a:pt x="411" y="707"/>
                  </a:lnTo>
                  <a:lnTo>
                    <a:pt x="405" y="687"/>
                  </a:lnTo>
                  <a:lnTo>
                    <a:pt x="396" y="659"/>
                  </a:lnTo>
                  <a:lnTo>
                    <a:pt x="385" y="626"/>
                  </a:lnTo>
                  <a:lnTo>
                    <a:pt x="370" y="588"/>
                  </a:lnTo>
                  <a:lnTo>
                    <a:pt x="353" y="544"/>
                  </a:lnTo>
                  <a:lnTo>
                    <a:pt x="332" y="498"/>
                  </a:lnTo>
                  <a:lnTo>
                    <a:pt x="307" y="447"/>
                  </a:lnTo>
                  <a:lnTo>
                    <a:pt x="294" y="420"/>
                  </a:lnTo>
                  <a:lnTo>
                    <a:pt x="278" y="394"/>
                  </a:lnTo>
                  <a:lnTo>
                    <a:pt x="263" y="366"/>
                  </a:lnTo>
                  <a:lnTo>
                    <a:pt x="245" y="338"/>
                  </a:lnTo>
                  <a:lnTo>
                    <a:pt x="228" y="310"/>
                  </a:lnTo>
                  <a:lnTo>
                    <a:pt x="208" y="282"/>
                  </a:lnTo>
                  <a:lnTo>
                    <a:pt x="188" y="253"/>
                  </a:lnTo>
                  <a:lnTo>
                    <a:pt x="167" y="225"/>
                  </a:lnTo>
                  <a:lnTo>
                    <a:pt x="144" y="197"/>
                  </a:lnTo>
                  <a:lnTo>
                    <a:pt x="120" y="169"/>
                  </a:lnTo>
                  <a:lnTo>
                    <a:pt x="94" y="141"/>
                  </a:lnTo>
                  <a:lnTo>
                    <a:pt x="68" y="113"/>
                  </a:lnTo>
                  <a:lnTo>
                    <a:pt x="40" y="85"/>
                  </a:lnTo>
                  <a:lnTo>
                    <a:pt x="11" y="58"/>
                  </a:lnTo>
                  <a:lnTo>
                    <a:pt x="11" y="58"/>
                  </a:lnTo>
                  <a:lnTo>
                    <a:pt x="6" y="53"/>
                  </a:lnTo>
                  <a:lnTo>
                    <a:pt x="3" y="48"/>
                  </a:lnTo>
                  <a:lnTo>
                    <a:pt x="1" y="41"/>
                  </a:lnTo>
                  <a:lnTo>
                    <a:pt x="0" y="35"/>
                  </a:lnTo>
                  <a:lnTo>
                    <a:pt x="0" y="29"/>
                  </a:lnTo>
                  <a:lnTo>
                    <a:pt x="2" y="23"/>
                  </a:lnTo>
                  <a:lnTo>
                    <a:pt x="5" y="16"/>
                  </a:lnTo>
                  <a:lnTo>
                    <a:pt x="8" y="11"/>
                  </a:lnTo>
                  <a:lnTo>
                    <a:pt x="8" y="11"/>
                  </a:lnTo>
                  <a:lnTo>
                    <a:pt x="13" y="6"/>
                  </a:lnTo>
                  <a:lnTo>
                    <a:pt x="20" y="3"/>
                  </a:lnTo>
                  <a:lnTo>
                    <a:pt x="25" y="1"/>
                  </a:lnTo>
                  <a:lnTo>
                    <a:pt x="31" y="0"/>
                  </a:lnTo>
                  <a:lnTo>
                    <a:pt x="38" y="0"/>
                  </a:lnTo>
                  <a:lnTo>
                    <a:pt x="44" y="2"/>
                  </a:lnTo>
                  <a:lnTo>
                    <a:pt x="50" y="5"/>
                  </a:lnTo>
                  <a:lnTo>
                    <a:pt x="55" y="8"/>
                  </a:lnTo>
                  <a:lnTo>
                    <a:pt x="55" y="8"/>
                  </a:lnTo>
                  <a:lnTo>
                    <a:pt x="78" y="29"/>
                  </a:lnTo>
                  <a:lnTo>
                    <a:pt x="99" y="50"/>
                  </a:lnTo>
                  <a:lnTo>
                    <a:pt x="120" y="71"/>
                  </a:lnTo>
                  <a:lnTo>
                    <a:pt x="141" y="92"/>
                  </a:lnTo>
                  <a:lnTo>
                    <a:pt x="178" y="134"/>
                  </a:lnTo>
                  <a:lnTo>
                    <a:pt x="214" y="178"/>
                  </a:lnTo>
                  <a:lnTo>
                    <a:pt x="246" y="221"/>
                  </a:lnTo>
                  <a:lnTo>
                    <a:pt x="276" y="264"/>
                  </a:lnTo>
                  <a:lnTo>
                    <a:pt x="304" y="306"/>
                  </a:lnTo>
                  <a:lnTo>
                    <a:pt x="329" y="348"/>
                  </a:lnTo>
                  <a:lnTo>
                    <a:pt x="352" y="388"/>
                  </a:lnTo>
                  <a:lnTo>
                    <a:pt x="372" y="427"/>
                  </a:lnTo>
                  <a:lnTo>
                    <a:pt x="391" y="466"/>
                  </a:lnTo>
                  <a:lnTo>
                    <a:pt x="408" y="502"/>
                  </a:lnTo>
                  <a:lnTo>
                    <a:pt x="422" y="536"/>
                  </a:lnTo>
                  <a:lnTo>
                    <a:pt x="435" y="568"/>
                  </a:lnTo>
                  <a:lnTo>
                    <a:pt x="445" y="597"/>
                  </a:lnTo>
                  <a:lnTo>
                    <a:pt x="454" y="624"/>
                  </a:lnTo>
                  <a:lnTo>
                    <a:pt x="454" y="624"/>
                  </a:lnTo>
                  <a:lnTo>
                    <a:pt x="474" y="588"/>
                  </a:lnTo>
                  <a:lnTo>
                    <a:pt x="498" y="548"/>
                  </a:lnTo>
                  <a:lnTo>
                    <a:pt x="511" y="528"/>
                  </a:lnTo>
                  <a:lnTo>
                    <a:pt x="527" y="508"/>
                  </a:lnTo>
                  <a:lnTo>
                    <a:pt x="542" y="486"/>
                  </a:lnTo>
                  <a:lnTo>
                    <a:pt x="559" y="467"/>
                  </a:lnTo>
                  <a:lnTo>
                    <a:pt x="576" y="446"/>
                  </a:lnTo>
                  <a:lnTo>
                    <a:pt x="595" y="426"/>
                  </a:lnTo>
                  <a:lnTo>
                    <a:pt x="615" y="407"/>
                  </a:lnTo>
                  <a:lnTo>
                    <a:pt x="635" y="388"/>
                  </a:lnTo>
                  <a:lnTo>
                    <a:pt x="658" y="370"/>
                  </a:lnTo>
                  <a:lnTo>
                    <a:pt x="681" y="354"/>
                  </a:lnTo>
                  <a:lnTo>
                    <a:pt x="705" y="338"/>
                  </a:lnTo>
                  <a:lnTo>
                    <a:pt x="730" y="325"/>
                  </a:lnTo>
                  <a:lnTo>
                    <a:pt x="730" y="325"/>
                  </a:lnTo>
                  <a:lnTo>
                    <a:pt x="737" y="323"/>
                  </a:lnTo>
                  <a:lnTo>
                    <a:pt x="743" y="322"/>
                  </a:lnTo>
                  <a:lnTo>
                    <a:pt x="749" y="322"/>
                  </a:lnTo>
                  <a:lnTo>
                    <a:pt x="755" y="323"/>
                  </a:lnTo>
                  <a:lnTo>
                    <a:pt x="761" y="326"/>
                  </a:lnTo>
                  <a:lnTo>
                    <a:pt x="767" y="329"/>
                  </a:lnTo>
                  <a:lnTo>
                    <a:pt x="771" y="334"/>
                  </a:lnTo>
                  <a:lnTo>
                    <a:pt x="774" y="339"/>
                  </a:lnTo>
                  <a:lnTo>
                    <a:pt x="774" y="339"/>
                  </a:lnTo>
                  <a:lnTo>
                    <a:pt x="777" y="346"/>
                  </a:lnTo>
                  <a:lnTo>
                    <a:pt x="778" y="353"/>
                  </a:lnTo>
                  <a:lnTo>
                    <a:pt x="777" y="359"/>
                  </a:lnTo>
                  <a:lnTo>
                    <a:pt x="776" y="365"/>
                  </a:lnTo>
                  <a:lnTo>
                    <a:pt x="774" y="370"/>
                  </a:lnTo>
                  <a:lnTo>
                    <a:pt x="770" y="376"/>
                  </a:lnTo>
                  <a:lnTo>
                    <a:pt x="766" y="381"/>
                  </a:lnTo>
                  <a:lnTo>
                    <a:pt x="760" y="384"/>
                  </a:lnTo>
                  <a:lnTo>
                    <a:pt x="760" y="384"/>
                  </a:lnTo>
                  <a:lnTo>
                    <a:pt x="743" y="393"/>
                  </a:lnTo>
                  <a:lnTo>
                    <a:pt x="726" y="403"/>
                  </a:lnTo>
                  <a:lnTo>
                    <a:pt x="710" y="414"/>
                  </a:lnTo>
                  <a:lnTo>
                    <a:pt x="694" y="425"/>
                  </a:lnTo>
                  <a:lnTo>
                    <a:pt x="680" y="438"/>
                  </a:lnTo>
                  <a:lnTo>
                    <a:pt x="665" y="450"/>
                  </a:lnTo>
                  <a:lnTo>
                    <a:pt x="651" y="463"/>
                  </a:lnTo>
                  <a:lnTo>
                    <a:pt x="637" y="477"/>
                  </a:lnTo>
                  <a:lnTo>
                    <a:pt x="613" y="505"/>
                  </a:lnTo>
                  <a:lnTo>
                    <a:pt x="590" y="533"/>
                  </a:lnTo>
                  <a:lnTo>
                    <a:pt x="569" y="562"/>
                  </a:lnTo>
                  <a:lnTo>
                    <a:pt x="550" y="591"/>
                  </a:lnTo>
                  <a:lnTo>
                    <a:pt x="534" y="618"/>
                  </a:lnTo>
                  <a:lnTo>
                    <a:pt x="519" y="644"/>
                  </a:lnTo>
                  <a:lnTo>
                    <a:pt x="507" y="667"/>
                  </a:lnTo>
                  <a:lnTo>
                    <a:pt x="497" y="688"/>
                  </a:lnTo>
                  <a:lnTo>
                    <a:pt x="483" y="718"/>
                  </a:lnTo>
                  <a:lnTo>
                    <a:pt x="478" y="729"/>
                  </a:lnTo>
                  <a:lnTo>
                    <a:pt x="478" y="729"/>
                  </a:lnTo>
                  <a:lnTo>
                    <a:pt x="476" y="735"/>
                  </a:lnTo>
                  <a:lnTo>
                    <a:pt x="473" y="739"/>
                  </a:lnTo>
                  <a:lnTo>
                    <a:pt x="470" y="742"/>
                  </a:lnTo>
                  <a:lnTo>
                    <a:pt x="466" y="745"/>
                  </a:lnTo>
                  <a:lnTo>
                    <a:pt x="461" y="748"/>
                  </a:lnTo>
                  <a:lnTo>
                    <a:pt x="457" y="749"/>
                  </a:lnTo>
                  <a:lnTo>
                    <a:pt x="452" y="751"/>
                  </a:lnTo>
                  <a:lnTo>
                    <a:pt x="447" y="751"/>
                  </a:lnTo>
                  <a:lnTo>
                    <a:pt x="447" y="7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80" name="Freeform 51">
              <a:extLst>
                <a:ext uri="{FF2B5EF4-FFF2-40B4-BE49-F238E27FC236}">
                  <a16:creationId xmlns:a16="http://schemas.microsoft.com/office/drawing/2014/main" id="{CE583BB8-2FDD-BB0E-E11A-93141DC2CAF5}"/>
                </a:ext>
              </a:extLst>
            </p:cNvPr>
            <p:cNvSpPr>
              <a:spLocks noEditPoints="1"/>
            </p:cNvSpPr>
            <p:nvPr/>
          </p:nvSpPr>
          <p:spPr bwMode="auto">
            <a:xfrm>
              <a:off x="3395663" y="2019300"/>
              <a:ext cx="76200" cy="134938"/>
            </a:xfrm>
            <a:custGeom>
              <a:avLst/>
              <a:gdLst>
                <a:gd name="T0" fmla="*/ 297 w 330"/>
                <a:gd name="T1" fmla="*/ 595 h 595"/>
                <a:gd name="T2" fmla="*/ 33 w 330"/>
                <a:gd name="T3" fmla="*/ 595 h 595"/>
                <a:gd name="T4" fmla="*/ 33 w 330"/>
                <a:gd name="T5" fmla="*/ 595 h 595"/>
                <a:gd name="T6" fmla="*/ 26 w 330"/>
                <a:gd name="T7" fmla="*/ 594 h 595"/>
                <a:gd name="T8" fmla="*/ 20 w 330"/>
                <a:gd name="T9" fmla="*/ 592 h 595"/>
                <a:gd name="T10" fmla="*/ 14 w 330"/>
                <a:gd name="T11" fmla="*/ 589 h 595"/>
                <a:gd name="T12" fmla="*/ 9 w 330"/>
                <a:gd name="T13" fmla="*/ 586 h 595"/>
                <a:gd name="T14" fmla="*/ 5 w 330"/>
                <a:gd name="T15" fmla="*/ 581 h 595"/>
                <a:gd name="T16" fmla="*/ 2 w 330"/>
                <a:gd name="T17" fmla="*/ 574 h 595"/>
                <a:gd name="T18" fmla="*/ 0 w 330"/>
                <a:gd name="T19" fmla="*/ 568 h 595"/>
                <a:gd name="T20" fmla="*/ 0 w 330"/>
                <a:gd name="T21" fmla="*/ 562 h 595"/>
                <a:gd name="T22" fmla="*/ 0 w 330"/>
                <a:gd name="T23" fmla="*/ 33 h 595"/>
                <a:gd name="T24" fmla="*/ 0 w 330"/>
                <a:gd name="T25" fmla="*/ 33 h 595"/>
                <a:gd name="T26" fmla="*/ 0 w 330"/>
                <a:gd name="T27" fmla="*/ 26 h 595"/>
                <a:gd name="T28" fmla="*/ 2 w 330"/>
                <a:gd name="T29" fmla="*/ 20 h 595"/>
                <a:gd name="T30" fmla="*/ 5 w 330"/>
                <a:gd name="T31" fmla="*/ 15 h 595"/>
                <a:gd name="T32" fmla="*/ 9 w 330"/>
                <a:gd name="T33" fmla="*/ 9 h 595"/>
                <a:gd name="T34" fmla="*/ 14 w 330"/>
                <a:gd name="T35" fmla="*/ 5 h 595"/>
                <a:gd name="T36" fmla="*/ 20 w 330"/>
                <a:gd name="T37" fmla="*/ 2 h 595"/>
                <a:gd name="T38" fmla="*/ 26 w 330"/>
                <a:gd name="T39" fmla="*/ 1 h 595"/>
                <a:gd name="T40" fmla="*/ 33 w 330"/>
                <a:gd name="T41" fmla="*/ 0 h 595"/>
                <a:gd name="T42" fmla="*/ 297 w 330"/>
                <a:gd name="T43" fmla="*/ 0 h 595"/>
                <a:gd name="T44" fmla="*/ 297 w 330"/>
                <a:gd name="T45" fmla="*/ 0 h 595"/>
                <a:gd name="T46" fmla="*/ 304 w 330"/>
                <a:gd name="T47" fmla="*/ 1 h 595"/>
                <a:gd name="T48" fmla="*/ 310 w 330"/>
                <a:gd name="T49" fmla="*/ 2 h 595"/>
                <a:gd name="T50" fmla="*/ 316 w 330"/>
                <a:gd name="T51" fmla="*/ 5 h 595"/>
                <a:gd name="T52" fmla="*/ 321 w 330"/>
                <a:gd name="T53" fmla="*/ 9 h 595"/>
                <a:gd name="T54" fmla="*/ 325 w 330"/>
                <a:gd name="T55" fmla="*/ 15 h 595"/>
                <a:gd name="T56" fmla="*/ 328 w 330"/>
                <a:gd name="T57" fmla="*/ 20 h 595"/>
                <a:gd name="T58" fmla="*/ 330 w 330"/>
                <a:gd name="T59" fmla="*/ 26 h 595"/>
                <a:gd name="T60" fmla="*/ 330 w 330"/>
                <a:gd name="T61" fmla="*/ 33 h 595"/>
                <a:gd name="T62" fmla="*/ 330 w 330"/>
                <a:gd name="T63" fmla="*/ 562 h 595"/>
                <a:gd name="T64" fmla="*/ 330 w 330"/>
                <a:gd name="T65" fmla="*/ 562 h 595"/>
                <a:gd name="T66" fmla="*/ 330 w 330"/>
                <a:gd name="T67" fmla="*/ 568 h 595"/>
                <a:gd name="T68" fmla="*/ 328 w 330"/>
                <a:gd name="T69" fmla="*/ 574 h 595"/>
                <a:gd name="T70" fmla="*/ 325 w 330"/>
                <a:gd name="T71" fmla="*/ 581 h 595"/>
                <a:gd name="T72" fmla="*/ 321 w 330"/>
                <a:gd name="T73" fmla="*/ 586 h 595"/>
                <a:gd name="T74" fmla="*/ 316 w 330"/>
                <a:gd name="T75" fmla="*/ 589 h 595"/>
                <a:gd name="T76" fmla="*/ 310 w 330"/>
                <a:gd name="T77" fmla="*/ 592 h 595"/>
                <a:gd name="T78" fmla="*/ 304 w 330"/>
                <a:gd name="T79" fmla="*/ 594 h 595"/>
                <a:gd name="T80" fmla="*/ 297 w 330"/>
                <a:gd name="T81" fmla="*/ 595 h 595"/>
                <a:gd name="T82" fmla="*/ 297 w 330"/>
                <a:gd name="T83" fmla="*/ 595 h 595"/>
                <a:gd name="T84" fmla="*/ 66 w 330"/>
                <a:gd name="T85" fmla="*/ 529 h 595"/>
                <a:gd name="T86" fmla="*/ 264 w 330"/>
                <a:gd name="T87" fmla="*/ 529 h 595"/>
                <a:gd name="T88" fmla="*/ 264 w 330"/>
                <a:gd name="T89" fmla="*/ 66 h 595"/>
                <a:gd name="T90" fmla="*/ 66 w 330"/>
                <a:gd name="T91" fmla="*/ 66 h 595"/>
                <a:gd name="T92" fmla="*/ 66 w 330"/>
                <a:gd name="T93" fmla="*/ 529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595">
                  <a:moveTo>
                    <a:pt x="297" y="595"/>
                  </a:moveTo>
                  <a:lnTo>
                    <a:pt x="33" y="595"/>
                  </a:lnTo>
                  <a:lnTo>
                    <a:pt x="33" y="595"/>
                  </a:lnTo>
                  <a:lnTo>
                    <a:pt x="26" y="594"/>
                  </a:lnTo>
                  <a:lnTo>
                    <a:pt x="20" y="592"/>
                  </a:lnTo>
                  <a:lnTo>
                    <a:pt x="14" y="589"/>
                  </a:lnTo>
                  <a:lnTo>
                    <a:pt x="9" y="586"/>
                  </a:lnTo>
                  <a:lnTo>
                    <a:pt x="5" y="581"/>
                  </a:lnTo>
                  <a:lnTo>
                    <a:pt x="2" y="574"/>
                  </a:lnTo>
                  <a:lnTo>
                    <a:pt x="0" y="568"/>
                  </a:lnTo>
                  <a:lnTo>
                    <a:pt x="0" y="562"/>
                  </a:lnTo>
                  <a:lnTo>
                    <a:pt x="0" y="33"/>
                  </a:lnTo>
                  <a:lnTo>
                    <a:pt x="0" y="33"/>
                  </a:lnTo>
                  <a:lnTo>
                    <a:pt x="0" y="26"/>
                  </a:lnTo>
                  <a:lnTo>
                    <a:pt x="2" y="20"/>
                  </a:lnTo>
                  <a:lnTo>
                    <a:pt x="5" y="15"/>
                  </a:lnTo>
                  <a:lnTo>
                    <a:pt x="9" y="9"/>
                  </a:lnTo>
                  <a:lnTo>
                    <a:pt x="14" y="5"/>
                  </a:lnTo>
                  <a:lnTo>
                    <a:pt x="20" y="2"/>
                  </a:lnTo>
                  <a:lnTo>
                    <a:pt x="26" y="1"/>
                  </a:lnTo>
                  <a:lnTo>
                    <a:pt x="33" y="0"/>
                  </a:lnTo>
                  <a:lnTo>
                    <a:pt x="297" y="0"/>
                  </a:lnTo>
                  <a:lnTo>
                    <a:pt x="297" y="0"/>
                  </a:lnTo>
                  <a:lnTo>
                    <a:pt x="304" y="1"/>
                  </a:lnTo>
                  <a:lnTo>
                    <a:pt x="310" y="2"/>
                  </a:lnTo>
                  <a:lnTo>
                    <a:pt x="316" y="5"/>
                  </a:lnTo>
                  <a:lnTo>
                    <a:pt x="321" y="9"/>
                  </a:lnTo>
                  <a:lnTo>
                    <a:pt x="325" y="15"/>
                  </a:lnTo>
                  <a:lnTo>
                    <a:pt x="328" y="20"/>
                  </a:lnTo>
                  <a:lnTo>
                    <a:pt x="330" y="26"/>
                  </a:lnTo>
                  <a:lnTo>
                    <a:pt x="330" y="33"/>
                  </a:lnTo>
                  <a:lnTo>
                    <a:pt x="330" y="562"/>
                  </a:lnTo>
                  <a:lnTo>
                    <a:pt x="330" y="562"/>
                  </a:lnTo>
                  <a:lnTo>
                    <a:pt x="330" y="568"/>
                  </a:lnTo>
                  <a:lnTo>
                    <a:pt x="328" y="574"/>
                  </a:lnTo>
                  <a:lnTo>
                    <a:pt x="325" y="581"/>
                  </a:lnTo>
                  <a:lnTo>
                    <a:pt x="321" y="586"/>
                  </a:lnTo>
                  <a:lnTo>
                    <a:pt x="316" y="589"/>
                  </a:lnTo>
                  <a:lnTo>
                    <a:pt x="310" y="592"/>
                  </a:lnTo>
                  <a:lnTo>
                    <a:pt x="304" y="594"/>
                  </a:lnTo>
                  <a:lnTo>
                    <a:pt x="297" y="595"/>
                  </a:lnTo>
                  <a:lnTo>
                    <a:pt x="297" y="595"/>
                  </a:lnTo>
                  <a:close/>
                  <a:moveTo>
                    <a:pt x="66" y="529"/>
                  </a:moveTo>
                  <a:lnTo>
                    <a:pt x="264" y="529"/>
                  </a:lnTo>
                  <a:lnTo>
                    <a:pt x="264" y="66"/>
                  </a:lnTo>
                  <a:lnTo>
                    <a:pt x="66" y="66"/>
                  </a:lnTo>
                  <a:lnTo>
                    <a:pt x="66" y="5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81" name="Freeform 52">
              <a:extLst>
                <a:ext uri="{FF2B5EF4-FFF2-40B4-BE49-F238E27FC236}">
                  <a16:creationId xmlns:a16="http://schemas.microsoft.com/office/drawing/2014/main" id="{03BDAD73-AFE4-0D44-0154-A52BC262BC28}"/>
                </a:ext>
              </a:extLst>
            </p:cNvPr>
            <p:cNvSpPr>
              <a:spLocks/>
            </p:cNvSpPr>
            <p:nvPr/>
          </p:nvSpPr>
          <p:spPr bwMode="auto">
            <a:xfrm>
              <a:off x="3455988" y="2062163"/>
              <a:ext cx="300038" cy="106363"/>
            </a:xfrm>
            <a:custGeom>
              <a:avLst/>
              <a:gdLst>
                <a:gd name="T0" fmla="*/ 562 w 1322"/>
                <a:gd name="T1" fmla="*/ 467 h 468"/>
                <a:gd name="T2" fmla="*/ 512 w 1322"/>
                <a:gd name="T3" fmla="*/ 462 h 468"/>
                <a:gd name="T4" fmla="*/ 396 w 1322"/>
                <a:gd name="T5" fmla="*/ 432 h 468"/>
                <a:gd name="T6" fmla="*/ 240 w 1322"/>
                <a:gd name="T7" fmla="*/ 379 h 468"/>
                <a:gd name="T8" fmla="*/ 23 w 1322"/>
                <a:gd name="T9" fmla="*/ 304 h 468"/>
                <a:gd name="T10" fmla="*/ 7 w 1322"/>
                <a:gd name="T11" fmla="*/ 293 h 468"/>
                <a:gd name="T12" fmla="*/ 0 w 1322"/>
                <a:gd name="T13" fmla="*/ 276 h 468"/>
                <a:gd name="T14" fmla="*/ 2 w 1322"/>
                <a:gd name="T15" fmla="*/ 262 h 468"/>
                <a:gd name="T16" fmla="*/ 13 w 1322"/>
                <a:gd name="T17" fmla="*/ 247 h 468"/>
                <a:gd name="T18" fmla="*/ 31 w 1322"/>
                <a:gd name="T19" fmla="*/ 239 h 468"/>
                <a:gd name="T20" fmla="*/ 43 w 1322"/>
                <a:gd name="T21" fmla="*/ 242 h 468"/>
                <a:gd name="T22" fmla="*/ 262 w 1322"/>
                <a:gd name="T23" fmla="*/ 316 h 468"/>
                <a:gd name="T24" fmla="*/ 462 w 1322"/>
                <a:gd name="T25" fmla="*/ 382 h 468"/>
                <a:gd name="T26" fmla="*/ 535 w 1322"/>
                <a:gd name="T27" fmla="*/ 397 h 468"/>
                <a:gd name="T28" fmla="*/ 582 w 1322"/>
                <a:gd name="T29" fmla="*/ 400 h 468"/>
                <a:gd name="T30" fmla="*/ 629 w 1322"/>
                <a:gd name="T31" fmla="*/ 395 h 468"/>
                <a:gd name="T32" fmla="*/ 678 w 1322"/>
                <a:gd name="T33" fmla="*/ 381 h 468"/>
                <a:gd name="T34" fmla="*/ 772 w 1322"/>
                <a:gd name="T35" fmla="*/ 341 h 468"/>
                <a:gd name="T36" fmla="*/ 925 w 1322"/>
                <a:gd name="T37" fmla="*/ 260 h 468"/>
                <a:gd name="T38" fmla="*/ 1231 w 1322"/>
                <a:gd name="T39" fmla="*/ 100 h 468"/>
                <a:gd name="T40" fmla="*/ 1196 w 1322"/>
                <a:gd name="T41" fmla="*/ 78 h 468"/>
                <a:gd name="T42" fmla="*/ 1147 w 1322"/>
                <a:gd name="T43" fmla="*/ 66 h 468"/>
                <a:gd name="T44" fmla="*/ 1100 w 1322"/>
                <a:gd name="T45" fmla="*/ 73 h 468"/>
                <a:gd name="T46" fmla="*/ 802 w 1322"/>
                <a:gd name="T47" fmla="*/ 171 h 468"/>
                <a:gd name="T48" fmla="*/ 783 w 1322"/>
                <a:gd name="T49" fmla="*/ 168 h 468"/>
                <a:gd name="T50" fmla="*/ 770 w 1322"/>
                <a:gd name="T51" fmla="*/ 155 h 468"/>
                <a:gd name="T52" fmla="*/ 765 w 1322"/>
                <a:gd name="T53" fmla="*/ 142 h 468"/>
                <a:gd name="T54" fmla="*/ 769 w 1322"/>
                <a:gd name="T55" fmla="*/ 124 h 468"/>
                <a:gd name="T56" fmla="*/ 781 w 1322"/>
                <a:gd name="T57" fmla="*/ 110 h 468"/>
                <a:gd name="T58" fmla="*/ 1080 w 1322"/>
                <a:gd name="T59" fmla="*/ 10 h 468"/>
                <a:gd name="T60" fmla="*/ 1128 w 1322"/>
                <a:gd name="T61" fmla="*/ 0 h 468"/>
                <a:gd name="T62" fmla="*/ 1172 w 1322"/>
                <a:gd name="T63" fmla="*/ 1 h 468"/>
                <a:gd name="T64" fmla="*/ 1215 w 1322"/>
                <a:gd name="T65" fmla="*/ 14 h 468"/>
                <a:gd name="T66" fmla="*/ 1256 w 1322"/>
                <a:gd name="T67" fmla="*/ 37 h 468"/>
                <a:gd name="T68" fmla="*/ 1299 w 1322"/>
                <a:gd name="T69" fmla="*/ 70 h 468"/>
                <a:gd name="T70" fmla="*/ 1317 w 1322"/>
                <a:gd name="T71" fmla="*/ 90 h 468"/>
                <a:gd name="T72" fmla="*/ 1322 w 1322"/>
                <a:gd name="T73" fmla="*/ 112 h 468"/>
                <a:gd name="T74" fmla="*/ 1316 w 1322"/>
                <a:gd name="T75" fmla="*/ 127 h 468"/>
                <a:gd name="T76" fmla="*/ 1304 w 1322"/>
                <a:gd name="T77" fmla="*/ 137 h 468"/>
                <a:gd name="T78" fmla="*/ 956 w 1322"/>
                <a:gd name="T79" fmla="*/ 318 h 468"/>
                <a:gd name="T80" fmla="*/ 831 w 1322"/>
                <a:gd name="T81" fmla="*/ 385 h 468"/>
                <a:gd name="T82" fmla="*/ 733 w 1322"/>
                <a:gd name="T83" fmla="*/ 432 h 468"/>
                <a:gd name="T84" fmla="*/ 671 w 1322"/>
                <a:gd name="T85" fmla="*/ 454 h 468"/>
                <a:gd name="T86" fmla="*/ 615 w 1322"/>
                <a:gd name="T87" fmla="*/ 465 h 468"/>
                <a:gd name="T88" fmla="*/ 577 w 1322"/>
                <a:gd name="T89"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2" h="468">
                  <a:moveTo>
                    <a:pt x="577" y="468"/>
                  </a:moveTo>
                  <a:lnTo>
                    <a:pt x="577" y="468"/>
                  </a:lnTo>
                  <a:lnTo>
                    <a:pt x="562" y="467"/>
                  </a:lnTo>
                  <a:lnTo>
                    <a:pt x="545" y="466"/>
                  </a:lnTo>
                  <a:lnTo>
                    <a:pt x="530" y="464"/>
                  </a:lnTo>
                  <a:lnTo>
                    <a:pt x="512" y="462"/>
                  </a:lnTo>
                  <a:lnTo>
                    <a:pt x="477" y="455"/>
                  </a:lnTo>
                  <a:lnTo>
                    <a:pt x="439" y="444"/>
                  </a:lnTo>
                  <a:lnTo>
                    <a:pt x="396" y="432"/>
                  </a:lnTo>
                  <a:lnTo>
                    <a:pt x="350" y="417"/>
                  </a:lnTo>
                  <a:lnTo>
                    <a:pt x="240" y="379"/>
                  </a:lnTo>
                  <a:lnTo>
                    <a:pt x="240" y="379"/>
                  </a:lnTo>
                  <a:lnTo>
                    <a:pt x="141" y="344"/>
                  </a:lnTo>
                  <a:lnTo>
                    <a:pt x="23" y="304"/>
                  </a:lnTo>
                  <a:lnTo>
                    <a:pt x="23" y="304"/>
                  </a:lnTo>
                  <a:lnTo>
                    <a:pt x="16" y="302"/>
                  </a:lnTo>
                  <a:lnTo>
                    <a:pt x="11" y="297"/>
                  </a:lnTo>
                  <a:lnTo>
                    <a:pt x="7" y="293"/>
                  </a:lnTo>
                  <a:lnTo>
                    <a:pt x="4" y="287"/>
                  </a:lnTo>
                  <a:lnTo>
                    <a:pt x="1" y="282"/>
                  </a:lnTo>
                  <a:lnTo>
                    <a:pt x="0" y="276"/>
                  </a:lnTo>
                  <a:lnTo>
                    <a:pt x="1" y="268"/>
                  </a:lnTo>
                  <a:lnTo>
                    <a:pt x="2" y="262"/>
                  </a:lnTo>
                  <a:lnTo>
                    <a:pt x="2" y="262"/>
                  </a:lnTo>
                  <a:lnTo>
                    <a:pt x="5" y="256"/>
                  </a:lnTo>
                  <a:lnTo>
                    <a:pt x="8" y="251"/>
                  </a:lnTo>
                  <a:lnTo>
                    <a:pt x="13" y="247"/>
                  </a:lnTo>
                  <a:lnTo>
                    <a:pt x="18" y="244"/>
                  </a:lnTo>
                  <a:lnTo>
                    <a:pt x="25" y="241"/>
                  </a:lnTo>
                  <a:lnTo>
                    <a:pt x="31" y="239"/>
                  </a:lnTo>
                  <a:lnTo>
                    <a:pt x="37" y="239"/>
                  </a:lnTo>
                  <a:lnTo>
                    <a:pt x="43" y="242"/>
                  </a:lnTo>
                  <a:lnTo>
                    <a:pt x="43" y="242"/>
                  </a:lnTo>
                  <a:lnTo>
                    <a:pt x="162" y="282"/>
                  </a:lnTo>
                  <a:lnTo>
                    <a:pt x="262" y="316"/>
                  </a:lnTo>
                  <a:lnTo>
                    <a:pt x="262" y="316"/>
                  </a:lnTo>
                  <a:lnTo>
                    <a:pt x="374" y="355"/>
                  </a:lnTo>
                  <a:lnTo>
                    <a:pt x="421" y="371"/>
                  </a:lnTo>
                  <a:lnTo>
                    <a:pt x="462" y="382"/>
                  </a:lnTo>
                  <a:lnTo>
                    <a:pt x="500" y="392"/>
                  </a:lnTo>
                  <a:lnTo>
                    <a:pt x="517" y="395"/>
                  </a:lnTo>
                  <a:lnTo>
                    <a:pt x="535" y="397"/>
                  </a:lnTo>
                  <a:lnTo>
                    <a:pt x="551" y="399"/>
                  </a:lnTo>
                  <a:lnTo>
                    <a:pt x="567" y="400"/>
                  </a:lnTo>
                  <a:lnTo>
                    <a:pt x="582" y="400"/>
                  </a:lnTo>
                  <a:lnTo>
                    <a:pt x="598" y="399"/>
                  </a:lnTo>
                  <a:lnTo>
                    <a:pt x="614" y="397"/>
                  </a:lnTo>
                  <a:lnTo>
                    <a:pt x="629" y="395"/>
                  </a:lnTo>
                  <a:lnTo>
                    <a:pt x="646" y="391"/>
                  </a:lnTo>
                  <a:lnTo>
                    <a:pt x="661" y="386"/>
                  </a:lnTo>
                  <a:lnTo>
                    <a:pt x="678" y="381"/>
                  </a:lnTo>
                  <a:lnTo>
                    <a:pt x="695" y="375"/>
                  </a:lnTo>
                  <a:lnTo>
                    <a:pt x="731" y="359"/>
                  </a:lnTo>
                  <a:lnTo>
                    <a:pt x="772" y="341"/>
                  </a:lnTo>
                  <a:lnTo>
                    <a:pt x="817" y="318"/>
                  </a:lnTo>
                  <a:lnTo>
                    <a:pt x="925" y="260"/>
                  </a:lnTo>
                  <a:lnTo>
                    <a:pt x="925" y="260"/>
                  </a:lnTo>
                  <a:lnTo>
                    <a:pt x="1061" y="188"/>
                  </a:lnTo>
                  <a:lnTo>
                    <a:pt x="1141" y="145"/>
                  </a:lnTo>
                  <a:lnTo>
                    <a:pt x="1231" y="100"/>
                  </a:lnTo>
                  <a:lnTo>
                    <a:pt x="1231" y="100"/>
                  </a:lnTo>
                  <a:lnTo>
                    <a:pt x="1213" y="87"/>
                  </a:lnTo>
                  <a:lnTo>
                    <a:pt x="1196" y="78"/>
                  </a:lnTo>
                  <a:lnTo>
                    <a:pt x="1180" y="71"/>
                  </a:lnTo>
                  <a:lnTo>
                    <a:pt x="1163" y="68"/>
                  </a:lnTo>
                  <a:lnTo>
                    <a:pt x="1147" y="66"/>
                  </a:lnTo>
                  <a:lnTo>
                    <a:pt x="1132" y="67"/>
                  </a:lnTo>
                  <a:lnTo>
                    <a:pt x="1116" y="69"/>
                  </a:lnTo>
                  <a:lnTo>
                    <a:pt x="1100" y="73"/>
                  </a:lnTo>
                  <a:lnTo>
                    <a:pt x="808" y="170"/>
                  </a:lnTo>
                  <a:lnTo>
                    <a:pt x="808" y="170"/>
                  </a:lnTo>
                  <a:lnTo>
                    <a:pt x="802" y="171"/>
                  </a:lnTo>
                  <a:lnTo>
                    <a:pt x="796" y="171"/>
                  </a:lnTo>
                  <a:lnTo>
                    <a:pt x="789" y="170"/>
                  </a:lnTo>
                  <a:lnTo>
                    <a:pt x="783" y="168"/>
                  </a:lnTo>
                  <a:lnTo>
                    <a:pt x="778" y="165"/>
                  </a:lnTo>
                  <a:lnTo>
                    <a:pt x="773" y="161"/>
                  </a:lnTo>
                  <a:lnTo>
                    <a:pt x="770" y="155"/>
                  </a:lnTo>
                  <a:lnTo>
                    <a:pt x="767" y="149"/>
                  </a:lnTo>
                  <a:lnTo>
                    <a:pt x="767" y="149"/>
                  </a:lnTo>
                  <a:lnTo>
                    <a:pt x="765" y="142"/>
                  </a:lnTo>
                  <a:lnTo>
                    <a:pt x="765" y="136"/>
                  </a:lnTo>
                  <a:lnTo>
                    <a:pt x="766" y="130"/>
                  </a:lnTo>
                  <a:lnTo>
                    <a:pt x="769" y="124"/>
                  </a:lnTo>
                  <a:lnTo>
                    <a:pt x="772" y="118"/>
                  </a:lnTo>
                  <a:lnTo>
                    <a:pt x="776" y="113"/>
                  </a:lnTo>
                  <a:lnTo>
                    <a:pt x="781" y="110"/>
                  </a:lnTo>
                  <a:lnTo>
                    <a:pt x="787" y="107"/>
                  </a:lnTo>
                  <a:lnTo>
                    <a:pt x="1080" y="10"/>
                  </a:lnTo>
                  <a:lnTo>
                    <a:pt x="1080" y="10"/>
                  </a:lnTo>
                  <a:lnTo>
                    <a:pt x="1097" y="6"/>
                  </a:lnTo>
                  <a:lnTo>
                    <a:pt x="1112" y="3"/>
                  </a:lnTo>
                  <a:lnTo>
                    <a:pt x="1128" y="0"/>
                  </a:lnTo>
                  <a:lnTo>
                    <a:pt x="1143" y="0"/>
                  </a:lnTo>
                  <a:lnTo>
                    <a:pt x="1158" y="0"/>
                  </a:lnTo>
                  <a:lnTo>
                    <a:pt x="1172" y="1"/>
                  </a:lnTo>
                  <a:lnTo>
                    <a:pt x="1187" y="5"/>
                  </a:lnTo>
                  <a:lnTo>
                    <a:pt x="1200" y="9"/>
                  </a:lnTo>
                  <a:lnTo>
                    <a:pt x="1215" y="14"/>
                  </a:lnTo>
                  <a:lnTo>
                    <a:pt x="1228" y="20"/>
                  </a:lnTo>
                  <a:lnTo>
                    <a:pt x="1243" y="27"/>
                  </a:lnTo>
                  <a:lnTo>
                    <a:pt x="1256" y="37"/>
                  </a:lnTo>
                  <a:lnTo>
                    <a:pt x="1270" y="46"/>
                  </a:lnTo>
                  <a:lnTo>
                    <a:pt x="1284" y="57"/>
                  </a:lnTo>
                  <a:lnTo>
                    <a:pt x="1299" y="70"/>
                  </a:lnTo>
                  <a:lnTo>
                    <a:pt x="1313" y="84"/>
                  </a:lnTo>
                  <a:lnTo>
                    <a:pt x="1313" y="84"/>
                  </a:lnTo>
                  <a:lnTo>
                    <a:pt x="1317" y="90"/>
                  </a:lnTo>
                  <a:lnTo>
                    <a:pt x="1321" y="98"/>
                  </a:lnTo>
                  <a:lnTo>
                    <a:pt x="1322" y="105"/>
                  </a:lnTo>
                  <a:lnTo>
                    <a:pt x="1322" y="112"/>
                  </a:lnTo>
                  <a:lnTo>
                    <a:pt x="1322" y="112"/>
                  </a:lnTo>
                  <a:lnTo>
                    <a:pt x="1320" y="120"/>
                  </a:lnTo>
                  <a:lnTo>
                    <a:pt x="1316" y="127"/>
                  </a:lnTo>
                  <a:lnTo>
                    <a:pt x="1311" y="133"/>
                  </a:lnTo>
                  <a:lnTo>
                    <a:pt x="1304" y="137"/>
                  </a:lnTo>
                  <a:lnTo>
                    <a:pt x="1304" y="137"/>
                  </a:lnTo>
                  <a:lnTo>
                    <a:pt x="1200" y="190"/>
                  </a:lnTo>
                  <a:lnTo>
                    <a:pt x="1108" y="237"/>
                  </a:lnTo>
                  <a:lnTo>
                    <a:pt x="956" y="318"/>
                  </a:lnTo>
                  <a:lnTo>
                    <a:pt x="956" y="318"/>
                  </a:lnTo>
                  <a:lnTo>
                    <a:pt x="890" y="354"/>
                  </a:lnTo>
                  <a:lnTo>
                    <a:pt x="831" y="385"/>
                  </a:lnTo>
                  <a:lnTo>
                    <a:pt x="779" y="411"/>
                  </a:lnTo>
                  <a:lnTo>
                    <a:pt x="755" y="422"/>
                  </a:lnTo>
                  <a:lnTo>
                    <a:pt x="733" y="432"/>
                  </a:lnTo>
                  <a:lnTo>
                    <a:pt x="712" y="440"/>
                  </a:lnTo>
                  <a:lnTo>
                    <a:pt x="691" y="447"/>
                  </a:lnTo>
                  <a:lnTo>
                    <a:pt x="671" y="454"/>
                  </a:lnTo>
                  <a:lnTo>
                    <a:pt x="652" y="459"/>
                  </a:lnTo>
                  <a:lnTo>
                    <a:pt x="633" y="463"/>
                  </a:lnTo>
                  <a:lnTo>
                    <a:pt x="615" y="465"/>
                  </a:lnTo>
                  <a:lnTo>
                    <a:pt x="596" y="467"/>
                  </a:lnTo>
                  <a:lnTo>
                    <a:pt x="577" y="468"/>
                  </a:lnTo>
                  <a:lnTo>
                    <a:pt x="577" y="4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82" name="Freeform 53">
              <a:extLst>
                <a:ext uri="{FF2B5EF4-FFF2-40B4-BE49-F238E27FC236}">
                  <a16:creationId xmlns:a16="http://schemas.microsoft.com/office/drawing/2014/main" id="{0B04B5C8-28B0-84AE-0896-FF7AA780CB41}"/>
                </a:ext>
              </a:extLst>
            </p:cNvPr>
            <p:cNvSpPr>
              <a:spLocks/>
            </p:cNvSpPr>
            <p:nvPr/>
          </p:nvSpPr>
          <p:spPr bwMode="auto">
            <a:xfrm>
              <a:off x="3455988" y="2035175"/>
              <a:ext cx="190500" cy="74613"/>
            </a:xfrm>
            <a:custGeom>
              <a:avLst/>
              <a:gdLst>
                <a:gd name="T0" fmla="*/ 364 w 839"/>
                <a:gd name="T1" fmla="*/ 330 h 330"/>
                <a:gd name="T2" fmla="*/ 345 w 839"/>
                <a:gd name="T3" fmla="*/ 325 h 330"/>
                <a:gd name="T4" fmla="*/ 333 w 839"/>
                <a:gd name="T5" fmla="*/ 311 h 330"/>
                <a:gd name="T6" fmla="*/ 331 w 839"/>
                <a:gd name="T7" fmla="*/ 297 h 330"/>
                <a:gd name="T8" fmla="*/ 336 w 839"/>
                <a:gd name="T9" fmla="*/ 279 h 330"/>
                <a:gd name="T10" fmla="*/ 351 w 839"/>
                <a:gd name="T11" fmla="*/ 267 h 330"/>
                <a:gd name="T12" fmla="*/ 727 w 839"/>
                <a:gd name="T13" fmla="*/ 264 h 330"/>
                <a:gd name="T14" fmla="*/ 749 w 839"/>
                <a:gd name="T15" fmla="*/ 261 h 330"/>
                <a:gd name="T16" fmla="*/ 768 w 839"/>
                <a:gd name="T17" fmla="*/ 249 h 330"/>
                <a:gd name="T18" fmla="*/ 773 w 839"/>
                <a:gd name="T19" fmla="*/ 231 h 330"/>
                <a:gd name="T20" fmla="*/ 771 w 839"/>
                <a:gd name="T21" fmla="*/ 220 h 330"/>
                <a:gd name="T22" fmla="*/ 757 w 839"/>
                <a:gd name="T23" fmla="*/ 205 h 330"/>
                <a:gd name="T24" fmla="*/ 727 w 839"/>
                <a:gd name="T25" fmla="*/ 198 h 330"/>
                <a:gd name="T26" fmla="*/ 522 w 839"/>
                <a:gd name="T27" fmla="*/ 198 h 330"/>
                <a:gd name="T28" fmla="*/ 506 w 839"/>
                <a:gd name="T29" fmla="*/ 189 h 330"/>
                <a:gd name="T30" fmla="*/ 467 w 839"/>
                <a:gd name="T31" fmla="*/ 154 h 330"/>
                <a:gd name="T32" fmla="*/ 423 w 839"/>
                <a:gd name="T33" fmla="*/ 123 h 330"/>
                <a:gd name="T34" fmla="*/ 368 w 839"/>
                <a:gd name="T35" fmla="*/ 95 h 330"/>
                <a:gd name="T36" fmla="*/ 304 w 839"/>
                <a:gd name="T37" fmla="*/ 75 h 330"/>
                <a:gd name="T38" fmla="*/ 232 w 839"/>
                <a:gd name="T39" fmla="*/ 67 h 330"/>
                <a:gd name="T40" fmla="*/ 27 w 839"/>
                <a:gd name="T41" fmla="*/ 65 h 330"/>
                <a:gd name="T42" fmla="*/ 10 w 839"/>
                <a:gd name="T43" fmla="*/ 56 h 330"/>
                <a:gd name="T44" fmla="*/ 1 w 839"/>
                <a:gd name="T45" fmla="*/ 40 h 330"/>
                <a:gd name="T46" fmla="*/ 1 w 839"/>
                <a:gd name="T47" fmla="*/ 26 h 330"/>
                <a:gd name="T48" fmla="*/ 10 w 839"/>
                <a:gd name="T49" fmla="*/ 10 h 330"/>
                <a:gd name="T50" fmla="*/ 27 w 839"/>
                <a:gd name="T51" fmla="*/ 0 h 330"/>
                <a:gd name="T52" fmla="*/ 232 w 839"/>
                <a:gd name="T53" fmla="*/ 0 h 330"/>
                <a:gd name="T54" fmla="*/ 312 w 839"/>
                <a:gd name="T55" fmla="*/ 9 h 330"/>
                <a:gd name="T56" fmla="*/ 383 w 839"/>
                <a:gd name="T57" fmla="*/ 29 h 330"/>
                <a:gd name="T58" fmla="*/ 444 w 839"/>
                <a:gd name="T59" fmla="*/ 59 h 330"/>
                <a:gd name="T60" fmla="*/ 494 w 839"/>
                <a:gd name="T61" fmla="*/ 92 h 330"/>
                <a:gd name="T62" fmla="*/ 727 w 839"/>
                <a:gd name="T63" fmla="*/ 133 h 330"/>
                <a:gd name="T64" fmla="*/ 753 w 839"/>
                <a:gd name="T65" fmla="*/ 135 h 330"/>
                <a:gd name="T66" fmla="*/ 786 w 839"/>
                <a:gd name="T67" fmla="*/ 145 h 330"/>
                <a:gd name="T68" fmla="*/ 811 w 839"/>
                <a:gd name="T69" fmla="*/ 164 h 330"/>
                <a:gd name="T70" fmla="*/ 829 w 839"/>
                <a:gd name="T71" fmla="*/ 187 h 330"/>
                <a:gd name="T72" fmla="*/ 838 w 839"/>
                <a:gd name="T73" fmla="*/ 213 h 330"/>
                <a:gd name="T74" fmla="*/ 839 w 839"/>
                <a:gd name="T75" fmla="*/ 231 h 330"/>
                <a:gd name="T76" fmla="*/ 835 w 839"/>
                <a:gd name="T77" fmla="*/ 259 h 330"/>
                <a:gd name="T78" fmla="*/ 824 w 839"/>
                <a:gd name="T79" fmla="*/ 285 h 330"/>
                <a:gd name="T80" fmla="*/ 804 w 839"/>
                <a:gd name="T81" fmla="*/ 307 h 330"/>
                <a:gd name="T82" fmla="*/ 776 w 839"/>
                <a:gd name="T83" fmla="*/ 322 h 330"/>
                <a:gd name="T84" fmla="*/ 741 w 839"/>
                <a:gd name="T8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39" h="330">
                  <a:moveTo>
                    <a:pt x="727" y="330"/>
                  </a:moveTo>
                  <a:lnTo>
                    <a:pt x="364" y="330"/>
                  </a:lnTo>
                  <a:lnTo>
                    <a:pt x="364" y="330"/>
                  </a:lnTo>
                  <a:lnTo>
                    <a:pt x="357" y="330"/>
                  </a:lnTo>
                  <a:lnTo>
                    <a:pt x="351" y="328"/>
                  </a:lnTo>
                  <a:lnTo>
                    <a:pt x="345" y="325"/>
                  </a:lnTo>
                  <a:lnTo>
                    <a:pt x="340" y="321"/>
                  </a:lnTo>
                  <a:lnTo>
                    <a:pt x="336" y="316"/>
                  </a:lnTo>
                  <a:lnTo>
                    <a:pt x="333" y="311"/>
                  </a:lnTo>
                  <a:lnTo>
                    <a:pt x="331" y="304"/>
                  </a:lnTo>
                  <a:lnTo>
                    <a:pt x="331" y="297"/>
                  </a:lnTo>
                  <a:lnTo>
                    <a:pt x="331" y="297"/>
                  </a:lnTo>
                  <a:lnTo>
                    <a:pt x="331" y="291"/>
                  </a:lnTo>
                  <a:lnTo>
                    <a:pt x="333" y="285"/>
                  </a:lnTo>
                  <a:lnTo>
                    <a:pt x="336" y="279"/>
                  </a:lnTo>
                  <a:lnTo>
                    <a:pt x="340" y="274"/>
                  </a:lnTo>
                  <a:lnTo>
                    <a:pt x="345" y="270"/>
                  </a:lnTo>
                  <a:lnTo>
                    <a:pt x="351" y="267"/>
                  </a:lnTo>
                  <a:lnTo>
                    <a:pt x="357" y="265"/>
                  </a:lnTo>
                  <a:lnTo>
                    <a:pt x="364" y="264"/>
                  </a:lnTo>
                  <a:lnTo>
                    <a:pt x="727" y="264"/>
                  </a:lnTo>
                  <a:lnTo>
                    <a:pt x="727" y="264"/>
                  </a:lnTo>
                  <a:lnTo>
                    <a:pt x="739" y="264"/>
                  </a:lnTo>
                  <a:lnTo>
                    <a:pt x="749" y="261"/>
                  </a:lnTo>
                  <a:lnTo>
                    <a:pt x="757" y="258"/>
                  </a:lnTo>
                  <a:lnTo>
                    <a:pt x="764" y="254"/>
                  </a:lnTo>
                  <a:lnTo>
                    <a:pt x="768" y="249"/>
                  </a:lnTo>
                  <a:lnTo>
                    <a:pt x="771" y="243"/>
                  </a:lnTo>
                  <a:lnTo>
                    <a:pt x="773" y="237"/>
                  </a:lnTo>
                  <a:lnTo>
                    <a:pt x="773" y="231"/>
                  </a:lnTo>
                  <a:lnTo>
                    <a:pt x="773" y="231"/>
                  </a:lnTo>
                  <a:lnTo>
                    <a:pt x="773" y="226"/>
                  </a:lnTo>
                  <a:lnTo>
                    <a:pt x="771" y="220"/>
                  </a:lnTo>
                  <a:lnTo>
                    <a:pt x="768" y="214"/>
                  </a:lnTo>
                  <a:lnTo>
                    <a:pt x="764" y="209"/>
                  </a:lnTo>
                  <a:lnTo>
                    <a:pt x="757" y="205"/>
                  </a:lnTo>
                  <a:lnTo>
                    <a:pt x="749" y="201"/>
                  </a:lnTo>
                  <a:lnTo>
                    <a:pt x="739" y="199"/>
                  </a:lnTo>
                  <a:lnTo>
                    <a:pt x="727" y="198"/>
                  </a:lnTo>
                  <a:lnTo>
                    <a:pt x="529" y="198"/>
                  </a:lnTo>
                  <a:lnTo>
                    <a:pt x="529" y="198"/>
                  </a:lnTo>
                  <a:lnTo>
                    <a:pt x="522" y="198"/>
                  </a:lnTo>
                  <a:lnTo>
                    <a:pt x="516" y="196"/>
                  </a:lnTo>
                  <a:lnTo>
                    <a:pt x="511" y="193"/>
                  </a:lnTo>
                  <a:lnTo>
                    <a:pt x="506" y="189"/>
                  </a:lnTo>
                  <a:lnTo>
                    <a:pt x="506" y="189"/>
                  </a:lnTo>
                  <a:lnTo>
                    <a:pt x="489" y="173"/>
                  </a:lnTo>
                  <a:lnTo>
                    <a:pt x="467" y="154"/>
                  </a:lnTo>
                  <a:lnTo>
                    <a:pt x="453" y="144"/>
                  </a:lnTo>
                  <a:lnTo>
                    <a:pt x="439" y="134"/>
                  </a:lnTo>
                  <a:lnTo>
                    <a:pt x="423" y="123"/>
                  </a:lnTo>
                  <a:lnTo>
                    <a:pt x="407" y="114"/>
                  </a:lnTo>
                  <a:lnTo>
                    <a:pt x="388" y="104"/>
                  </a:lnTo>
                  <a:lnTo>
                    <a:pt x="368" y="95"/>
                  </a:lnTo>
                  <a:lnTo>
                    <a:pt x="349" y="87"/>
                  </a:lnTo>
                  <a:lnTo>
                    <a:pt x="327" y="80"/>
                  </a:lnTo>
                  <a:lnTo>
                    <a:pt x="304" y="75"/>
                  </a:lnTo>
                  <a:lnTo>
                    <a:pt x="281" y="70"/>
                  </a:lnTo>
                  <a:lnTo>
                    <a:pt x="256" y="68"/>
                  </a:lnTo>
                  <a:lnTo>
                    <a:pt x="232" y="67"/>
                  </a:lnTo>
                  <a:lnTo>
                    <a:pt x="33" y="67"/>
                  </a:lnTo>
                  <a:lnTo>
                    <a:pt x="33" y="67"/>
                  </a:lnTo>
                  <a:lnTo>
                    <a:pt x="27" y="65"/>
                  </a:lnTo>
                  <a:lnTo>
                    <a:pt x="21" y="63"/>
                  </a:lnTo>
                  <a:lnTo>
                    <a:pt x="14" y="60"/>
                  </a:lnTo>
                  <a:lnTo>
                    <a:pt x="10" y="56"/>
                  </a:lnTo>
                  <a:lnTo>
                    <a:pt x="6" y="52"/>
                  </a:lnTo>
                  <a:lnTo>
                    <a:pt x="3" y="46"/>
                  </a:lnTo>
                  <a:lnTo>
                    <a:pt x="1" y="40"/>
                  </a:lnTo>
                  <a:lnTo>
                    <a:pt x="0" y="33"/>
                  </a:lnTo>
                  <a:lnTo>
                    <a:pt x="0" y="33"/>
                  </a:lnTo>
                  <a:lnTo>
                    <a:pt x="1" y="26"/>
                  </a:lnTo>
                  <a:lnTo>
                    <a:pt x="3" y="20"/>
                  </a:lnTo>
                  <a:lnTo>
                    <a:pt x="6" y="15"/>
                  </a:lnTo>
                  <a:lnTo>
                    <a:pt x="10" y="10"/>
                  </a:lnTo>
                  <a:lnTo>
                    <a:pt x="14" y="5"/>
                  </a:lnTo>
                  <a:lnTo>
                    <a:pt x="21" y="2"/>
                  </a:lnTo>
                  <a:lnTo>
                    <a:pt x="27" y="0"/>
                  </a:lnTo>
                  <a:lnTo>
                    <a:pt x="33" y="0"/>
                  </a:lnTo>
                  <a:lnTo>
                    <a:pt x="232" y="0"/>
                  </a:lnTo>
                  <a:lnTo>
                    <a:pt x="232" y="0"/>
                  </a:lnTo>
                  <a:lnTo>
                    <a:pt x="260" y="1"/>
                  </a:lnTo>
                  <a:lnTo>
                    <a:pt x="286" y="3"/>
                  </a:lnTo>
                  <a:lnTo>
                    <a:pt x="312" y="9"/>
                  </a:lnTo>
                  <a:lnTo>
                    <a:pt x="336" y="14"/>
                  </a:lnTo>
                  <a:lnTo>
                    <a:pt x="360" y="21"/>
                  </a:lnTo>
                  <a:lnTo>
                    <a:pt x="383" y="29"/>
                  </a:lnTo>
                  <a:lnTo>
                    <a:pt x="404" y="39"/>
                  </a:lnTo>
                  <a:lnTo>
                    <a:pt x="425" y="49"/>
                  </a:lnTo>
                  <a:lnTo>
                    <a:pt x="444" y="59"/>
                  </a:lnTo>
                  <a:lnTo>
                    <a:pt x="462" y="70"/>
                  </a:lnTo>
                  <a:lnTo>
                    <a:pt x="479" y="81"/>
                  </a:lnTo>
                  <a:lnTo>
                    <a:pt x="494" y="92"/>
                  </a:lnTo>
                  <a:lnTo>
                    <a:pt x="521" y="113"/>
                  </a:lnTo>
                  <a:lnTo>
                    <a:pt x="542" y="133"/>
                  </a:lnTo>
                  <a:lnTo>
                    <a:pt x="727" y="133"/>
                  </a:lnTo>
                  <a:lnTo>
                    <a:pt x="727" y="133"/>
                  </a:lnTo>
                  <a:lnTo>
                    <a:pt x="741" y="133"/>
                  </a:lnTo>
                  <a:lnTo>
                    <a:pt x="753" y="135"/>
                  </a:lnTo>
                  <a:lnTo>
                    <a:pt x="765" y="137"/>
                  </a:lnTo>
                  <a:lnTo>
                    <a:pt x="776" y="141"/>
                  </a:lnTo>
                  <a:lnTo>
                    <a:pt x="786" y="145"/>
                  </a:lnTo>
                  <a:lnTo>
                    <a:pt x="796" y="150"/>
                  </a:lnTo>
                  <a:lnTo>
                    <a:pt x="804" y="157"/>
                  </a:lnTo>
                  <a:lnTo>
                    <a:pt x="811" y="164"/>
                  </a:lnTo>
                  <a:lnTo>
                    <a:pt x="817" y="171"/>
                  </a:lnTo>
                  <a:lnTo>
                    <a:pt x="824" y="178"/>
                  </a:lnTo>
                  <a:lnTo>
                    <a:pt x="829" y="187"/>
                  </a:lnTo>
                  <a:lnTo>
                    <a:pt x="832" y="195"/>
                  </a:lnTo>
                  <a:lnTo>
                    <a:pt x="835" y="204"/>
                  </a:lnTo>
                  <a:lnTo>
                    <a:pt x="838" y="213"/>
                  </a:lnTo>
                  <a:lnTo>
                    <a:pt x="839" y="222"/>
                  </a:lnTo>
                  <a:lnTo>
                    <a:pt x="839" y="231"/>
                  </a:lnTo>
                  <a:lnTo>
                    <a:pt x="839" y="231"/>
                  </a:lnTo>
                  <a:lnTo>
                    <a:pt x="839" y="240"/>
                  </a:lnTo>
                  <a:lnTo>
                    <a:pt x="838" y="250"/>
                  </a:lnTo>
                  <a:lnTo>
                    <a:pt x="835" y="259"/>
                  </a:lnTo>
                  <a:lnTo>
                    <a:pt x="832" y="267"/>
                  </a:lnTo>
                  <a:lnTo>
                    <a:pt x="829" y="277"/>
                  </a:lnTo>
                  <a:lnTo>
                    <a:pt x="824" y="285"/>
                  </a:lnTo>
                  <a:lnTo>
                    <a:pt x="817" y="292"/>
                  </a:lnTo>
                  <a:lnTo>
                    <a:pt x="811" y="299"/>
                  </a:lnTo>
                  <a:lnTo>
                    <a:pt x="804" y="307"/>
                  </a:lnTo>
                  <a:lnTo>
                    <a:pt x="796" y="312"/>
                  </a:lnTo>
                  <a:lnTo>
                    <a:pt x="786" y="318"/>
                  </a:lnTo>
                  <a:lnTo>
                    <a:pt x="776" y="322"/>
                  </a:lnTo>
                  <a:lnTo>
                    <a:pt x="765" y="325"/>
                  </a:lnTo>
                  <a:lnTo>
                    <a:pt x="753" y="328"/>
                  </a:lnTo>
                  <a:lnTo>
                    <a:pt x="741" y="330"/>
                  </a:lnTo>
                  <a:lnTo>
                    <a:pt x="727" y="330"/>
                  </a:lnTo>
                  <a:lnTo>
                    <a:pt x="727"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83" name="Group 82">
            <a:extLst>
              <a:ext uri="{FF2B5EF4-FFF2-40B4-BE49-F238E27FC236}">
                <a16:creationId xmlns:a16="http://schemas.microsoft.com/office/drawing/2014/main" id="{4ED8E349-24AC-0404-6856-34B6188D9DC5}"/>
              </a:ext>
            </a:extLst>
          </p:cNvPr>
          <p:cNvGrpSpPr/>
          <p:nvPr/>
        </p:nvGrpSpPr>
        <p:grpSpPr>
          <a:xfrm>
            <a:off x="7766112" y="4282945"/>
            <a:ext cx="272126" cy="272126"/>
            <a:chOff x="2676525" y="1463676"/>
            <a:chExt cx="344488" cy="344488"/>
          </a:xfrm>
          <a:solidFill>
            <a:schemeClr val="bg1"/>
          </a:solidFill>
        </p:grpSpPr>
        <p:sp>
          <p:nvSpPr>
            <p:cNvPr id="84" name="Rectangle 780">
              <a:extLst>
                <a:ext uri="{FF2B5EF4-FFF2-40B4-BE49-F238E27FC236}">
                  <a16:creationId xmlns:a16="http://schemas.microsoft.com/office/drawing/2014/main" id="{9E89C250-EAC4-40E6-28C5-968FA2288C27}"/>
                </a:ext>
              </a:extLst>
            </p:cNvPr>
            <p:cNvSpPr>
              <a:spLocks noChangeArrowheads="1"/>
            </p:cNvSpPr>
            <p:nvPr/>
          </p:nvSpPr>
          <p:spPr bwMode="auto">
            <a:xfrm>
              <a:off x="2690813" y="1636713"/>
              <a:ext cx="15875"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85" name="Freeform 781">
              <a:extLst>
                <a:ext uri="{FF2B5EF4-FFF2-40B4-BE49-F238E27FC236}">
                  <a16:creationId xmlns:a16="http://schemas.microsoft.com/office/drawing/2014/main" id="{ECF97A39-91AD-465A-DAA8-82018641F5A0}"/>
                </a:ext>
              </a:extLst>
            </p:cNvPr>
            <p:cNvSpPr>
              <a:spLocks/>
            </p:cNvSpPr>
            <p:nvPr/>
          </p:nvSpPr>
          <p:spPr bwMode="auto">
            <a:xfrm>
              <a:off x="2684463" y="1763713"/>
              <a:ext cx="88900" cy="14288"/>
            </a:xfrm>
            <a:custGeom>
              <a:avLst/>
              <a:gdLst>
                <a:gd name="T0" fmla="*/ 363 w 396"/>
                <a:gd name="T1" fmla="*/ 66 h 66"/>
                <a:gd name="T2" fmla="*/ 33 w 396"/>
                <a:gd name="T3" fmla="*/ 66 h 66"/>
                <a:gd name="T4" fmla="*/ 33 w 396"/>
                <a:gd name="T5" fmla="*/ 66 h 66"/>
                <a:gd name="T6" fmla="*/ 26 w 396"/>
                <a:gd name="T7" fmla="*/ 65 h 66"/>
                <a:gd name="T8" fmla="*/ 20 w 396"/>
                <a:gd name="T9" fmla="*/ 64 h 66"/>
                <a:gd name="T10" fmla="*/ 15 w 396"/>
                <a:gd name="T11" fmla="*/ 61 h 66"/>
                <a:gd name="T12" fmla="*/ 9 w 396"/>
                <a:gd name="T13" fmla="*/ 57 h 66"/>
                <a:gd name="T14" fmla="*/ 5 w 396"/>
                <a:gd name="T15" fmla="*/ 52 h 66"/>
                <a:gd name="T16" fmla="*/ 2 w 396"/>
                <a:gd name="T17" fmla="*/ 47 h 66"/>
                <a:gd name="T18" fmla="*/ 0 w 396"/>
                <a:gd name="T19" fmla="*/ 40 h 66"/>
                <a:gd name="T20" fmla="*/ 0 w 396"/>
                <a:gd name="T21" fmla="*/ 33 h 66"/>
                <a:gd name="T22" fmla="*/ 0 w 396"/>
                <a:gd name="T23" fmla="*/ 33 h 66"/>
                <a:gd name="T24" fmla="*/ 0 w 396"/>
                <a:gd name="T25" fmla="*/ 27 h 66"/>
                <a:gd name="T26" fmla="*/ 2 w 396"/>
                <a:gd name="T27" fmla="*/ 21 h 66"/>
                <a:gd name="T28" fmla="*/ 5 w 396"/>
                <a:gd name="T29" fmla="*/ 15 h 66"/>
                <a:gd name="T30" fmla="*/ 9 w 396"/>
                <a:gd name="T31" fmla="*/ 10 h 66"/>
                <a:gd name="T32" fmla="*/ 15 w 396"/>
                <a:gd name="T33" fmla="*/ 6 h 66"/>
                <a:gd name="T34" fmla="*/ 20 w 396"/>
                <a:gd name="T35" fmla="*/ 3 h 66"/>
                <a:gd name="T36" fmla="*/ 26 w 396"/>
                <a:gd name="T37" fmla="*/ 1 h 66"/>
                <a:gd name="T38" fmla="*/ 33 w 396"/>
                <a:gd name="T39" fmla="*/ 0 h 66"/>
                <a:gd name="T40" fmla="*/ 363 w 396"/>
                <a:gd name="T41" fmla="*/ 0 h 66"/>
                <a:gd name="T42" fmla="*/ 363 w 396"/>
                <a:gd name="T43" fmla="*/ 0 h 66"/>
                <a:gd name="T44" fmla="*/ 371 w 396"/>
                <a:gd name="T45" fmla="*/ 1 h 66"/>
                <a:gd name="T46" fmla="*/ 377 w 396"/>
                <a:gd name="T47" fmla="*/ 3 h 66"/>
                <a:gd name="T48" fmla="*/ 382 w 396"/>
                <a:gd name="T49" fmla="*/ 6 h 66"/>
                <a:gd name="T50" fmla="*/ 387 w 396"/>
                <a:gd name="T51" fmla="*/ 10 h 66"/>
                <a:gd name="T52" fmla="*/ 391 w 396"/>
                <a:gd name="T53" fmla="*/ 15 h 66"/>
                <a:gd name="T54" fmla="*/ 394 w 396"/>
                <a:gd name="T55" fmla="*/ 21 h 66"/>
                <a:gd name="T56" fmla="*/ 396 w 396"/>
                <a:gd name="T57" fmla="*/ 27 h 66"/>
                <a:gd name="T58" fmla="*/ 396 w 396"/>
                <a:gd name="T59" fmla="*/ 33 h 66"/>
                <a:gd name="T60" fmla="*/ 396 w 396"/>
                <a:gd name="T61" fmla="*/ 33 h 66"/>
                <a:gd name="T62" fmla="*/ 396 w 396"/>
                <a:gd name="T63" fmla="*/ 40 h 66"/>
                <a:gd name="T64" fmla="*/ 394 w 396"/>
                <a:gd name="T65" fmla="*/ 47 h 66"/>
                <a:gd name="T66" fmla="*/ 391 w 396"/>
                <a:gd name="T67" fmla="*/ 52 h 66"/>
                <a:gd name="T68" fmla="*/ 387 w 396"/>
                <a:gd name="T69" fmla="*/ 57 h 66"/>
                <a:gd name="T70" fmla="*/ 382 w 396"/>
                <a:gd name="T71" fmla="*/ 61 h 66"/>
                <a:gd name="T72" fmla="*/ 377 w 396"/>
                <a:gd name="T73" fmla="*/ 64 h 66"/>
                <a:gd name="T74" fmla="*/ 371 w 396"/>
                <a:gd name="T75" fmla="*/ 65 h 66"/>
                <a:gd name="T76" fmla="*/ 363 w 396"/>
                <a:gd name="T77" fmla="*/ 66 h 66"/>
                <a:gd name="T78" fmla="*/ 363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3" y="66"/>
                  </a:moveTo>
                  <a:lnTo>
                    <a:pt x="33" y="66"/>
                  </a:lnTo>
                  <a:lnTo>
                    <a:pt x="33" y="66"/>
                  </a:lnTo>
                  <a:lnTo>
                    <a:pt x="26" y="65"/>
                  </a:lnTo>
                  <a:lnTo>
                    <a:pt x="20" y="64"/>
                  </a:lnTo>
                  <a:lnTo>
                    <a:pt x="15" y="61"/>
                  </a:lnTo>
                  <a:lnTo>
                    <a:pt x="9" y="57"/>
                  </a:lnTo>
                  <a:lnTo>
                    <a:pt x="5" y="52"/>
                  </a:lnTo>
                  <a:lnTo>
                    <a:pt x="2" y="47"/>
                  </a:lnTo>
                  <a:lnTo>
                    <a:pt x="0" y="40"/>
                  </a:lnTo>
                  <a:lnTo>
                    <a:pt x="0" y="33"/>
                  </a:lnTo>
                  <a:lnTo>
                    <a:pt x="0" y="33"/>
                  </a:lnTo>
                  <a:lnTo>
                    <a:pt x="0" y="27"/>
                  </a:lnTo>
                  <a:lnTo>
                    <a:pt x="2" y="21"/>
                  </a:lnTo>
                  <a:lnTo>
                    <a:pt x="5" y="15"/>
                  </a:lnTo>
                  <a:lnTo>
                    <a:pt x="9" y="10"/>
                  </a:lnTo>
                  <a:lnTo>
                    <a:pt x="15" y="6"/>
                  </a:lnTo>
                  <a:lnTo>
                    <a:pt x="20" y="3"/>
                  </a:lnTo>
                  <a:lnTo>
                    <a:pt x="26" y="1"/>
                  </a:lnTo>
                  <a:lnTo>
                    <a:pt x="33" y="0"/>
                  </a:lnTo>
                  <a:lnTo>
                    <a:pt x="363" y="0"/>
                  </a:lnTo>
                  <a:lnTo>
                    <a:pt x="363" y="0"/>
                  </a:lnTo>
                  <a:lnTo>
                    <a:pt x="371" y="1"/>
                  </a:lnTo>
                  <a:lnTo>
                    <a:pt x="377" y="3"/>
                  </a:lnTo>
                  <a:lnTo>
                    <a:pt x="382" y="6"/>
                  </a:lnTo>
                  <a:lnTo>
                    <a:pt x="387" y="10"/>
                  </a:lnTo>
                  <a:lnTo>
                    <a:pt x="391" y="15"/>
                  </a:lnTo>
                  <a:lnTo>
                    <a:pt x="394" y="21"/>
                  </a:lnTo>
                  <a:lnTo>
                    <a:pt x="396" y="27"/>
                  </a:lnTo>
                  <a:lnTo>
                    <a:pt x="396" y="33"/>
                  </a:lnTo>
                  <a:lnTo>
                    <a:pt x="396" y="33"/>
                  </a:lnTo>
                  <a:lnTo>
                    <a:pt x="396" y="40"/>
                  </a:lnTo>
                  <a:lnTo>
                    <a:pt x="394" y="47"/>
                  </a:lnTo>
                  <a:lnTo>
                    <a:pt x="391" y="52"/>
                  </a:lnTo>
                  <a:lnTo>
                    <a:pt x="387" y="57"/>
                  </a:lnTo>
                  <a:lnTo>
                    <a:pt x="382" y="61"/>
                  </a:lnTo>
                  <a:lnTo>
                    <a:pt x="377" y="64"/>
                  </a:lnTo>
                  <a:lnTo>
                    <a:pt x="371" y="65"/>
                  </a:lnTo>
                  <a:lnTo>
                    <a:pt x="363" y="66"/>
                  </a:lnTo>
                  <a:lnTo>
                    <a:pt x="3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86" name="Freeform 782">
              <a:extLst>
                <a:ext uri="{FF2B5EF4-FFF2-40B4-BE49-F238E27FC236}">
                  <a16:creationId xmlns:a16="http://schemas.microsoft.com/office/drawing/2014/main" id="{C4C3383C-A8E0-9FFC-3F09-EE3437042F4E}"/>
                </a:ext>
              </a:extLst>
            </p:cNvPr>
            <p:cNvSpPr>
              <a:spLocks/>
            </p:cNvSpPr>
            <p:nvPr/>
          </p:nvSpPr>
          <p:spPr bwMode="auto">
            <a:xfrm>
              <a:off x="2676525" y="1793876"/>
              <a:ext cx="344488" cy="14288"/>
            </a:xfrm>
            <a:custGeom>
              <a:avLst/>
              <a:gdLst>
                <a:gd name="T0" fmla="*/ 1488 w 1521"/>
                <a:gd name="T1" fmla="*/ 66 h 66"/>
                <a:gd name="T2" fmla="*/ 33 w 1521"/>
                <a:gd name="T3" fmla="*/ 66 h 66"/>
                <a:gd name="T4" fmla="*/ 33 w 1521"/>
                <a:gd name="T5" fmla="*/ 66 h 66"/>
                <a:gd name="T6" fmla="*/ 26 w 1521"/>
                <a:gd name="T7" fmla="*/ 65 h 66"/>
                <a:gd name="T8" fmla="*/ 20 w 1521"/>
                <a:gd name="T9" fmla="*/ 63 h 66"/>
                <a:gd name="T10" fmla="*/ 14 w 1521"/>
                <a:gd name="T11" fmla="*/ 60 h 66"/>
                <a:gd name="T12" fmla="*/ 9 w 1521"/>
                <a:gd name="T13" fmla="*/ 56 h 66"/>
                <a:gd name="T14" fmla="*/ 5 w 1521"/>
                <a:gd name="T15" fmla="*/ 51 h 66"/>
                <a:gd name="T16" fmla="*/ 2 w 1521"/>
                <a:gd name="T17" fmla="*/ 45 h 66"/>
                <a:gd name="T18" fmla="*/ 0 w 1521"/>
                <a:gd name="T19" fmla="*/ 39 h 66"/>
                <a:gd name="T20" fmla="*/ 0 w 1521"/>
                <a:gd name="T21" fmla="*/ 33 h 66"/>
                <a:gd name="T22" fmla="*/ 0 w 1521"/>
                <a:gd name="T23" fmla="*/ 33 h 66"/>
                <a:gd name="T24" fmla="*/ 0 w 1521"/>
                <a:gd name="T25" fmla="*/ 26 h 66"/>
                <a:gd name="T26" fmla="*/ 2 w 1521"/>
                <a:gd name="T27" fmla="*/ 20 h 66"/>
                <a:gd name="T28" fmla="*/ 5 w 1521"/>
                <a:gd name="T29" fmla="*/ 14 h 66"/>
                <a:gd name="T30" fmla="*/ 9 w 1521"/>
                <a:gd name="T31" fmla="*/ 9 h 66"/>
                <a:gd name="T32" fmla="*/ 14 w 1521"/>
                <a:gd name="T33" fmla="*/ 5 h 66"/>
                <a:gd name="T34" fmla="*/ 20 w 1521"/>
                <a:gd name="T35" fmla="*/ 3 h 66"/>
                <a:gd name="T36" fmla="*/ 26 w 1521"/>
                <a:gd name="T37" fmla="*/ 1 h 66"/>
                <a:gd name="T38" fmla="*/ 33 w 1521"/>
                <a:gd name="T39" fmla="*/ 0 h 66"/>
                <a:gd name="T40" fmla="*/ 1488 w 1521"/>
                <a:gd name="T41" fmla="*/ 0 h 66"/>
                <a:gd name="T42" fmla="*/ 1488 w 1521"/>
                <a:gd name="T43" fmla="*/ 0 h 66"/>
                <a:gd name="T44" fmla="*/ 1494 w 1521"/>
                <a:gd name="T45" fmla="*/ 1 h 66"/>
                <a:gd name="T46" fmla="*/ 1501 w 1521"/>
                <a:gd name="T47" fmla="*/ 3 h 66"/>
                <a:gd name="T48" fmla="*/ 1507 w 1521"/>
                <a:gd name="T49" fmla="*/ 5 h 66"/>
                <a:gd name="T50" fmla="*/ 1511 w 1521"/>
                <a:gd name="T51" fmla="*/ 9 h 66"/>
                <a:gd name="T52" fmla="*/ 1515 w 1521"/>
                <a:gd name="T53" fmla="*/ 14 h 66"/>
                <a:gd name="T54" fmla="*/ 1518 w 1521"/>
                <a:gd name="T55" fmla="*/ 20 h 66"/>
                <a:gd name="T56" fmla="*/ 1520 w 1521"/>
                <a:gd name="T57" fmla="*/ 26 h 66"/>
                <a:gd name="T58" fmla="*/ 1521 w 1521"/>
                <a:gd name="T59" fmla="*/ 33 h 66"/>
                <a:gd name="T60" fmla="*/ 1521 w 1521"/>
                <a:gd name="T61" fmla="*/ 33 h 66"/>
                <a:gd name="T62" fmla="*/ 1520 w 1521"/>
                <a:gd name="T63" fmla="*/ 39 h 66"/>
                <a:gd name="T64" fmla="*/ 1518 w 1521"/>
                <a:gd name="T65" fmla="*/ 45 h 66"/>
                <a:gd name="T66" fmla="*/ 1515 w 1521"/>
                <a:gd name="T67" fmla="*/ 51 h 66"/>
                <a:gd name="T68" fmla="*/ 1511 w 1521"/>
                <a:gd name="T69" fmla="*/ 56 h 66"/>
                <a:gd name="T70" fmla="*/ 1507 w 1521"/>
                <a:gd name="T71" fmla="*/ 60 h 66"/>
                <a:gd name="T72" fmla="*/ 1501 w 1521"/>
                <a:gd name="T73" fmla="*/ 63 h 66"/>
                <a:gd name="T74" fmla="*/ 1494 w 1521"/>
                <a:gd name="T75" fmla="*/ 65 h 66"/>
                <a:gd name="T76" fmla="*/ 1488 w 1521"/>
                <a:gd name="T77" fmla="*/ 66 h 66"/>
                <a:gd name="T78" fmla="*/ 1488 w 1521"/>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21" h="66">
                  <a:moveTo>
                    <a:pt x="1488" y="66"/>
                  </a:moveTo>
                  <a:lnTo>
                    <a:pt x="33" y="66"/>
                  </a:lnTo>
                  <a:lnTo>
                    <a:pt x="33" y="66"/>
                  </a:lnTo>
                  <a:lnTo>
                    <a:pt x="26" y="65"/>
                  </a:lnTo>
                  <a:lnTo>
                    <a:pt x="20" y="63"/>
                  </a:lnTo>
                  <a:lnTo>
                    <a:pt x="14" y="60"/>
                  </a:lnTo>
                  <a:lnTo>
                    <a:pt x="9" y="56"/>
                  </a:lnTo>
                  <a:lnTo>
                    <a:pt x="5" y="51"/>
                  </a:lnTo>
                  <a:lnTo>
                    <a:pt x="2" y="45"/>
                  </a:lnTo>
                  <a:lnTo>
                    <a:pt x="0" y="39"/>
                  </a:lnTo>
                  <a:lnTo>
                    <a:pt x="0" y="33"/>
                  </a:lnTo>
                  <a:lnTo>
                    <a:pt x="0" y="33"/>
                  </a:lnTo>
                  <a:lnTo>
                    <a:pt x="0" y="26"/>
                  </a:lnTo>
                  <a:lnTo>
                    <a:pt x="2" y="20"/>
                  </a:lnTo>
                  <a:lnTo>
                    <a:pt x="5" y="14"/>
                  </a:lnTo>
                  <a:lnTo>
                    <a:pt x="9" y="9"/>
                  </a:lnTo>
                  <a:lnTo>
                    <a:pt x="14" y="5"/>
                  </a:lnTo>
                  <a:lnTo>
                    <a:pt x="20" y="3"/>
                  </a:lnTo>
                  <a:lnTo>
                    <a:pt x="26" y="1"/>
                  </a:lnTo>
                  <a:lnTo>
                    <a:pt x="33" y="0"/>
                  </a:lnTo>
                  <a:lnTo>
                    <a:pt x="1488" y="0"/>
                  </a:lnTo>
                  <a:lnTo>
                    <a:pt x="1488" y="0"/>
                  </a:lnTo>
                  <a:lnTo>
                    <a:pt x="1494" y="1"/>
                  </a:lnTo>
                  <a:lnTo>
                    <a:pt x="1501" y="3"/>
                  </a:lnTo>
                  <a:lnTo>
                    <a:pt x="1507" y="5"/>
                  </a:lnTo>
                  <a:lnTo>
                    <a:pt x="1511" y="9"/>
                  </a:lnTo>
                  <a:lnTo>
                    <a:pt x="1515" y="14"/>
                  </a:lnTo>
                  <a:lnTo>
                    <a:pt x="1518" y="20"/>
                  </a:lnTo>
                  <a:lnTo>
                    <a:pt x="1520" y="26"/>
                  </a:lnTo>
                  <a:lnTo>
                    <a:pt x="1521" y="33"/>
                  </a:lnTo>
                  <a:lnTo>
                    <a:pt x="1521" y="33"/>
                  </a:lnTo>
                  <a:lnTo>
                    <a:pt x="1520" y="39"/>
                  </a:lnTo>
                  <a:lnTo>
                    <a:pt x="1518" y="45"/>
                  </a:lnTo>
                  <a:lnTo>
                    <a:pt x="1515" y="51"/>
                  </a:lnTo>
                  <a:lnTo>
                    <a:pt x="1511" y="56"/>
                  </a:lnTo>
                  <a:lnTo>
                    <a:pt x="1507" y="60"/>
                  </a:lnTo>
                  <a:lnTo>
                    <a:pt x="1501" y="63"/>
                  </a:lnTo>
                  <a:lnTo>
                    <a:pt x="1494" y="65"/>
                  </a:lnTo>
                  <a:lnTo>
                    <a:pt x="1488" y="66"/>
                  </a:lnTo>
                  <a:lnTo>
                    <a:pt x="1488"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87" name="Freeform 783">
              <a:extLst>
                <a:ext uri="{FF2B5EF4-FFF2-40B4-BE49-F238E27FC236}">
                  <a16:creationId xmlns:a16="http://schemas.microsoft.com/office/drawing/2014/main" id="{969D01A1-3134-7093-57A1-86CAC5BB2D94}"/>
                </a:ext>
              </a:extLst>
            </p:cNvPr>
            <p:cNvSpPr>
              <a:spLocks/>
            </p:cNvSpPr>
            <p:nvPr/>
          </p:nvSpPr>
          <p:spPr bwMode="auto">
            <a:xfrm>
              <a:off x="2684463" y="1628776"/>
              <a:ext cx="88900" cy="14288"/>
            </a:xfrm>
            <a:custGeom>
              <a:avLst/>
              <a:gdLst>
                <a:gd name="T0" fmla="*/ 363 w 396"/>
                <a:gd name="T1" fmla="*/ 66 h 66"/>
                <a:gd name="T2" fmla="*/ 33 w 396"/>
                <a:gd name="T3" fmla="*/ 66 h 66"/>
                <a:gd name="T4" fmla="*/ 33 w 396"/>
                <a:gd name="T5" fmla="*/ 66 h 66"/>
                <a:gd name="T6" fmla="*/ 26 w 396"/>
                <a:gd name="T7" fmla="*/ 65 h 66"/>
                <a:gd name="T8" fmla="*/ 20 w 396"/>
                <a:gd name="T9" fmla="*/ 63 h 66"/>
                <a:gd name="T10" fmla="*/ 15 w 396"/>
                <a:gd name="T11" fmla="*/ 61 h 66"/>
                <a:gd name="T12" fmla="*/ 9 w 396"/>
                <a:gd name="T13" fmla="*/ 57 h 66"/>
                <a:gd name="T14" fmla="*/ 5 w 396"/>
                <a:gd name="T15" fmla="*/ 52 h 66"/>
                <a:gd name="T16" fmla="*/ 2 w 396"/>
                <a:gd name="T17" fmla="*/ 45 h 66"/>
                <a:gd name="T18" fmla="*/ 0 w 396"/>
                <a:gd name="T19" fmla="*/ 39 h 66"/>
                <a:gd name="T20" fmla="*/ 0 w 396"/>
                <a:gd name="T21" fmla="*/ 33 h 66"/>
                <a:gd name="T22" fmla="*/ 0 w 396"/>
                <a:gd name="T23" fmla="*/ 33 h 66"/>
                <a:gd name="T24" fmla="*/ 0 w 396"/>
                <a:gd name="T25" fmla="*/ 27 h 66"/>
                <a:gd name="T26" fmla="*/ 2 w 396"/>
                <a:gd name="T27" fmla="*/ 21 h 66"/>
                <a:gd name="T28" fmla="*/ 5 w 396"/>
                <a:gd name="T29" fmla="*/ 14 h 66"/>
                <a:gd name="T30" fmla="*/ 9 w 396"/>
                <a:gd name="T31" fmla="*/ 9 h 66"/>
                <a:gd name="T32" fmla="*/ 15 w 396"/>
                <a:gd name="T33" fmla="*/ 6 h 66"/>
                <a:gd name="T34" fmla="*/ 20 w 396"/>
                <a:gd name="T35" fmla="*/ 3 h 66"/>
                <a:gd name="T36" fmla="*/ 26 w 396"/>
                <a:gd name="T37" fmla="*/ 1 h 66"/>
                <a:gd name="T38" fmla="*/ 33 w 396"/>
                <a:gd name="T39" fmla="*/ 0 h 66"/>
                <a:gd name="T40" fmla="*/ 363 w 396"/>
                <a:gd name="T41" fmla="*/ 0 h 66"/>
                <a:gd name="T42" fmla="*/ 363 w 396"/>
                <a:gd name="T43" fmla="*/ 0 h 66"/>
                <a:gd name="T44" fmla="*/ 371 w 396"/>
                <a:gd name="T45" fmla="*/ 1 h 66"/>
                <a:gd name="T46" fmla="*/ 377 w 396"/>
                <a:gd name="T47" fmla="*/ 3 h 66"/>
                <a:gd name="T48" fmla="*/ 382 w 396"/>
                <a:gd name="T49" fmla="*/ 6 h 66"/>
                <a:gd name="T50" fmla="*/ 387 w 396"/>
                <a:gd name="T51" fmla="*/ 9 h 66"/>
                <a:gd name="T52" fmla="*/ 391 w 396"/>
                <a:gd name="T53" fmla="*/ 14 h 66"/>
                <a:gd name="T54" fmla="*/ 394 w 396"/>
                <a:gd name="T55" fmla="*/ 21 h 66"/>
                <a:gd name="T56" fmla="*/ 396 w 396"/>
                <a:gd name="T57" fmla="*/ 27 h 66"/>
                <a:gd name="T58" fmla="*/ 396 w 396"/>
                <a:gd name="T59" fmla="*/ 33 h 66"/>
                <a:gd name="T60" fmla="*/ 396 w 396"/>
                <a:gd name="T61" fmla="*/ 33 h 66"/>
                <a:gd name="T62" fmla="*/ 396 w 396"/>
                <a:gd name="T63" fmla="*/ 39 h 66"/>
                <a:gd name="T64" fmla="*/ 394 w 396"/>
                <a:gd name="T65" fmla="*/ 45 h 66"/>
                <a:gd name="T66" fmla="*/ 391 w 396"/>
                <a:gd name="T67" fmla="*/ 52 h 66"/>
                <a:gd name="T68" fmla="*/ 387 w 396"/>
                <a:gd name="T69" fmla="*/ 57 h 66"/>
                <a:gd name="T70" fmla="*/ 382 w 396"/>
                <a:gd name="T71" fmla="*/ 61 h 66"/>
                <a:gd name="T72" fmla="*/ 377 w 396"/>
                <a:gd name="T73" fmla="*/ 63 h 66"/>
                <a:gd name="T74" fmla="*/ 371 w 396"/>
                <a:gd name="T75" fmla="*/ 65 h 66"/>
                <a:gd name="T76" fmla="*/ 363 w 396"/>
                <a:gd name="T77" fmla="*/ 66 h 66"/>
                <a:gd name="T78" fmla="*/ 363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3" y="66"/>
                  </a:moveTo>
                  <a:lnTo>
                    <a:pt x="33" y="66"/>
                  </a:lnTo>
                  <a:lnTo>
                    <a:pt x="33" y="66"/>
                  </a:lnTo>
                  <a:lnTo>
                    <a:pt x="26" y="65"/>
                  </a:lnTo>
                  <a:lnTo>
                    <a:pt x="20" y="63"/>
                  </a:lnTo>
                  <a:lnTo>
                    <a:pt x="15" y="61"/>
                  </a:lnTo>
                  <a:lnTo>
                    <a:pt x="9" y="57"/>
                  </a:lnTo>
                  <a:lnTo>
                    <a:pt x="5" y="52"/>
                  </a:lnTo>
                  <a:lnTo>
                    <a:pt x="2" y="45"/>
                  </a:lnTo>
                  <a:lnTo>
                    <a:pt x="0" y="39"/>
                  </a:lnTo>
                  <a:lnTo>
                    <a:pt x="0" y="33"/>
                  </a:lnTo>
                  <a:lnTo>
                    <a:pt x="0" y="33"/>
                  </a:lnTo>
                  <a:lnTo>
                    <a:pt x="0" y="27"/>
                  </a:lnTo>
                  <a:lnTo>
                    <a:pt x="2" y="21"/>
                  </a:lnTo>
                  <a:lnTo>
                    <a:pt x="5" y="14"/>
                  </a:lnTo>
                  <a:lnTo>
                    <a:pt x="9" y="9"/>
                  </a:lnTo>
                  <a:lnTo>
                    <a:pt x="15" y="6"/>
                  </a:lnTo>
                  <a:lnTo>
                    <a:pt x="20" y="3"/>
                  </a:lnTo>
                  <a:lnTo>
                    <a:pt x="26" y="1"/>
                  </a:lnTo>
                  <a:lnTo>
                    <a:pt x="33" y="0"/>
                  </a:lnTo>
                  <a:lnTo>
                    <a:pt x="363" y="0"/>
                  </a:lnTo>
                  <a:lnTo>
                    <a:pt x="363" y="0"/>
                  </a:lnTo>
                  <a:lnTo>
                    <a:pt x="371" y="1"/>
                  </a:lnTo>
                  <a:lnTo>
                    <a:pt x="377" y="3"/>
                  </a:lnTo>
                  <a:lnTo>
                    <a:pt x="382" y="6"/>
                  </a:lnTo>
                  <a:lnTo>
                    <a:pt x="387" y="9"/>
                  </a:lnTo>
                  <a:lnTo>
                    <a:pt x="391" y="14"/>
                  </a:lnTo>
                  <a:lnTo>
                    <a:pt x="394" y="21"/>
                  </a:lnTo>
                  <a:lnTo>
                    <a:pt x="396" y="27"/>
                  </a:lnTo>
                  <a:lnTo>
                    <a:pt x="396" y="33"/>
                  </a:lnTo>
                  <a:lnTo>
                    <a:pt x="396" y="33"/>
                  </a:lnTo>
                  <a:lnTo>
                    <a:pt x="396" y="39"/>
                  </a:lnTo>
                  <a:lnTo>
                    <a:pt x="394" y="45"/>
                  </a:lnTo>
                  <a:lnTo>
                    <a:pt x="391" y="52"/>
                  </a:lnTo>
                  <a:lnTo>
                    <a:pt x="387" y="57"/>
                  </a:lnTo>
                  <a:lnTo>
                    <a:pt x="382" y="61"/>
                  </a:lnTo>
                  <a:lnTo>
                    <a:pt x="377" y="63"/>
                  </a:lnTo>
                  <a:lnTo>
                    <a:pt x="371" y="65"/>
                  </a:lnTo>
                  <a:lnTo>
                    <a:pt x="363" y="66"/>
                  </a:lnTo>
                  <a:lnTo>
                    <a:pt x="3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88" name="Freeform 784">
              <a:extLst>
                <a:ext uri="{FF2B5EF4-FFF2-40B4-BE49-F238E27FC236}">
                  <a16:creationId xmlns:a16="http://schemas.microsoft.com/office/drawing/2014/main" id="{DCB65C6B-782C-8DB6-4CA5-799BDB1B61B3}"/>
                </a:ext>
              </a:extLst>
            </p:cNvPr>
            <p:cNvSpPr>
              <a:spLocks/>
            </p:cNvSpPr>
            <p:nvPr/>
          </p:nvSpPr>
          <p:spPr bwMode="auto">
            <a:xfrm>
              <a:off x="2803525" y="1763713"/>
              <a:ext cx="90488" cy="14288"/>
            </a:xfrm>
            <a:custGeom>
              <a:avLst/>
              <a:gdLst>
                <a:gd name="T0" fmla="*/ 364 w 396"/>
                <a:gd name="T1" fmla="*/ 66 h 66"/>
                <a:gd name="T2" fmla="*/ 33 w 396"/>
                <a:gd name="T3" fmla="*/ 66 h 66"/>
                <a:gd name="T4" fmla="*/ 33 w 396"/>
                <a:gd name="T5" fmla="*/ 66 h 66"/>
                <a:gd name="T6" fmla="*/ 27 w 396"/>
                <a:gd name="T7" fmla="*/ 65 h 66"/>
                <a:gd name="T8" fmla="*/ 21 w 396"/>
                <a:gd name="T9" fmla="*/ 64 h 66"/>
                <a:gd name="T10" fmla="*/ 14 w 396"/>
                <a:gd name="T11" fmla="*/ 61 h 66"/>
                <a:gd name="T12" fmla="*/ 9 w 396"/>
                <a:gd name="T13" fmla="*/ 57 h 66"/>
                <a:gd name="T14" fmla="*/ 5 w 396"/>
                <a:gd name="T15" fmla="*/ 52 h 66"/>
                <a:gd name="T16" fmla="*/ 3 w 396"/>
                <a:gd name="T17" fmla="*/ 47 h 66"/>
                <a:gd name="T18" fmla="*/ 1 w 396"/>
                <a:gd name="T19" fmla="*/ 40 h 66"/>
                <a:gd name="T20" fmla="*/ 0 w 396"/>
                <a:gd name="T21" fmla="*/ 33 h 66"/>
                <a:gd name="T22" fmla="*/ 0 w 396"/>
                <a:gd name="T23" fmla="*/ 33 h 66"/>
                <a:gd name="T24" fmla="*/ 1 w 396"/>
                <a:gd name="T25" fmla="*/ 27 h 66"/>
                <a:gd name="T26" fmla="*/ 3 w 396"/>
                <a:gd name="T27" fmla="*/ 21 h 66"/>
                <a:gd name="T28" fmla="*/ 5 w 396"/>
                <a:gd name="T29" fmla="*/ 15 h 66"/>
                <a:gd name="T30" fmla="*/ 9 w 396"/>
                <a:gd name="T31" fmla="*/ 10 h 66"/>
                <a:gd name="T32" fmla="*/ 14 w 396"/>
                <a:gd name="T33" fmla="*/ 6 h 66"/>
                <a:gd name="T34" fmla="*/ 21 w 396"/>
                <a:gd name="T35" fmla="*/ 3 h 66"/>
                <a:gd name="T36" fmla="*/ 27 w 396"/>
                <a:gd name="T37" fmla="*/ 1 h 66"/>
                <a:gd name="T38" fmla="*/ 33 w 396"/>
                <a:gd name="T39" fmla="*/ 0 h 66"/>
                <a:gd name="T40" fmla="*/ 364 w 396"/>
                <a:gd name="T41" fmla="*/ 0 h 66"/>
                <a:gd name="T42" fmla="*/ 364 w 396"/>
                <a:gd name="T43" fmla="*/ 0 h 66"/>
                <a:gd name="T44" fmla="*/ 370 w 396"/>
                <a:gd name="T45" fmla="*/ 1 h 66"/>
                <a:gd name="T46" fmla="*/ 377 w 396"/>
                <a:gd name="T47" fmla="*/ 3 h 66"/>
                <a:gd name="T48" fmla="*/ 382 w 396"/>
                <a:gd name="T49" fmla="*/ 6 h 66"/>
                <a:gd name="T50" fmla="*/ 387 w 396"/>
                <a:gd name="T51" fmla="*/ 10 h 66"/>
                <a:gd name="T52" fmla="*/ 391 w 396"/>
                <a:gd name="T53" fmla="*/ 15 h 66"/>
                <a:gd name="T54" fmla="*/ 394 w 396"/>
                <a:gd name="T55" fmla="*/ 21 h 66"/>
                <a:gd name="T56" fmla="*/ 396 w 396"/>
                <a:gd name="T57" fmla="*/ 27 h 66"/>
                <a:gd name="T58" fmla="*/ 396 w 396"/>
                <a:gd name="T59" fmla="*/ 33 h 66"/>
                <a:gd name="T60" fmla="*/ 396 w 396"/>
                <a:gd name="T61" fmla="*/ 33 h 66"/>
                <a:gd name="T62" fmla="*/ 396 w 396"/>
                <a:gd name="T63" fmla="*/ 40 h 66"/>
                <a:gd name="T64" fmla="*/ 394 w 396"/>
                <a:gd name="T65" fmla="*/ 47 h 66"/>
                <a:gd name="T66" fmla="*/ 391 w 396"/>
                <a:gd name="T67" fmla="*/ 52 h 66"/>
                <a:gd name="T68" fmla="*/ 387 w 396"/>
                <a:gd name="T69" fmla="*/ 57 h 66"/>
                <a:gd name="T70" fmla="*/ 382 w 396"/>
                <a:gd name="T71" fmla="*/ 61 h 66"/>
                <a:gd name="T72" fmla="*/ 377 w 396"/>
                <a:gd name="T73" fmla="*/ 64 h 66"/>
                <a:gd name="T74" fmla="*/ 370 w 396"/>
                <a:gd name="T75" fmla="*/ 65 h 66"/>
                <a:gd name="T76" fmla="*/ 364 w 396"/>
                <a:gd name="T77" fmla="*/ 66 h 66"/>
                <a:gd name="T78" fmla="*/ 364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4" y="66"/>
                  </a:moveTo>
                  <a:lnTo>
                    <a:pt x="33" y="66"/>
                  </a:lnTo>
                  <a:lnTo>
                    <a:pt x="33" y="66"/>
                  </a:lnTo>
                  <a:lnTo>
                    <a:pt x="27" y="65"/>
                  </a:lnTo>
                  <a:lnTo>
                    <a:pt x="21" y="64"/>
                  </a:lnTo>
                  <a:lnTo>
                    <a:pt x="14" y="61"/>
                  </a:lnTo>
                  <a:lnTo>
                    <a:pt x="9" y="57"/>
                  </a:lnTo>
                  <a:lnTo>
                    <a:pt x="5" y="52"/>
                  </a:lnTo>
                  <a:lnTo>
                    <a:pt x="3" y="47"/>
                  </a:lnTo>
                  <a:lnTo>
                    <a:pt x="1" y="40"/>
                  </a:lnTo>
                  <a:lnTo>
                    <a:pt x="0" y="33"/>
                  </a:lnTo>
                  <a:lnTo>
                    <a:pt x="0" y="33"/>
                  </a:lnTo>
                  <a:lnTo>
                    <a:pt x="1" y="27"/>
                  </a:lnTo>
                  <a:lnTo>
                    <a:pt x="3" y="21"/>
                  </a:lnTo>
                  <a:lnTo>
                    <a:pt x="5" y="15"/>
                  </a:lnTo>
                  <a:lnTo>
                    <a:pt x="9" y="10"/>
                  </a:lnTo>
                  <a:lnTo>
                    <a:pt x="14" y="6"/>
                  </a:lnTo>
                  <a:lnTo>
                    <a:pt x="21" y="3"/>
                  </a:lnTo>
                  <a:lnTo>
                    <a:pt x="27" y="1"/>
                  </a:lnTo>
                  <a:lnTo>
                    <a:pt x="33" y="0"/>
                  </a:lnTo>
                  <a:lnTo>
                    <a:pt x="364" y="0"/>
                  </a:lnTo>
                  <a:lnTo>
                    <a:pt x="364" y="0"/>
                  </a:lnTo>
                  <a:lnTo>
                    <a:pt x="370" y="1"/>
                  </a:lnTo>
                  <a:lnTo>
                    <a:pt x="377" y="3"/>
                  </a:lnTo>
                  <a:lnTo>
                    <a:pt x="382" y="6"/>
                  </a:lnTo>
                  <a:lnTo>
                    <a:pt x="387" y="10"/>
                  </a:lnTo>
                  <a:lnTo>
                    <a:pt x="391" y="15"/>
                  </a:lnTo>
                  <a:lnTo>
                    <a:pt x="394" y="21"/>
                  </a:lnTo>
                  <a:lnTo>
                    <a:pt x="396" y="27"/>
                  </a:lnTo>
                  <a:lnTo>
                    <a:pt x="396" y="33"/>
                  </a:lnTo>
                  <a:lnTo>
                    <a:pt x="396" y="33"/>
                  </a:lnTo>
                  <a:lnTo>
                    <a:pt x="396" y="40"/>
                  </a:lnTo>
                  <a:lnTo>
                    <a:pt x="394" y="47"/>
                  </a:lnTo>
                  <a:lnTo>
                    <a:pt x="391" y="52"/>
                  </a:lnTo>
                  <a:lnTo>
                    <a:pt x="387" y="57"/>
                  </a:lnTo>
                  <a:lnTo>
                    <a:pt x="382" y="61"/>
                  </a:lnTo>
                  <a:lnTo>
                    <a:pt x="377" y="64"/>
                  </a:lnTo>
                  <a:lnTo>
                    <a:pt x="370" y="65"/>
                  </a:lnTo>
                  <a:lnTo>
                    <a:pt x="364" y="66"/>
                  </a:lnTo>
                  <a:lnTo>
                    <a:pt x="36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89" name="Freeform 785">
              <a:extLst>
                <a:ext uri="{FF2B5EF4-FFF2-40B4-BE49-F238E27FC236}">
                  <a16:creationId xmlns:a16="http://schemas.microsoft.com/office/drawing/2014/main" id="{F02329DD-C795-46C9-BE04-70A7022F3379}"/>
                </a:ext>
              </a:extLst>
            </p:cNvPr>
            <p:cNvSpPr>
              <a:spLocks/>
            </p:cNvSpPr>
            <p:nvPr/>
          </p:nvSpPr>
          <p:spPr bwMode="auto">
            <a:xfrm>
              <a:off x="2803525" y="1628776"/>
              <a:ext cx="90488" cy="14288"/>
            </a:xfrm>
            <a:custGeom>
              <a:avLst/>
              <a:gdLst>
                <a:gd name="T0" fmla="*/ 364 w 396"/>
                <a:gd name="T1" fmla="*/ 66 h 66"/>
                <a:gd name="T2" fmla="*/ 33 w 396"/>
                <a:gd name="T3" fmla="*/ 66 h 66"/>
                <a:gd name="T4" fmla="*/ 33 w 396"/>
                <a:gd name="T5" fmla="*/ 66 h 66"/>
                <a:gd name="T6" fmla="*/ 27 w 396"/>
                <a:gd name="T7" fmla="*/ 65 h 66"/>
                <a:gd name="T8" fmla="*/ 21 w 396"/>
                <a:gd name="T9" fmla="*/ 63 h 66"/>
                <a:gd name="T10" fmla="*/ 14 w 396"/>
                <a:gd name="T11" fmla="*/ 61 h 66"/>
                <a:gd name="T12" fmla="*/ 9 w 396"/>
                <a:gd name="T13" fmla="*/ 57 h 66"/>
                <a:gd name="T14" fmla="*/ 5 w 396"/>
                <a:gd name="T15" fmla="*/ 52 h 66"/>
                <a:gd name="T16" fmla="*/ 3 w 396"/>
                <a:gd name="T17" fmla="*/ 45 h 66"/>
                <a:gd name="T18" fmla="*/ 1 w 396"/>
                <a:gd name="T19" fmla="*/ 39 h 66"/>
                <a:gd name="T20" fmla="*/ 0 w 396"/>
                <a:gd name="T21" fmla="*/ 33 h 66"/>
                <a:gd name="T22" fmla="*/ 0 w 396"/>
                <a:gd name="T23" fmla="*/ 33 h 66"/>
                <a:gd name="T24" fmla="*/ 1 w 396"/>
                <a:gd name="T25" fmla="*/ 27 h 66"/>
                <a:gd name="T26" fmla="*/ 3 w 396"/>
                <a:gd name="T27" fmla="*/ 21 h 66"/>
                <a:gd name="T28" fmla="*/ 5 w 396"/>
                <a:gd name="T29" fmla="*/ 14 h 66"/>
                <a:gd name="T30" fmla="*/ 9 w 396"/>
                <a:gd name="T31" fmla="*/ 9 h 66"/>
                <a:gd name="T32" fmla="*/ 14 w 396"/>
                <a:gd name="T33" fmla="*/ 6 h 66"/>
                <a:gd name="T34" fmla="*/ 21 w 396"/>
                <a:gd name="T35" fmla="*/ 3 h 66"/>
                <a:gd name="T36" fmla="*/ 27 w 396"/>
                <a:gd name="T37" fmla="*/ 1 h 66"/>
                <a:gd name="T38" fmla="*/ 33 w 396"/>
                <a:gd name="T39" fmla="*/ 0 h 66"/>
                <a:gd name="T40" fmla="*/ 364 w 396"/>
                <a:gd name="T41" fmla="*/ 0 h 66"/>
                <a:gd name="T42" fmla="*/ 364 w 396"/>
                <a:gd name="T43" fmla="*/ 0 h 66"/>
                <a:gd name="T44" fmla="*/ 370 w 396"/>
                <a:gd name="T45" fmla="*/ 1 h 66"/>
                <a:gd name="T46" fmla="*/ 377 w 396"/>
                <a:gd name="T47" fmla="*/ 3 h 66"/>
                <a:gd name="T48" fmla="*/ 382 w 396"/>
                <a:gd name="T49" fmla="*/ 6 h 66"/>
                <a:gd name="T50" fmla="*/ 387 w 396"/>
                <a:gd name="T51" fmla="*/ 9 h 66"/>
                <a:gd name="T52" fmla="*/ 391 w 396"/>
                <a:gd name="T53" fmla="*/ 14 h 66"/>
                <a:gd name="T54" fmla="*/ 394 w 396"/>
                <a:gd name="T55" fmla="*/ 21 h 66"/>
                <a:gd name="T56" fmla="*/ 396 w 396"/>
                <a:gd name="T57" fmla="*/ 27 h 66"/>
                <a:gd name="T58" fmla="*/ 396 w 396"/>
                <a:gd name="T59" fmla="*/ 33 h 66"/>
                <a:gd name="T60" fmla="*/ 396 w 396"/>
                <a:gd name="T61" fmla="*/ 33 h 66"/>
                <a:gd name="T62" fmla="*/ 396 w 396"/>
                <a:gd name="T63" fmla="*/ 39 h 66"/>
                <a:gd name="T64" fmla="*/ 394 w 396"/>
                <a:gd name="T65" fmla="*/ 45 h 66"/>
                <a:gd name="T66" fmla="*/ 391 w 396"/>
                <a:gd name="T67" fmla="*/ 52 h 66"/>
                <a:gd name="T68" fmla="*/ 387 w 396"/>
                <a:gd name="T69" fmla="*/ 57 h 66"/>
                <a:gd name="T70" fmla="*/ 382 w 396"/>
                <a:gd name="T71" fmla="*/ 61 h 66"/>
                <a:gd name="T72" fmla="*/ 377 w 396"/>
                <a:gd name="T73" fmla="*/ 63 h 66"/>
                <a:gd name="T74" fmla="*/ 370 w 396"/>
                <a:gd name="T75" fmla="*/ 65 h 66"/>
                <a:gd name="T76" fmla="*/ 364 w 396"/>
                <a:gd name="T77" fmla="*/ 66 h 66"/>
                <a:gd name="T78" fmla="*/ 364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4" y="66"/>
                  </a:moveTo>
                  <a:lnTo>
                    <a:pt x="33" y="66"/>
                  </a:lnTo>
                  <a:lnTo>
                    <a:pt x="33" y="66"/>
                  </a:lnTo>
                  <a:lnTo>
                    <a:pt x="27" y="65"/>
                  </a:lnTo>
                  <a:lnTo>
                    <a:pt x="21" y="63"/>
                  </a:lnTo>
                  <a:lnTo>
                    <a:pt x="14" y="61"/>
                  </a:lnTo>
                  <a:lnTo>
                    <a:pt x="9" y="57"/>
                  </a:lnTo>
                  <a:lnTo>
                    <a:pt x="5" y="52"/>
                  </a:lnTo>
                  <a:lnTo>
                    <a:pt x="3" y="45"/>
                  </a:lnTo>
                  <a:lnTo>
                    <a:pt x="1" y="39"/>
                  </a:lnTo>
                  <a:lnTo>
                    <a:pt x="0" y="33"/>
                  </a:lnTo>
                  <a:lnTo>
                    <a:pt x="0" y="33"/>
                  </a:lnTo>
                  <a:lnTo>
                    <a:pt x="1" y="27"/>
                  </a:lnTo>
                  <a:lnTo>
                    <a:pt x="3" y="21"/>
                  </a:lnTo>
                  <a:lnTo>
                    <a:pt x="5" y="14"/>
                  </a:lnTo>
                  <a:lnTo>
                    <a:pt x="9" y="9"/>
                  </a:lnTo>
                  <a:lnTo>
                    <a:pt x="14" y="6"/>
                  </a:lnTo>
                  <a:lnTo>
                    <a:pt x="21" y="3"/>
                  </a:lnTo>
                  <a:lnTo>
                    <a:pt x="27" y="1"/>
                  </a:lnTo>
                  <a:lnTo>
                    <a:pt x="33" y="0"/>
                  </a:lnTo>
                  <a:lnTo>
                    <a:pt x="364" y="0"/>
                  </a:lnTo>
                  <a:lnTo>
                    <a:pt x="364" y="0"/>
                  </a:lnTo>
                  <a:lnTo>
                    <a:pt x="370" y="1"/>
                  </a:lnTo>
                  <a:lnTo>
                    <a:pt x="377" y="3"/>
                  </a:lnTo>
                  <a:lnTo>
                    <a:pt x="382" y="6"/>
                  </a:lnTo>
                  <a:lnTo>
                    <a:pt x="387" y="9"/>
                  </a:lnTo>
                  <a:lnTo>
                    <a:pt x="391" y="14"/>
                  </a:lnTo>
                  <a:lnTo>
                    <a:pt x="394" y="21"/>
                  </a:lnTo>
                  <a:lnTo>
                    <a:pt x="396" y="27"/>
                  </a:lnTo>
                  <a:lnTo>
                    <a:pt x="396" y="33"/>
                  </a:lnTo>
                  <a:lnTo>
                    <a:pt x="396" y="33"/>
                  </a:lnTo>
                  <a:lnTo>
                    <a:pt x="396" y="39"/>
                  </a:lnTo>
                  <a:lnTo>
                    <a:pt x="394" y="45"/>
                  </a:lnTo>
                  <a:lnTo>
                    <a:pt x="391" y="52"/>
                  </a:lnTo>
                  <a:lnTo>
                    <a:pt x="387" y="57"/>
                  </a:lnTo>
                  <a:lnTo>
                    <a:pt x="382" y="61"/>
                  </a:lnTo>
                  <a:lnTo>
                    <a:pt x="377" y="63"/>
                  </a:lnTo>
                  <a:lnTo>
                    <a:pt x="370" y="65"/>
                  </a:lnTo>
                  <a:lnTo>
                    <a:pt x="364" y="66"/>
                  </a:lnTo>
                  <a:lnTo>
                    <a:pt x="36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90" name="Rectangle 786">
              <a:extLst>
                <a:ext uri="{FF2B5EF4-FFF2-40B4-BE49-F238E27FC236}">
                  <a16:creationId xmlns:a16="http://schemas.microsoft.com/office/drawing/2014/main" id="{6AE5517E-A059-D7BD-70A7-EB37767FD673}"/>
                </a:ext>
              </a:extLst>
            </p:cNvPr>
            <p:cNvSpPr>
              <a:spLocks noChangeArrowheads="1"/>
            </p:cNvSpPr>
            <p:nvPr/>
          </p:nvSpPr>
          <p:spPr bwMode="auto">
            <a:xfrm>
              <a:off x="2720975" y="1636713"/>
              <a:ext cx="15875"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91" name="Rectangle 787">
              <a:extLst>
                <a:ext uri="{FF2B5EF4-FFF2-40B4-BE49-F238E27FC236}">
                  <a16:creationId xmlns:a16="http://schemas.microsoft.com/office/drawing/2014/main" id="{FB6ADB93-3D37-E48C-A9AF-824F9BB21B03}"/>
                </a:ext>
              </a:extLst>
            </p:cNvPr>
            <p:cNvSpPr>
              <a:spLocks noChangeArrowheads="1"/>
            </p:cNvSpPr>
            <p:nvPr/>
          </p:nvSpPr>
          <p:spPr bwMode="auto">
            <a:xfrm>
              <a:off x="2751138" y="1636713"/>
              <a:ext cx="15875"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92" name="Rectangle 788">
              <a:extLst>
                <a:ext uri="{FF2B5EF4-FFF2-40B4-BE49-F238E27FC236}">
                  <a16:creationId xmlns:a16="http://schemas.microsoft.com/office/drawing/2014/main" id="{3C365EDB-2498-52A4-A9BB-66836E2894F6}"/>
                </a:ext>
              </a:extLst>
            </p:cNvPr>
            <p:cNvSpPr>
              <a:spLocks noChangeArrowheads="1"/>
            </p:cNvSpPr>
            <p:nvPr/>
          </p:nvSpPr>
          <p:spPr bwMode="auto">
            <a:xfrm>
              <a:off x="2811463" y="1636713"/>
              <a:ext cx="14288"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93" name="Rectangle 789">
              <a:extLst>
                <a:ext uri="{FF2B5EF4-FFF2-40B4-BE49-F238E27FC236}">
                  <a16:creationId xmlns:a16="http://schemas.microsoft.com/office/drawing/2014/main" id="{ED35E984-55F9-AEC6-7116-02D6E023A480}"/>
                </a:ext>
              </a:extLst>
            </p:cNvPr>
            <p:cNvSpPr>
              <a:spLocks noChangeArrowheads="1"/>
            </p:cNvSpPr>
            <p:nvPr/>
          </p:nvSpPr>
          <p:spPr bwMode="auto">
            <a:xfrm>
              <a:off x="2841625" y="1636713"/>
              <a:ext cx="14288"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94" name="Rectangle 790">
              <a:extLst>
                <a:ext uri="{FF2B5EF4-FFF2-40B4-BE49-F238E27FC236}">
                  <a16:creationId xmlns:a16="http://schemas.microsoft.com/office/drawing/2014/main" id="{6C7975BE-3242-8205-DACA-90B6F524A56C}"/>
                </a:ext>
              </a:extLst>
            </p:cNvPr>
            <p:cNvSpPr>
              <a:spLocks noChangeArrowheads="1"/>
            </p:cNvSpPr>
            <p:nvPr/>
          </p:nvSpPr>
          <p:spPr bwMode="auto">
            <a:xfrm>
              <a:off x="2871788" y="1636713"/>
              <a:ext cx="14288"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95" name="Freeform 791">
              <a:extLst>
                <a:ext uri="{FF2B5EF4-FFF2-40B4-BE49-F238E27FC236}">
                  <a16:creationId xmlns:a16="http://schemas.microsoft.com/office/drawing/2014/main" id="{9634C021-A06F-1F0A-8CE7-F9C49174AD6E}"/>
                </a:ext>
              </a:extLst>
            </p:cNvPr>
            <p:cNvSpPr>
              <a:spLocks/>
            </p:cNvSpPr>
            <p:nvPr/>
          </p:nvSpPr>
          <p:spPr bwMode="auto">
            <a:xfrm>
              <a:off x="2924175" y="1763713"/>
              <a:ext cx="90488" cy="14288"/>
            </a:xfrm>
            <a:custGeom>
              <a:avLst/>
              <a:gdLst>
                <a:gd name="T0" fmla="*/ 364 w 397"/>
                <a:gd name="T1" fmla="*/ 66 h 66"/>
                <a:gd name="T2" fmla="*/ 33 w 397"/>
                <a:gd name="T3" fmla="*/ 66 h 66"/>
                <a:gd name="T4" fmla="*/ 33 w 397"/>
                <a:gd name="T5" fmla="*/ 66 h 66"/>
                <a:gd name="T6" fmla="*/ 27 w 397"/>
                <a:gd name="T7" fmla="*/ 65 h 66"/>
                <a:gd name="T8" fmla="*/ 20 w 397"/>
                <a:gd name="T9" fmla="*/ 64 h 66"/>
                <a:gd name="T10" fmla="*/ 14 w 397"/>
                <a:gd name="T11" fmla="*/ 61 h 66"/>
                <a:gd name="T12" fmla="*/ 10 w 397"/>
                <a:gd name="T13" fmla="*/ 57 h 66"/>
                <a:gd name="T14" fmla="*/ 6 w 397"/>
                <a:gd name="T15" fmla="*/ 52 h 66"/>
                <a:gd name="T16" fmla="*/ 3 w 397"/>
                <a:gd name="T17" fmla="*/ 47 h 66"/>
                <a:gd name="T18" fmla="*/ 1 w 397"/>
                <a:gd name="T19" fmla="*/ 40 h 66"/>
                <a:gd name="T20" fmla="*/ 0 w 397"/>
                <a:gd name="T21" fmla="*/ 33 h 66"/>
                <a:gd name="T22" fmla="*/ 0 w 397"/>
                <a:gd name="T23" fmla="*/ 33 h 66"/>
                <a:gd name="T24" fmla="*/ 1 w 397"/>
                <a:gd name="T25" fmla="*/ 27 h 66"/>
                <a:gd name="T26" fmla="*/ 3 w 397"/>
                <a:gd name="T27" fmla="*/ 21 h 66"/>
                <a:gd name="T28" fmla="*/ 6 w 397"/>
                <a:gd name="T29" fmla="*/ 15 h 66"/>
                <a:gd name="T30" fmla="*/ 10 w 397"/>
                <a:gd name="T31" fmla="*/ 10 h 66"/>
                <a:gd name="T32" fmla="*/ 14 w 397"/>
                <a:gd name="T33" fmla="*/ 6 h 66"/>
                <a:gd name="T34" fmla="*/ 20 w 397"/>
                <a:gd name="T35" fmla="*/ 3 h 66"/>
                <a:gd name="T36" fmla="*/ 27 w 397"/>
                <a:gd name="T37" fmla="*/ 1 h 66"/>
                <a:gd name="T38" fmla="*/ 33 w 397"/>
                <a:gd name="T39" fmla="*/ 0 h 66"/>
                <a:gd name="T40" fmla="*/ 364 w 397"/>
                <a:gd name="T41" fmla="*/ 0 h 66"/>
                <a:gd name="T42" fmla="*/ 364 w 397"/>
                <a:gd name="T43" fmla="*/ 0 h 66"/>
                <a:gd name="T44" fmla="*/ 370 w 397"/>
                <a:gd name="T45" fmla="*/ 1 h 66"/>
                <a:gd name="T46" fmla="*/ 376 w 397"/>
                <a:gd name="T47" fmla="*/ 3 h 66"/>
                <a:gd name="T48" fmla="*/ 383 w 397"/>
                <a:gd name="T49" fmla="*/ 6 h 66"/>
                <a:gd name="T50" fmla="*/ 387 w 397"/>
                <a:gd name="T51" fmla="*/ 10 h 66"/>
                <a:gd name="T52" fmla="*/ 391 w 397"/>
                <a:gd name="T53" fmla="*/ 15 h 66"/>
                <a:gd name="T54" fmla="*/ 394 w 397"/>
                <a:gd name="T55" fmla="*/ 21 h 66"/>
                <a:gd name="T56" fmla="*/ 396 w 397"/>
                <a:gd name="T57" fmla="*/ 27 h 66"/>
                <a:gd name="T58" fmla="*/ 397 w 397"/>
                <a:gd name="T59" fmla="*/ 33 h 66"/>
                <a:gd name="T60" fmla="*/ 397 w 397"/>
                <a:gd name="T61" fmla="*/ 33 h 66"/>
                <a:gd name="T62" fmla="*/ 396 w 397"/>
                <a:gd name="T63" fmla="*/ 40 h 66"/>
                <a:gd name="T64" fmla="*/ 394 w 397"/>
                <a:gd name="T65" fmla="*/ 47 h 66"/>
                <a:gd name="T66" fmla="*/ 391 w 397"/>
                <a:gd name="T67" fmla="*/ 52 h 66"/>
                <a:gd name="T68" fmla="*/ 387 w 397"/>
                <a:gd name="T69" fmla="*/ 57 h 66"/>
                <a:gd name="T70" fmla="*/ 383 w 397"/>
                <a:gd name="T71" fmla="*/ 61 h 66"/>
                <a:gd name="T72" fmla="*/ 376 w 397"/>
                <a:gd name="T73" fmla="*/ 64 h 66"/>
                <a:gd name="T74" fmla="*/ 370 w 397"/>
                <a:gd name="T75" fmla="*/ 65 h 66"/>
                <a:gd name="T76" fmla="*/ 364 w 397"/>
                <a:gd name="T77" fmla="*/ 66 h 66"/>
                <a:gd name="T78" fmla="*/ 364 w 397"/>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7" h="66">
                  <a:moveTo>
                    <a:pt x="364" y="66"/>
                  </a:moveTo>
                  <a:lnTo>
                    <a:pt x="33" y="66"/>
                  </a:lnTo>
                  <a:lnTo>
                    <a:pt x="33" y="66"/>
                  </a:lnTo>
                  <a:lnTo>
                    <a:pt x="27" y="65"/>
                  </a:lnTo>
                  <a:lnTo>
                    <a:pt x="20" y="64"/>
                  </a:lnTo>
                  <a:lnTo>
                    <a:pt x="14" y="61"/>
                  </a:lnTo>
                  <a:lnTo>
                    <a:pt x="10" y="57"/>
                  </a:lnTo>
                  <a:lnTo>
                    <a:pt x="6" y="52"/>
                  </a:lnTo>
                  <a:lnTo>
                    <a:pt x="3" y="47"/>
                  </a:lnTo>
                  <a:lnTo>
                    <a:pt x="1" y="40"/>
                  </a:lnTo>
                  <a:lnTo>
                    <a:pt x="0" y="33"/>
                  </a:lnTo>
                  <a:lnTo>
                    <a:pt x="0" y="33"/>
                  </a:lnTo>
                  <a:lnTo>
                    <a:pt x="1" y="27"/>
                  </a:lnTo>
                  <a:lnTo>
                    <a:pt x="3" y="21"/>
                  </a:lnTo>
                  <a:lnTo>
                    <a:pt x="6" y="15"/>
                  </a:lnTo>
                  <a:lnTo>
                    <a:pt x="10" y="10"/>
                  </a:lnTo>
                  <a:lnTo>
                    <a:pt x="14" y="6"/>
                  </a:lnTo>
                  <a:lnTo>
                    <a:pt x="20" y="3"/>
                  </a:lnTo>
                  <a:lnTo>
                    <a:pt x="27" y="1"/>
                  </a:lnTo>
                  <a:lnTo>
                    <a:pt x="33" y="0"/>
                  </a:lnTo>
                  <a:lnTo>
                    <a:pt x="364" y="0"/>
                  </a:lnTo>
                  <a:lnTo>
                    <a:pt x="364" y="0"/>
                  </a:lnTo>
                  <a:lnTo>
                    <a:pt x="370" y="1"/>
                  </a:lnTo>
                  <a:lnTo>
                    <a:pt x="376" y="3"/>
                  </a:lnTo>
                  <a:lnTo>
                    <a:pt x="383" y="6"/>
                  </a:lnTo>
                  <a:lnTo>
                    <a:pt x="387" y="10"/>
                  </a:lnTo>
                  <a:lnTo>
                    <a:pt x="391" y="15"/>
                  </a:lnTo>
                  <a:lnTo>
                    <a:pt x="394" y="21"/>
                  </a:lnTo>
                  <a:lnTo>
                    <a:pt x="396" y="27"/>
                  </a:lnTo>
                  <a:lnTo>
                    <a:pt x="397" y="33"/>
                  </a:lnTo>
                  <a:lnTo>
                    <a:pt x="397" y="33"/>
                  </a:lnTo>
                  <a:lnTo>
                    <a:pt x="396" y="40"/>
                  </a:lnTo>
                  <a:lnTo>
                    <a:pt x="394" y="47"/>
                  </a:lnTo>
                  <a:lnTo>
                    <a:pt x="391" y="52"/>
                  </a:lnTo>
                  <a:lnTo>
                    <a:pt x="387" y="57"/>
                  </a:lnTo>
                  <a:lnTo>
                    <a:pt x="383" y="61"/>
                  </a:lnTo>
                  <a:lnTo>
                    <a:pt x="376" y="64"/>
                  </a:lnTo>
                  <a:lnTo>
                    <a:pt x="370" y="65"/>
                  </a:lnTo>
                  <a:lnTo>
                    <a:pt x="364" y="66"/>
                  </a:lnTo>
                  <a:lnTo>
                    <a:pt x="36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96" name="Freeform 792">
              <a:extLst>
                <a:ext uri="{FF2B5EF4-FFF2-40B4-BE49-F238E27FC236}">
                  <a16:creationId xmlns:a16="http://schemas.microsoft.com/office/drawing/2014/main" id="{86EEA810-9011-C271-2474-588C5786CA92}"/>
                </a:ext>
              </a:extLst>
            </p:cNvPr>
            <p:cNvSpPr>
              <a:spLocks/>
            </p:cNvSpPr>
            <p:nvPr/>
          </p:nvSpPr>
          <p:spPr bwMode="auto">
            <a:xfrm>
              <a:off x="2924175" y="1628776"/>
              <a:ext cx="90488" cy="14288"/>
            </a:xfrm>
            <a:custGeom>
              <a:avLst/>
              <a:gdLst>
                <a:gd name="T0" fmla="*/ 364 w 397"/>
                <a:gd name="T1" fmla="*/ 66 h 66"/>
                <a:gd name="T2" fmla="*/ 33 w 397"/>
                <a:gd name="T3" fmla="*/ 66 h 66"/>
                <a:gd name="T4" fmla="*/ 33 w 397"/>
                <a:gd name="T5" fmla="*/ 66 h 66"/>
                <a:gd name="T6" fmla="*/ 27 w 397"/>
                <a:gd name="T7" fmla="*/ 65 h 66"/>
                <a:gd name="T8" fmla="*/ 20 w 397"/>
                <a:gd name="T9" fmla="*/ 63 h 66"/>
                <a:gd name="T10" fmla="*/ 14 w 397"/>
                <a:gd name="T11" fmla="*/ 61 h 66"/>
                <a:gd name="T12" fmla="*/ 10 w 397"/>
                <a:gd name="T13" fmla="*/ 57 h 66"/>
                <a:gd name="T14" fmla="*/ 6 w 397"/>
                <a:gd name="T15" fmla="*/ 52 h 66"/>
                <a:gd name="T16" fmla="*/ 3 w 397"/>
                <a:gd name="T17" fmla="*/ 45 h 66"/>
                <a:gd name="T18" fmla="*/ 1 w 397"/>
                <a:gd name="T19" fmla="*/ 39 h 66"/>
                <a:gd name="T20" fmla="*/ 0 w 397"/>
                <a:gd name="T21" fmla="*/ 33 h 66"/>
                <a:gd name="T22" fmla="*/ 0 w 397"/>
                <a:gd name="T23" fmla="*/ 33 h 66"/>
                <a:gd name="T24" fmla="*/ 1 w 397"/>
                <a:gd name="T25" fmla="*/ 27 h 66"/>
                <a:gd name="T26" fmla="*/ 3 w 397"/>
                <a:gd name="T27" fmla="*/ 21 h 66"/>
                <a:gd name="T28" fmla="*/ 6 w 397"/>
                <a:gd name="T29" fmla="*/ 14 h 66"/>
                <a:gd name="T30" fmla="*/ 10 w 397"/>
                <a:gd name="T31" fmla="*/ 9 h 66"/>
                <a:gd name="T32" fmla="*/ 14 w 397"/>
                <a:gd name="T33" fmla="*/ 6 h 66"/>
                <a:gd name="T34" fmla="*/ 20 w 397"/>
                <a:gd name="T35" fmla="*/ 3 h 66"/>
                <a:gd name="T36" fmla="*/ 27 w 397"/>
                <a:gd name="T37" fmla="*/ 1 h 66"/>
                <a:gd name="T38" fmla="*/ 33 w 397"/>
                <a:gd name="T39" fmla="*/ 0 h 66"/>
                <a:gd name="T40" fmla="*/ 364 w 397"/>
                <a:gd name="T41" fmla="*/ 0 h 66"/>
                <a:gd name="T42" fmla="*/ 364 w 397"/>
                <a:gd name="T43" fmla="*/ 0 h 66"/>
                <a:gd name="T44" fmla="*/ 370 w 397"/>
                <a:gd name="T45" fmla="*/ 1 h 66"/>
                <a:gd name="T46" fmla="*/ 376 w 397"/>
                <a:gd name="T47" fmla="*/ 3 h 66"/>
                <a:gd name="T48" fmla="*/ 383 w 397"/>
                <a:gd name="T49" fmla="*/ 6 h 66"/>
                <a:gd name="T50" fmla="*/ 387 w 397"/>
                <a:gd name="T51" fmla="*/ 9 h 66"/>
                <a:gd name="T52" fmla="*/ 391 w 397"/>
                <a:gd name="T53" fmla="*/ 14 h 66"/>
                <a:gd name="T54" fmla="*/ 394 w 397"/>
                <a:gd name="T55" fmla="*/ 21 h 66"/>
                <a:gd name="T56" fmla="*/ 396 w 397"/>
                <a:gd name="T57" fmla="*/ 27 h 66"/>
                <a:gd name="T58" fmla="*/ 397 w 397"/>
                <a:gd name="T59" fmla="*/ 33 h 66"/>
                <a:gd name="T60" fmla="*/ 397 w 397"/>
                <a:gd name="T61" fmla="*/ 33 h 66"/>
                <a:gd name="T62" fmla="*/ 396 w 397"/>
                <a:gd name="T63" fmla="*/ 39 h 66"/>
                <a:gd name="T64" fmla="*/ 394 w 397"/>
                <a:gd name="T65" fmla="*/ 45 h 66"/>
                <a:gd name="T66" fmla="*/ 391 w 397"/>
                <a:gd name="T67" fmla="*/ 52 h 66"/>
                <a:gd name="T68" fmla="*/ 387 w 397"/>
                <a:gd name="T69" fmla="*/ 57 h 66"/>
                <a:gd name="T70" fmla="*/ 383 w 397"/>
                <a:gd name="T71" fmla="*/ 61 h 66"/>
                <a:gd name="T72" fmla="*/ 376 w 397"/>
                <a:gd name="T73" fmla="*/ 63 h 66"/>
                <a:gd name="T74" fmla="*/ 370 w 397"/>
                <a:gd name="T75" fmla="*/ 65 h 66"/>
                <a:gd name="T76" fmla="*/ 364 w 397"/>
                <a:gd name="T77" fmla="*/ 66 h 66"/>
                <a:gd name="T78" fmla="*/ 364 w 397"/>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7" h="66">
                  <a:moveTo>
                    <a:pt x="364" y="66"/>
                  </a:moveTo>
                  <a:lnTo>
                    <a:pt x="33" y="66"/>
                  </a:lnTo>
                  <a:lnTo>
                    <a:pt x="33" y="66"/>
                  </a:lnTo>
                  <a:lnTo>
                    <a:pt x="27" y="65"/>
                  </a:lnTo>
                  <a:lnTo>
                    <a:pt x="20" y="63"/>
                  </a:lnTo>
                  <a:lnTo>
                    <a:pt x="14" y="61"/>
                  </a:lnTo>
                  <a:lnTo>
                    <a:pt x="10" y="57"/>
                  </a:lnTo>
                  <a:lnTo>
                    <a:pt x="6" y="52"/>
                  </a:lnTo>
                  <a:lnTo>
                    <a:pt x="3" y="45"/>
                  </a:lnTo>
                  <a:lnTo>
                    <a:pt x="1" y="39"/>
                  </a:lnTo>
                  <a:lnTo>
                    <a:pt x="0" y="33"/>
                  </a:lnTo>
                  <a:lnTo>
                    <a:pt x="0" y="33"/>
                  </a:lnTo>
                  <a:lnTo>
                    <a:pt x="1" y="27"/>
                  </a:lnTo>
                  <a:lnTo>
                    <a:pt x="3" y="21"/>
                  </a:lnTo>
                  <a:lnTo>
                    <a:pt x="6" y="14"/>
                  </a:lnTo>
                  <a:lnTo>
                    <a:pt x="10" y="9"/>
                  </a:lnTo>
                  <a:lnTo>
                    <a:pt x="14" y="6"/>
                  </a:lnTo>
                  <a:lnTo>
                    <a:pt x="20" y="3"/>
                  </a:lnTo>
                  <a:lnTo>
                    <a:pt x="27" y="1"/>
                  </a:lnTo>
                  <a:lnTo>
                    <a:pt x="33" y="0"/>
                  </a:lnTo>
                  <a:lnTo>
                    <a:pt x="364" y="0"/>
                  </a:lnTo>
                  <a:lnTo>
                    <a:pt x="364" y="0"/>
                  </a:lnTo>
                  <a:lnTo>
                    <a:pt x="370" y="1"/>
                  </a:lnTo>
                  <a:lnTo>
                    <a:pt x="376" y="3"/>
                  </a:lnTo>
                  <a:lnTo>
                    <a:pt x="383" y="6"/>
                  </a:lnTo>
                  <a:lnTo>
                    <a:pt x="387" y="9"/>
                  </a:lnTo>
                  <a:lnTo>
                    <a:pt x="391" y="14"/>
                  </a:lnTo>
                  <a:lnTo>
                    <a:pt x="394" y="21"/>
                  </a:lnTo>
                  <a:lnTo>
                    <a:pt x="396" y="27"/>
                  </a:lnTo>
                  <a:lnTo>
                    <a:pt x="397" y="33"/>
                  </a:lnTo>
                  <a:lnTo>
                    <a:pt x="397" y="33"/>
                  </a:lnTo>
                  <a:lnTo>
                    <a:pt x="396" y="39"/>
                  </a:lnTo>
                  <a:lnTo>
                    <a:pt x="394" y="45"/>
                  </a:lnTo>
                  <a:lnTo>
                    <a:pt x="391" y="52"/>
                  </a:lnTo>
                  <a:lnTo>
                    <a:pt x="387" y="57"/>
                  </a:lnTo>
                  <a:lnTo>
                    <a:pt x="383" y="61"/>
                  </a:lnTo>
                  <a:lnTo>
                    <a:pt x="376" y="63"/>
                  </a:lnTo>
                  <a:lnTo>
                    <a:pt x="370" y="65"/>
                  </a:lnTo>
                  <a:lnTo>
                    <a:pt x="364" y="66"/>
                  </a:lnTo>
                  <a:lnTo>
                    <a:pt x="36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97" name="Rectangle 793">
              <a:extLst>
                <a:ext uri="{FF2B5EF4-FFF2-40B4-BE49-F238E27FC236}">
                  <a16:creationId xmlns:a16="http://schemas.microsoft.com/office/drawing/2014/main" id="{205BD87A-0AB8-F34C-AA2B-B59D82E9C323}"/>
                </a:ext>
              </a:extLst>
            </p:cNvPr>
            <p:cNvSpPr>
              <a:spLocks noChangeArrowheads="1"/>
            </p:cNvSpPr>
            <p:nvPr/>
          </p:nvSpPr>
          <p:spPr bwMode="auto">
            <a:xfrm>
              <a:off x="2932113" y="1636713"/>
              <a:ext cx="14288"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98" name="Rectangle 794">
              <a:extLst>
                <a:ext uri="{FF2B5EF4-FFF2-40B4-BE49-F238E27FC236}">
                  <a16:creationId xmlns:a16="http://schemas.microsoft.com/office/drawing/2014/main" id="{5B415A72-401B-CD98-88DA-4075F7813DDB}"/>
                </a:ext>
              </a:extLst>
            </p:cNvPr>
            <p:cNvSpPr>
              <a:spLocks noChangeArrowheads="1"/>
            </p:cNvSpPr>
            <p:nvPr/>
          </p:nvSpPr>
          <p:spPr bwMode="auto">
            <a:xfrm>
              <a:off x="2960688" y="1636713"/>
              <a:ext cx="15875"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99" name="Rectangle 795">
              <a:extLst>
                <a:ext uri="{FF2B5EF4-FFF2-40B4-BE49-F238E27FC236}">
                  <a16:creationId xmlns:a16="http://schemas.microsoft.com/office/drawing/2014/main" id="{088B584C-F509-CEE6-A63F-ED754B475953}"/>
                </a:ext>
              </a:extLst>
            </p:cNvPr>
            <p:cNvSpPr>
              <a:spLocks noChangeArrowheads="1"/>
            </p:cNvSpPr>
            <p:nvPr/>
          </p:nvSpPr>
          <p:spPr bwMode="auto">
            <a:xfrm>
              <a:off x="2990850" y="1636713"/>
              <a:ext cx="15875"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00" name="Freeform 796">
              <a:extLst>
                <a:ext uri="{FF2B5EF4-FFF2-40B4-BE49-F238E27FC236}">
                  <a16:creationId xmlns:a16="http://schemas.microsoft.com/office/drawing/2014/main" id="{31ED8CF3-2618-3A44-A837-9F65596CF271}"/>
                </a:ext>
              </a:extLst>
            </p:cNvPr>
            <p:cNvSpPr>
              <a:spLocks noEditPoints="1"/>
            </p:cNvSpPr>
            <p:nvPr/>
          </p:nvSpPr>
          <p:spPr bwMode="auto">
            <a:xfrm>
              <a:off x="2676525" y="1463676"/>
              <a:ext cx="344488" cy="150813"/>
            </a:xfrm>
            <a:custGeom>
              <a:avLst/>
              <a:gdLst>
                <a:gd name="T0" fmla="*/ 1488 w 1521"/>
                <a:gd name="T1" fmla="*/ 662 h 662"/>
                <a:gd name="T2" fmla="*/ 33 w 1521"/>
                <a:gd name="T3" fmla="*/ 662 h 662"/>
                <a:gd name="T4" fmla="*/ 33 w 1521"/>
                <a:gd name="T5" fmla="*/ 662 h 662"/>
                <a:gd name="T6" fmla="*/ 28 w 1521"/>
                <a:gd name="T7" fmla="*/ 662 h 662"/>
                <a:gd name="T8" fmla="*/ 23 w 1521"/>
                <a:gd name="T9" fmla="*/ 661 h 662"/>
                <a:gd name="T10" fmla="*/ 18 w 1521"/>
                <a:gd name="T11" fmla="*/ 658 h 662"/>
                <a:gd name="T12" fmla="*/ 13 w 1521"/>
                <a:gd name="T13" fmla="*/ 655 h 662"/>
                <a:gd name="T14" fmla="*/ 10 w 1521"/>
                <a:gd name="T15" fmla="*/ 652 h 662"/>
                <a:gd name="T16" fmla="*/ 6 w 1521"/>
                <a:gd name="T17" fmla="*/ 648 h 662"/>
                <a:gd name="T18" fmla="*/ 4 w 1521"/>
                <a:gd name="T19" fmla="*/ 644 h 662"/>
                <a:gd name="T20" fmla="*/ 2 w 1521"/>
                <a:gd name="T21" fmla="*/ 640 h 662"/>
                <a:gd name="T22" fmla="*/ 2 w 1521"/>
                <a:gd name="T23" fmla="*/ 640 h 662"/>
                <a:gd name="T24" fmla="*/ 0 w 1521"/>
                <a:gd name="T25" fmla="*/ 635 h 662"/>
                <a:gd name="T26" fmla="*/ 0 w 1521"/>
                <a:gd name="T27" fmla="*/ 629 h 662"/>
                <a:gd name="T28" fmla="*/ 0 w 1521"/>
                <a:gd name="T29" fmla="*/ 624 h 662"/>
                <a:gd name="T30" fmla="*/ 1 w 1521"/>
                <a:gd name="T31" fmla="*/ 619 h 662"/>
                <a:gd name="T32" fmla="*/ 3 w 1521"/>
                <a:gd name="T33" fmla="*/ 615 h 662"/>
                <a:gd name="T34" fmla="*/ 5 w 1521"/>
                <a:gd name="T35" fmla="*/ 610 h 662"/>
                <a:gd name="T36" fmla="*/ 8 w 1521"/>
                <a:gd name="T37" fmla="*/ 606 h 662"/>
                <a:gd name="T38" fmla="*/ 12 w 1521"/>
                <a:gd name="T39" fmla="*/ 603 h 662"/>
                <a:gd name="T40" fmla="*/ 775 w 1521"/>
                <a:gd name="T41" fmla="*/ 7 h 662"/>
                <a:gd name="T42" fmla="*/ 775 w 1521"/>
                <a:gd name="T43" fmla="*/ 7 h 662"/>
                <a:gd name="T44" fmla="*/ 780 w 1521"/>
                <a:gd name="T45" fmla="*/ 4 h 662"/>
                <a:gd name="T46" fmla="*/ 785 w 1521"/>
                <a:gd name="T47" fmla="*/ 2 h 662"/>
                <a:gd name="T48" fmla="*/ 791 w 1521"/>
                <a:gd name="T49" fmla="*/ 0 h 662"/>
                <a:gd name="T50" fmla="*/ 796 w 1521"/>
                <a:gd name="T51" fmla="*/ 0 h 662"/>
                <a:gd name="T52" fmla="*/ 802 w 1521"/>
                <a:gd name="T53" fmla="*/ 1 h 662"/>
                <a:gd name="T54" fmla="*/ 807 w 1521"/>
                <a:gd name="T55" fmla="*/ 2 h 662"/>
                <a:gd name="T56" fmla="*/ 812 w 1521"/>
                <a:gd name="T57" fmla="*/ 5 h 662"/>
                <a:gd name="T58" fmla="*/ 818 w 1521"/>
                <a:gd name="T59" fmla="*/ 8 h 662"/>
                <a:gd name="T60" fmla="*/ 1510 w 1521"/>
                <a:gd name="T61" fmla="*/ 604 h 662"/>
                <a:gd name="T62" fmla="*/ 1510 w 1521"/>
                <a:gd name="T63" fmla="*/ 604 h 662"/>
                <a:gd name="T64" fmla="*/ 1513 w 1521"/>
                <a:gd name="T65" fmla="*/ 608 h 662"/>
                <a:gd name="T66" fmla="*/ 1516 w 1521"/>
                <a:gd name="T67" fmla="*/ 611 h 662"/>
                <a:gd name="T68" fmla="*/ 1518 w 1521"/>
                <a:gd name="T69" fmla="*/ 616 h 662"/>
                <a:gd name="T70" fmla="*/ 1520 w 1521"/>
                <a:gd name="T71" fmla="*/ 620 h 662"/>
                <a:gd name="T72" fmla="*/ 1520 w 1521"/>
                <a:gd name="T73" fmla="*/ 625 h 662"/>
                <a:gd name="T74" fmla="*/ 1521 w 1521"/>
                <a:gd name="T75" fmla="*/ 631 h 662"/>
                <a:gd name="T76" fmla="*/ 1520 w 1521"/>
                <a:gd name="T77" fmla="*/ 636 h 662"/>
                <a:gd name="T78" fmla="*/ 1519 w 1521"/>
                <a:gd name="T79" fmla="*/ 640 h 662"/>
                <a:gd name="T80" fmla="*/ 1519 w 1521"/>
                <a:gd name="T81" fmla="*/ 640 h 662"/>
                <a:gd name="T82" fmla="*/ 1517 w 1521"/>
                <a:gd name="T83" fmla="*/ 645 h 662"/>
                <a:gd name="T84" fmla="*/ 1514 w 1521"/>
                <a:gd name="T85" fmla="*/ 649 h 662"/>
                <a:gd name="T86" fmla="*/ 1511 w 1521"/>
                <a:gd name="T87" fmla="*/ 652 h 662"/>
                <a:gd name="T88" fmla="*/ 1507 w 1521"/>
                <a:gd name="T89" fmla="*/ 655 h 662"/>
                <a:gd name="T90" fmla="*/ 1503 w 1521"/>
                <a:gd name="T91" fmla="*/ 658 h 662"/>
                <a:gd name="T92" fmla="*/ 1497 w 1521"/>
                <a:gd name="T93" fmla="*/ 661 h 662"/>
                <a:gd name="T94" fmla="*/ 1493 w 1521"/>
                <a:gd name="T95" fmla="*/ 662 h 662"/>
                <a:gd name="T96" fmla="*/ 1488 w 1521"/>
                <a:gd name="T97" fmla="*/ 662 h 662"/>
                <a:gd name="T98" fmla="*/ 1488 w 1521"/>
                <a:gd name="T99" fmla="*/ 662 h 662"/>
                <a:gd name="T100" fmla="*/ 129 w 1521"/>
                <a:gd name="T101" fmla="*/ 595 h 662"/>
                <a:gd name="T102" fmla="*/ 1399 w 1521"/>
                <a:gd name="T103" fmla="*/ 595 h 662"/>
                <a:gd name="T104" fmla="*/ 795 w 1521"/>
                <a:gd name="T105" fmla="*/ 76 h 662"/>
                <a:gd name="T106" fmla="*/ 129 w 1521"/>
                <a:gd name="T107" fmla="*/ 59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21" h="662">
                  <a:moveTo>
                    <a:pt x="1488" y="662"/>
                  </a:moveTo>
                  <a:lnTo>
                    <a:pt x="33" y="662"/>
                  </a:lnTo>
                  <a:lnTo>
                    <a:pt x="33" y="662"/>
                  </a:lnTo>
                  <a:lnTo>
                    <a:pt x="28" y="662"/>
                  </a:lnTo>
                  <a:lnTo>
                    <a:pt x="23" y="661"/>
                  </a:lnTo>
                  <a:lnTo>
                    <a:pt x="18" y="658"/>
                  </a:lnTo>
                  <a:lnTo>
                    <a:pt x="13" y="655"/>
                  </a:lnTo>
                  <a:lnTo>
                    <a:pt x="10" y="652"/>
                  </a:lnTo>
                  <a:lnTo>
                    <a:pt x="6" y="648"/>
                  </a:lnTo>
                  <a:lnTo>
                    <a:pt x="4" y="644"/>
                  </a:lnTo>
                  <a:lnTo>
                    <a:pt x="2" y="640"/>
                  </a:lnTo>
                  <a:lnTo>
                    <a:pt x="2" y="640"/>
                  </a:lnTo>
                  <a:lnTo>
                    <a:pt x="0" y="635"/>
                  </a:lnTo>
                  <a:lnTo>
                    <a:pt x="0" y="629"/>
                  </a:lnTo>
                  <a:lnTo>
                    <a:pt x="0" y="624"/>
                  </a:lnTo>
                  <a:lnTo>
                    <a:pt x="1" y="619"/>
                  </a:lnTo>
                  <a:lnTo>
                    <a:pt x="3" y="615"/>
                  </a:lnTo>
                  <a:lnTo>
                    <a:pt x="5" y="610"/>
                  </a:lnTo>
                  <a:lnTo>
                    <a:pt x="8" y="606"/>
                  </a:lnTo>
                  <a:lnTo>
                    <a:pt x="12" y="603"/>
                  </a:lnTo>
                  <a:lnTo>
                    <a:pt x="775" y="7"/>
                  </a:lnTo>
                  <a:lnTo>
                    <a:pt x="775" y="7"/>
                  </a:lnTo>
                  <a:lnTo>
                    <a:pt x="780" y="4"/>
                  </a:lnTo>
                  <a:lnTo>
                    <a:pt x="785" y="2"/>
                  </a:lnTo>
                  <a:lnTo>
                    <a:pt x="791" y="0"/>
                  </a:lnTo>
                  <a:lnTo>
                    <a:pt x="796" y="0"/>
                  </a:lnTo>
                  <a:lnTo>
                    <a:pt x="802" y="1"/>
                  </a:lnTo>
                  <a:lnTo>
                    <a:pt x="807" y="2"/>
                  </a:lnTo>
                  <a:lnTo>
                    <a:pt x="812" y="5"/>
                  </a:lnTo>
                  <a:lnTo>
                    <a:pt x="818" y="8"/>
                  </a:lnTo>
                  <a:lnTo>
                    <a:pt x="1510" y="604"/>
                  </a:lnTo>
                  <a:lnTo>
                    <a:pt x="1510" y="604"/>
                  </a:lnTo>
                  <a:lnTo>
                    <a:pt x="1513" y="608"/>
                  </a:lnTo>
                  <a:lnTo>
                    <a:pt x="1516" y="611"/>
                  </a:lnTo>
                  <a:lnTo>
                    <a:pt x="1518" y="616"/>
                  </a:lnTo>
                  <a:lnTo>
                    <a:pt x="1520" y="620"/>
                  </a:lnTo>
                  <a:lnTo>
                    <a:pt x="1520" y="625"/>
                  </a:lnTo>
                  <a:lnTo>
                    <a:pt x="1521" y="631"/>
                  </a:lnTo>
                  <a:lnTo>
                    <a:pt x="1520" y="636"/>
                  </a:lnTo>
                  <a:lnTo>
                    <a:pt x="1519" y="640"/>
                  </a:lnTo>
                  <a:lnTo>
                    <a:pt x="1519" y="640"/>
                  </a:lnTo>
                  <a:lnTo>
                    <a:pt x="1517" y="645"/>
                  </a:lnTo>
                  <a:lnTo>
                    <a:pt x="1514" y="649"/>
                  </a:lnTo>
                  <a:lnTo>
                    <a:pt x="1511" y="652"/>
                  </a:lnTo>
                  <a:lnTo>
                    <a:pt x="1507" y="655"/>
                  </a:lnTo>
                  <a:lnTo>
                    <a:pt x="1503" y="658"/>
                  </a:lnTo>
                  <a:lnTo>
                    <a:pt x="1497" y="661"/>
                  </a:lnTo>
                  <a:lnTo>
                    <a:pt x="1493" y="662"/>
                  </a:lnTo>
                  <a:lnTo>
                    <a:pt x="1488" y="662"/>
                  </a:lnTo>
                  <a:lnTo>
                    <a:pt x="1488" y="662"/>
                  </a:lnTo>
                  <a:close/>
                  <a:moveTo>
                    <a:pt x="129" y="595"/>
                  </a:moveTo>
                  <a:lnTo>
                    <a:pt x="1399" y="595"/>
                  </a:lnTo>
                  <a:lnTo>
                    <a:pt x="795" y="76"/>
                  </a:lnTo>
                  <a:lnTo>
                    <a:pt x="129" y="5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sp>
        <p:nvSpPr>
          <p:cNvPr id="11" name="TextBox 10">
            <a:extLst>
              <a:ext uri="{FF2B5EF4-FFF2-40B4-BE49-F238E27FC236}">
                <a16:creationId xmlns:a16="http://schemas.microsoft.com/office/drawing/2014/main" id="{2FA02F92-BD79-280C-D1F1-F1C38AE94B12}"/>
              </a:ext>
            </a:extLst>
          </p:cNvPr>
          <p:cNvSpPr txBox="1"/>
          <p:nvPr/>
        </p:nvSpPr>
        <p:spPr>
          <a:xfrm>
            <a:off x="8243296" y="1637254"/>
            <a:ext cx="1902894"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oboto"/>
                <a:ea typeface="+mn-ea"/>
                <a:cs typeface="+mn-cs"/>
              </a:rPr>
              <a:t>Health</a:t>
            </a:r>
          </a:p>
        </p:txBody>
      </p:sp>
      <p:sp>
        <p:nvSpPr>
          <p:cNvPr id="22" name="TextBox 21">
            <a:extLst>
              <a:ext uri="{FF2B5EF4-FFF2-40B4-BE49-F238E27FC236}">
                <a16:creationId xmlns:a16="http://schemas.microsoft.com/office/drawing/2014/main" id="{036F4718-8723-A953-F126-E304CBD9F315}"/>
              </a:ext>
            </a:extLst>
          </p:cNvPr>
          <p:cNvSpPr txBox="1"/>
          <p:nvPr/>
        </p:nvSpPr>
        <p:spPr>
          <a:xfrm>
            <a:off x="6044478" y="4250324"/>
            <a:ext cx="1430517" cy="3693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oboto"/>
                <a:ea typeface="+mn-ea"/>
                <a:cs typeface="+mn-cs"/>
              </a:rPr>
              <a:t>Poverty eradication and livelihoods</a:t>
            </a:r>
          </a:p>
        </p:txBody>
      </p:sp>
      <p:sp>
        <p:nvSpPr>
          <p:cNvPr id="33" name="TextBox 32">
            <a:extLst>
              <a:ext uri="{FF2B5EF4-FFF2-40B4-BE49-F238E27FC236}">
                <a16:creationId xmlns:a16="http://schemas.microsoft.com/office/drawing/2014/main" id="{9C57695A-CE3F-B5DE-0EB0-E3BE94FD7546}"/>
              </a:ext>
            </a:extLst>
          </p:cNvPr>
          <p:cNvSpPr txBox="1"/>
          <p:nvPr/>
        </p:nvSpPr>
        <p:spPr>
          <a:xfrm>
            <a:off x="8252589" y="4320753"/>
            <a:ext cx="1902894"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oboto"/>
                <a:ea typeface="+mn-ea"/>
                <a:cs typeface="+mn-cs"/>
              </a:rPr>
              <a:t>Cultural Heritage</a:t>
            </a:r>
          </a:p>
        </p:txBody>
      </p:sp>
      <p:sp>
        <p:nvSpPr>
          <p:cNvPr id="101" name="TextBox 100">
            <a:extLst>
              <a:ext uri="{FF2B5EF4-FFF2-40B4-BE49-F238E27FC236}">
                <a16:creationId xmlns:a16="http://schemas.microsoft.com/office/drawing/2014/main" id="{4498E5FB-DF0A-BAB1-82D7-0C7F7DCB3919}"/>
              </a:ext>
            </a:extLst>
          </p:cNvPr>
          <p:cNvSpPr txBox="1"/>
          <p:nvPr/>
        </p:nvSpPr>
        <p:spPr>
          <a:xfrm>
            <a:off x="3799145" y="4218746"/>
            <a:ext cx="1712589" cy="3693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oboto"/>
                <a:ea typeface="+mn-ea"/>
                <a:cs typeface="+mn-cs"/>
              </a:rPr>
              <a:t>Infrastructure and human settlements</a:t>
            </a:r>
          </a:p>
        </p:txBody>
      </p:sp>
      <p:sp>
        <p:nvSpPr>
          <p:cNvPr id="102" name="TextBox 101">
            <a:extLst>
              <a:ext uri="{FF2B5EF4-FFF2-40B4-BE49-F238E27FC236}">
                <a16:creationId xmlns:a16="http://schemas.microsoft.com/office/drawing/2014/main" id="{5048E799-7835-4EC1-7537-621535C8C329}"/>
              </a:ext>
            </a:extLst>
          </p:cNvPr>
          <p:cNvSpPr txBox="1"/>
          <p:nvPr/>
        </p:nvSpPr>
        <p:spPr>
          <a:xfrm>
            <a:off x="10532153" y="1568365"/>
            <a:ext cx="1902894" cy="3693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oboto"/>
                <a:ea typeface="+mn-ea"/>
                <a:cs typeface="+mn-cs"/>
              </a:rPr>
              <a:t>Ecosystems and biodiversity</a:t>
            </a:r>
          </a:p>
        </p:txBody>
      </p:sp>
      <p:sp>
        <p:nvSpPr>
          <p:cNvPr id="103" name="TextBox 102">
            <a:extLst>
              <a:ext uri="{FF2B5EF4-FFF2-40B4-BE49-F238E27FC236}">
                <a16:creationId xmlns:a16="http://schemas.microsoft.com/office/drawing/2014/main" id="{96B27916-6DE0-36DB-5AA7-595C2A2DBCCB}"/>
              </a:ext>
            </a:extLst>
          </p:cNvPr>
          <p:cNvSpPr txBox="1"/>
          <p:nvPr/>
        </p:nvSpPr>
        <p:spPr>
          <a:xfrm>
            <a:off x="5999281" y="1577100"/>
            <a:ext cx="1902894" cy="3693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oboto"/>
                <a:ea typeface="+mn-ea"/>
                <a:cs typeface="+mn-cs"/>
              </a:rPr>
              <a:t>Agriculture, food and nutrition</a:t>
            </a:r>
          </a:p>
        </p:txBody>
      </p:sp>
      <p:sp>
        <p:nvSpPr>
          <p:cNvPr id="104" name="TextBox 103">
            <a:extLst>
              <a:ext uri="{FF2B5EF4-FFF2-40B4-BE49-F238E27FC236}">
                <a16:creationId xmlns:a16="http://schemas.microsoft.com/office/drawing/2014/main" id="{1A04D382-7875-EF5E-E80B-5ECC186A32C7}"/>
              </a:ext>
            </a:extLst>
          </p:cNvPr>
          <p:cNvSpPr txBox="1"/>
          <p:nvPr/>
        </p:nvSpPr>
        <p:spPr>
          <a:xfrm>
            <a:off x="3775626" y="1641168"/>
            <a:ext cx="1902894"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oboto"/>
                <a:ea typeface="+mn-ea"/>
                <a:cs typeface="+mn-cs"/>
              </a:rPr>
              <a:t>Water &amp; sanitation</a:t>
            </a:r>
          </a:p>
        </p:txBody>
      </p:sp>
    </p:spTree>
    <p:extLst>
      <p:ext uri="{BB962C8B-B14F-4D97-AF65-F5344CB8AC3E}">
        <p14:creationId xmlns:p14="http://schemas.microsoft.com/office/powerpoint/2010/main" val="13008836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A19695-58C2-8FBD-051A-5E3C6B2E98FD}"/>
            </a:ext>
          </a:extLst>
        </p:cNvPr>
        <p:cNvGrpSpPr/>
        <p:nvPr/>
      </p:nvGrpSpPr>
      <p:grpSpPr>
        <a:xfrm>
          <a:off x="0" y="0"/>
          <a:ext cx="0" cy="0"/>
          <a:chOff x="0" y="0"/>
          <a:chExt cx="0" cy="0"/>
        </a:xfrm>
      </p:grpSpPr>
      <p:sp>
        <p:nvSpPr>
          <p:cNvPr id="41" name="Rectangle: Rounded Corners 40">
            <a:extLst>
              <a:ext uri="{FF2B5EF4-FFF2-40B4-BE49-F238E27FC236}">
                <a16:creationId xmlns:a16="http://schemas.microsoft.com/office/drawing/2014/main" id="{136DBCE7-6953-9EC6-1A2B-E3A8A0B47137}"/>
              </a:ext>
            </a:extLst>
          </p:cNvPr>
          <p:cNvSpPr/>
          <p:nvPr/>
        </p:nvSpPr>
        <p:spPr>
          <a:xfrm rot="5400000" flipH="1">
            <a:off x="3881430" y="-1871671"/>
            <a:ext cx="5150500" cy="11470641"/>
          </a:xfrm>
          <a:prstGeom prst="roundRect">
            <a:avLst>
              <a:gd name="adj" fmla="val 0"/>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8075D9A-7620-33FC-A774-E8C525BE3126}"/>
              </a:ext>
            </a:extLst>
          </p:cNvPr>
          <p:cNvSpPr>
            <a:spLocks noGrp="1"/>
          </p:cNvSpPr>
          <p:nvPr>
            <p:ph type="title"/>
          </p:nvPr>
        </p:nvSpPr>
        <p:spPr/>
        <p:txBody>
          <a:bodyPr/>
          <a:lstStyle/>
          <a:p>
            <a:r>
              <a:rPr lang="en-US"/>
              <a:t>Targets (dimensions of the iterative adaptation cycle)</a:t>
            </a:r>
          </a:p>
        </p:txBody>
      </p:sp>
      <p:sp>
        <p:nvSpPr>
          <p:cNvPr id="4" name="Slide Number Placeholder 3">
            <a:extLst>
              <a:ext uri="{FF2B5EF4-FFF2-40B4-BE49-F238E27FC236}">
                <a16:creationId xmlns:a16="http://schemas.microsoft.com/office/drawing/2014/main" id="{371CBA64-57A4-8730-C542-19F80CFA7C5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BD9EE9C-3A9A-458B-8C8B-545D7DF0CA2D}" type="slidenum">
              <a:rPr kumimoji="0" lang="en-ID" sz="1000" b="1" i="0" u="none" strike="noStrike" kern="1200" cap="none" spc="0" normalizeH="0" baseline="0" noProof="0" smtClean="0">
                <a:ln>
                  <a:noFill/>
                </a:ln>
                <a:solidFill>
                  <a:srgbClr val="1C97DA"/>
                </a:solidFill>
                <a:effectLst/>
                <a:uLnTx/>
                <a:uFillTx/>
                <a:latin typeface="Robot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ID" sz="1000" b="1" i="0" u="none" strike="noStrike" kern="1200" cap="none" spc="0" normalizeH="0" baseline="0" noProof="0">
              <a:ln>
                <a:noFill/>
              </a:ln>
              <a:solidFill>
                <a:srgbClr val="1C97DA"/>
              </a:solidFill>
              <a:effectLst/>
              <a:uLnTx/>
              <a:uFillTx/>
              <a:latin typeface="Roboto"/>
              <a:ea typeface="+mn-ea"/>
              <a:cs typeface="+mn-cs"/>
            </a:endParaRPr>
          </a:p>
        </p:txBody>
      </p:sp>
      <p:sp>
        <p:nvSpPr>
          <p:cNvPr id="3" name="Oval 2">
            <a:extLst>
              <a:ext uri="{FF2B5EF4-FFF2-40B4-BE49-F238E27FC236}">
                <a16:creationId xmlns:a16="http://schemas.microsoft.com/office/drawing/2014/main" id="{C7181930-5D36-0773-C7AA-1B411E696FD0}"/>
              </a:ext>
            </a:extLst>
          </p:cNvPr>
          <p:cNvSpPr/>
          <p:nvPr/>
        </p:nvSpPr>
        <p:spPr>
          <a:xfrm>
            <a:off x="5186225" y="2662141"/>
            <a:ext cx="2403016" cy="2403016"/>
          </a:xfrm>
          <a:prstGeom prst="ellipse">
            <a:avLst/>
          </a:prstGeom>
          <a:solidFill>
            <a:schemeClr val="bg1"/>
          </a:solidFill>
          <a:ln>
            <a:noFill/>
          </a:ln>
          <a:effectLst>
            <a:outerShdw blurRad="2032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Roboto"/>
                <a:ea typeface="+mn-ea"/>
                <a:cs typeface="+mn-cs"/>
              </a:rPr>
              <a:t>    </a:t>
            </a:r>
            <a:endParaRPr kumimoji="0" lang="en-ID" sz="1200" b="0" i="0" u="none" strike="noStrike" kern="1200" cap="none" spc="0" normalizeH="0" baseline="0" noProof="0">
              <a:ln>
                <a:noFill/>
              </a:ln>
              <a:solidFill>
                <a:prstClr val="white"/>
              </a:solidFill>
              <a:effectLst/>
              <a:uLnTx/>
              <a:uFillTx/>
              <a:latin typeface="Roboto"/>
              <a:ea typeface="+mn-ea"/>
              <a:cs typeface="+mn-cs"/>
            </a:endParaRPr>
          </a:p>
        </p:txBody>
      </p:sp>
      <p:sp>
        <p:nvSpPr>
          <p:cNvPr id="6" name="Oval 5">
            <a:extLst>
              <a:ext uri="{FF2B5EF4-FFF2-40B4-BE49-F238E27FC236}">
                <a16:creationId xmlns:a16="http://schemas.microsoft.com/office/drawing/2014/main" id="{E7AF22DD-06E3-B181-F151-9703CED21AE9}"/>
              </a:ext>
            </a:extLst>
          </p:cNvPr>
          <p:cNvSpPr/>
          <p:nvPr/>
        </p:nvSpPr>
        <p:spPr>
          <a:xfrm>
            <a:off x="4725430" y="2201346"/>
            <a:ext cx="3324606" cy="3324606"/>
          </a:xfrm>
          <a:prstGeom prst="ellips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grpSp>
        <p:nvGrpSpPr>
          <p:cNvPr id="43" name="Group 42">
            <a:extLst>
              <a:ext uri="{FF2B5EF4-FFF2-40B4-BE49-F238E27FC236}">
                <a16:creationId xmlns:a16="http://schemas.microsoft.com/office/drawing/2014/main" id="{EB321326-BE76-C78E-EAE0-0DFC329372DB}"/>
              </a:ext>
            </a:extLst>
          </p:cNvPr>
          <p:cNvGrpSpPr/>
          <p:nvPr/>
        </p:nvGrpSpPr>
        <p:grpSpPr>
          <a:xfrm>
            <a:off x="4746895" y="2222811"/>
            <a:ext cx="3294959" cy="3281675"/>
            <a:chOff x="3742890" y="1106375"/>
            <a:chExt cx="4725266" cy="4706216"/>
          </a:xfrm>
        </p:grpSpPr>
        <p:sp>
          <p:nvSpPr>
            <p:cNvPr id="44" name="Arc 43">
              <a:extLst>
                <a:ext uri="{FF2B5EF4-FFF2-40B4-BE49-F238E27FC236}">
                  <a16:creationId xmlns:a16="http://schemas.microsoft.com/office/drawing/2014/main" id="{C7DF70CD-9AD8-42B6-6A65-F6ACB4F1B43F}"/>
                </a:ext>
              </a:extLst>
            </p:cNvPr>
            <p:cNvSpPr/>
            <p:nvPr/>
          </p:nvSpPr>
          <p:spPr>
            <a:xfrm>
              <a:off x="3761940" y="1106375"/>
              <a:ext cx="4706216" cy="4706216"/>
            </a:xfrm>
            <a:prstGeom prst="arc">
              <a:avLst>
                <a:gd name="adj1" fmla="val 17576154"/>
                <a:gd name="adj2" fmla="val 20326711"/>
              </a:avLst>
            </a:prstGeom>
            <a:ln w="111125" cap="rnd">
              <a:solidFill>
                <a:srgbClr val="0089EF"/>
              </a:solidFill>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Roboto"/>
                <a:ea typeface="+mn-ea"/>
                <a:cs typeface="+mn-cs"/>
              </a:endParaRPr>
            </a:p>
          </p:txBody>
        </p:sp>
        <p:sp>
          <p:nvSpPr>
            <p:cNvPr id="45" name="Arc 44">
              <a:extLst>
                <a:ext uri="{FF2B5EF4-FFF2-40B4-BE49-F238E27FC236}">
                  <a16:creationId xmlns:a16="http://schemas.microsoft.com/office/drawing/2014/main" id="{D0F23676-294E-00F6-A443-A17BDC4C30C3}"/>
                </a:ext>
              </a:extLst>
            </p:cNvPr>
            <p:cNvSpPr/>
            <p:nvPr/>
          </p:nvSpPr>
          <p:spPr>
            <a:xfrm flipH="1">
              <a:off x="3742890" y="1106375"/>
              <a:ext cx="4706216" cy="4706216"/>
            </a:xfrm>
            <a:prstGeom prst="arc">
              <a:avLst>
                <a:gd name="adj1" fmla="val 17729714"/>
                <a:gd name="adj2" fmla="val 20343747"/>
              </a:avLst>
            </a:prstGeom>
            <a:ln w="111125" cap="rnd">
              <a:solidFill>
                <a:schemeClr val="accent1"/>
              </a:solidFill>
              <a:round/>
              <a:headEnd type="arrow"/>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46" name="Group 45">
            <a:extLst>
              <a:ext uri="{FF2B5EF4-FFF2-40B4-BE49-F238E27FC236}">
                <a16:creationId xmlns:a16="http://schemas.microsoft.com/office/drawing/2014/main" id="{4886FA21-C4A6-1CAA-F921-586A127046A9}"/>
              </a:ext>
            </a:extLst>
          </p:cNvPr>
          <p:cNvGrpSpPr/>
          <p:nvPr/>
        </p:nvGrpSpPr>
        <p:grpSpPr>
          <a:xfrm flipV="1">
            <a:off x="4746895" y="2222811"/>
            <a:ext cx="3281675" cy="3281675"/>
            <a:chOff x="3742890" y="1106375"/>
            <a:chExt cx="4706216" cy="4706216"/>
          </a:xfrm>
        </p:grpSpPr>
        <p:sp>
          <p:nvSpPr>
            <p:cNvPr id="47" name="Arc 46">
              <a:extLst>
                <a:ext uri="{FF2B5EF4-FFF2-40B4-BE49-F238E27FC236}">
                  <a16:creationId xmlns:a16="http://schemas.microsoft.com/office/drawing/2014/main" id="{2575BBAD-3BAF-1545-4E88-49CBC3959F32}"/>
                </a:ext>
              </a:extLst>
            </p:cNvPr>
            <p:cNvSpPr/>
            <p:nvPr/>
          </p:nvSpPr>
          <p:spPr>
            <a:xfrm>
              <a:off x="3742890" y="1106375"/>
              <a:ext cx="4706216" cy="4706216"/>
            </a:xfrm>
            <a:prstGeom prst="arc">
              <a:avLst>
                <a:gd name="adj1" fmla="val 17902375"/>
                <a:gd name="adj2" fmla="val 20392528"/>
              </a:avLst>
            </a:prstGeom>
            <a:ln w="111125" cap="rnd">
              <a:solidFill>
                <a:schemeClr val="accent3"/>
              </a:solidFill>
              <a:round/>
              <a:headEnd type="arrow"/>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Roboto"/>
                <a:ea typeface="+mn-ea"/>
                <a:cs typeface="+mn-cs"/>
              </a:endParaRPr>
            </a:p>
          </p:txBody>
        </p:sp>
        <p:sp>
          <p:nvSpPr>
            <p:cNvPr id="48" name="Arc 47">
              <a:extLst>
                <a:ext uri="{FF2B5EF4-FFF2-40B4-BE49-F238E27FC236}">
                  <a16:creationId xmlns:a16="http://schemas.microsoft.com/office/drawing/2014/main" id="{8C0C0CBA-837B-5F1B-A1E7-5D613293DD36}"/>
                </a:ext>
              </a:extLst>
            </p:cNvPr>
            <p:cNvSpPr/>
            <p:nvPr/>
          </p:nvSpPr>
          <p:spPr>
            <a:xfrm flipH="1">
              <a:off x="3742890" y="1106375"/>
              <a:ext cx="4706216" cy="4706216"/>
            </a:xfrm>
            <a:prstGeom prst="arc">
              <a:avLst>
                <a:gd name="adj1" fmla="val 17856647"/>
                <a:gd name="adj2" fmla="val 20434478"/>
              </a:avLst>
            </a:prstGeom>
            <a:ln w="111125" cap="rnd">
              <a:solidFill>
                <a:schemeClr val="accent4"/>
              </a:solidFill>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52" name="Group 51">
            <a:extLst>
              <a:ext uri="{FF2B5EF4-FFF2-40B4-BE49-F238E27FC236}">
                <a16:creationId xmlns:a16="http://schemas.microsoft.com/office/drawing/2014/main" id="{466BDF81-206E-051C-FD61-94A30A7B33D0}"/>
              </a:ext>
            </a:extLst>
          </p:cNvPr>
          <p:cNvGrpSpPr/>
          <p:nvPr/>
        </p:nvGrpSpPr>
        <p:grpSpPr>
          <a:xfrm>
            <a:off x="4733611" y="2247613"/>
            <a:ext cx="841877" cy="841877"/>
            <a:chOff x="2113138" y="1888897"/>
            <a:chExt cx="957720" cy="957720"/>
          </a:xfrm>
        </p:grpSpPr>
        <p:sp>
          <p:nvSpPr>
            <p:cNvPr id="53" name="Elipse 29">
              <a:extLst>
                <a:ext uri="{FF2B5EF4-FFF2-40B4-BE49-F238E27FC236}">
                  <a16:creationId xmlns:a16="http://schemas.microsoft.com/office/drawing/2014/main" id="{903CBA34-C130-6B1B-C090-56C9288F0777}"/>
                </a:ext>
              </a:extLst>
            </p:cNvPr>
            <p:cNvSpPr/>
            <p:nvPr/>
          </p:nvSpPr>
          <p:spPr>
            <a:xfrm>
              <a:off x="2113138" y="1888897"/>
              <a:ext cx="957720" cy="957720"/>
            </a:xfrm>
            <a:prstGeom prst="ellipse">
              <a:avLst/>
            </a:prstGeom>
            <a:solidFill>
              <a:schemeClr val="bg1"/>
            </a:solidFill>
            <a:ln>
              <a:noFill/>
            </a:ln>
            <a:effectLst>
              <a:outerShdw blurRad="2032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a:ea typeface="+mn-ea"/>
                <a:cs typeface="+mn-cs"/>
              </a:endParaRPr>
            </a:p>
          </p:txBody>
        </p:sp>
        <p:sp>
          <p:nvSpPr>
            <p:cNvPr id="54" name="Oval 53">
              <a:extLst>
                <a:ext uri="{FF2B5EF4-FFF2-40B4-BE49-F238E27FC236}">
                  <a16:creationId xmlns:a16="http://schemas.microsoft.com/office/drawing/2014/main" id="{EDAF5B2A-06F7-E798-0FD8-5AA831962A7F}"/>
                </a:ext>
              </a:extLst>
            </p:cNvPr>
            <p:cNvSpPr/>
            <p:nvPr/>
          </p:nvSpPr>
          <p:spPr>
            <a:xfrm>
              <a:off x="2200705" y="1976466"/>
              <a:ext cx="782583" cy="782583"/>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58" name="Group 57">
            <a:extLst>
              <a:ext uri="{FF2B5EF4-FFF2-40B4-BE49-F238E27FC236}">
                <a16:creationId xmlns:a16="http://schemas.microsoft.com/office/drawing/2014/main" id="{121CD92F-F6FA-6CCA-5997-3C6FD339FEAE}"/>
              </a:ext>
            </a:extLst>
          </p:cNvPr>
          <p:cNvGrpSpPr/>
          <p:nvPr/>
        </p:nvGrpSpPr>
        <p:grpSpPr>
          <a:xfrm>
            <a:off x="7229624" y="2247613"/>
            <a:ext cx="841877" cy="841877"/>
            <a:chOff x="2113138" y="1888897"/>
            <a:chExt cx="957720" cy="957720"/>
          </a:xfrm>
        </p:grpSpPr>
        <p:sp>
          <p:nvSpPr>
            <p:cNvPr id="59" name="Elipse 29">
              <a:extLst>
                <a:ext uri="{FF2B5EF4-FFF2-40B4-BE49-F238E27FC236}">
                  <a16:creationId xmlns:a16="http://schemas.microsoft.com/office/drawing/2014/main" id="{E25ED102-4C94-6FB5-C032-8588AA97F518}"/>
                </a:ext>
              </a:extLst>
            </p:cNvPr>
            <p:cNvSpPr/>
            <p:nvPr/>
          </p:nvSpPr>
          <p:spPr>
            <a:xfrm>
              <a:off x="2113138" y="1888897"/>
              <a:ext cx="957720" cy="957720"/>
            </a:xfrm>
            <a:prstGeom prst="ellipse">
              <a:avLst/>
            </a:prstGeom>
            <a:solidFill>
              <a:schemeClr val="bg1"/>
            </a:solidFill>
            <a:ln>
              <a:noFill/>
            </a:ln>
            <a:effectLst>
              <a:outerShdw blurRad="2032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a:ea typeface="+mn-ea"/>
                <a:cs typeface="+mn-cs"/>
              </a:endParaRPr>
            </a:p>
          </p:txBody>
        </p:sp>
        <p:sp>
          <p:nvSpPr>
            <p:cNvPr id="60" name="Oval 59">
              <a:extLst>
                <a:ext uri="{FF2B5EF4-FFF2-40B4-BE49-F238E27FC236}">
                  <a16:creationId xmlns:a16="http://schemas.microsoft.com/office/drawing/2014/main" id="{9600140F-84DA-C7D8-BFFC-95E1BB6A562A}"/>
                </a:ext>
              </a:extLst>
            </p:cNvPr>
            <p:cNvSpPr/>
            <p:nvPr/>
          </p:nvSpPr>
          <p:spPr>
            <a:xfrm>
              <a:off x="2200705" y="1976466"/>
              <a:ext cx="782583" cy="782583"/>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83" name="Group 82">
            <a:extLst>
              <a:ext uri="{FF2B5EF4-FFF2-40B4-BE49-F238E27FC236}">
                <a16:creationId xmlns:a16="http://schemas.microsoft.com/office/drawing/2014/main" id="{4573B4A4-8EEB-6D71-5897-9681E94DC31C}"/>
              </a:ext>
            </a:extLst>
          </p:cNvPr>
          <p:cNvGrpSpPr/>
          <p:nvPr/>
        </p:nvGrpSpPr>
        <p:grpSpPr>
          <a:xfrm>
            <a:off x="4733611" y="4511087"/>
            <a:ext cx="841877" cy="841877"/>
            <a:chOff x="2113138" y="1888897"/>
            <a:chExt cx="957720" cy="957720"/>
          </a:xfrm>
        </p:grpSpPr>
        <p:sp>
          <p:nvSpPr>
            <p:cNvPr id="84" name="Elipse 29">
              <a:extLst>
                <a:ext uri="{FF2B5EF4-FFF2-40B4-BE49-F238E27FC236}">
                  <a16:creationId xmlns:a16="http://schemas.microsoft.com/office/drawing/2014/main" id="{766B3F0C-0E0C-D828-44A0-D5A99CE69DA5}"/>
                </a:ext>
              </a:extLst>
            </p:cNvPr>
            <p:cNvSpPr/>
            <p:nvPr/>
          </p:nvSpPr>
          <p:spPr>
            <a:xfrm>
              <a:off x="2113138" y="1888897"/>
              <a:ext cx="957720" cy="957720"/>
            </a:xfrm>
            <a:prstGeom prst="ellipse">
              <a:avLst/>
            </a:prstGeom>
            <a:solidFill>
              <a:schemeClr val="bg1"/>
            </a:solidFill>
            <a:ln>
              <a:noFill/>
            </a:ln>
            <a:effectLst>
              <a:outerShdw blurRad="2032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a:ea typeface="+mn-ea"/>
                <a:cs typeface="+mn-cs"/>
              </a:endParaRPr>
            </a:p>
          </p:txBody>
        </p:sp>
        <p:sp>
          <p:nvSpPr>
            <p:cNvPr id="85" name="Oval 84">
              <a:extLst>
                <a:ext uri="{FF2B5EF4-FFF2-40B4-BE49-F238E27FC236}">
                  <a16:creationId xmlns:a16="http://schemas.microsoft.com/office/drawing/2014/main" id="{7740E8AC-9DB7-DBC8-8E8F-AF29340634D9}"/>
                </a:ext>
              </a:extLst>
            </p:cNvPr>
            <p:cNvSpPr/>
            <p:nvPr/>
          </p:nvSpPr>
          <p:spPr>
            <a:xfrm>
              <a:off x="2200705" y="1976466"/>
              <a:ext cx="782583" cy="78258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86" name="Group 85">
            <a:extLst>
              <a:ext uri="{FF2B5EF4-FFF2-40B4-BE49-F238E27FC236}">
                <a16:creationId xmlns:a16="http://schemas.microsoft.com/office/drawing/2014/main" id="{926994DF-D342-AF0F-9E41-C44D6A51FF0B}"/>
              </a:ext>
            </a:extLst>
          </p:cNvPr>
          <p:cNvGrpSpPr/>
          <p:nvPr/>
        </p:nvGrpSpPr>
        <p:grpSpPr>
          <a:xfrm>
            <a:off x="7229624" y="4511087"/>
            <a:ext cx="841877" cy="841877"/>
            <a:chOff x="2113138" y="1888897"/>
            <a:chExt cx="957720" cy="957720"/>
          </a:xfrm>
        </p:grpSpPr>
        <p:sp>
          <p:nvSpPr>
            <p:cNvPr id="87" name="Elipse 29">
              <a:extLst>
                <a:ext uri="{FF2B5EF4-FFF2-40B4-BE49-F238E27FC236}">
                  <a16:creationId xmlns:a16="http://schemas.microsoft.com/office/drawing/2014/main" id="{3CCE5E46-D2D1-B4EE-CF14-07E85B48C386}"/>
                </a:ext>
              </a:extLst>
            </p:cNvPr>
            <p:cNvSpPr/>
            <p:nvPr/>
          </p:nvSpPr>
          <p:spPr>
            <a:xfrm>
              <a:off x="2113138" y="1888897"/>
              <a:ext cx="957720" cy="957720"/>
            </a:xfrm>
            <a:prstGeom prst="ellipse">
              <a:avLst/>
            </a:prstGeom>
            <a:solidFill>
              <a:schemeClr val="bg1"/>
            </a:solidFill>
            <a:ln>
              <a:noFill/>
            </a:ln>
            <a:effectLst>
              <a:outerShdw blurRad="2032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a:ea typeface="+mn-ea"/>
                <a:cs typeface="+mn-cs"/>
              </a:endParaRPr>
            </a:p>
          </p:txBody>
        </p:sp>
        <p:sp>
          <p:nvSpPr>
            <p:cNvPr id="88" name="Oval 87">
              <a:extLst>
                <a:ext uri="{FF2B5EF4-FFF2-40B4-BE49-F238E27FC236}">
                  <a16:creationId xmlns:a16="http://schemas.microsoft.com/office/drawing/2014/main" id="{496557E9-1A56-D976-0B6B-E7EC44C5DD86}"/>
                </a:ext>
              </a:extLst>
            </p:cNvPr>
            <p:cNvSpPr/>
            <p:nvPr/>
          </p:nvSpPr>
          <p:spPr>
            <a:xfrm>
              <a:off x="2200705" y="1976466"/>
              <a:ext cx="782583" cy="782583"/>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grpSp>
      <p:cxnSp>
        <p:nvCxnSpPr>
          <p:cNvPr id="89" name="Straight Connector 88">
            <a:extLst>
              <a:ext uri="{FF2B5EF4-FFF2-40B4-BE49-F238E27FC236}">
                <a16:creationId xmlns:a16="http://schemas.microsoft.com/office/drawing/2014/main" id="{863EC8CC-2CFB-15F2-B05B-2956B6BDF036}"/>
              </a:ext>
            </a:extLst>
          </p:cNvPr>
          <p:cNvCxnSpPr>
            <a:cxnSpLocks/>
          </p:cNvCxnSpPr>
          <p:nvPr/>
        </p:nvCxnSpPr>
        <p:spPr>
          <a:xfrm flipH="1" flipV="1">
            <a:off x="938610" y="4592675"/>
            <a:ext cx="3529584" cy="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66E1C17E-FCA0-1D62-5F04-E7ED5E11D82F}"/>
              </a:ext>
            </a:extLst>
          </p:cNvPr>
          <p:cNvSpPr txBox="1"/>
          <p:nvPr/>
        </p:nvSpPr>
        <p:spPr>
          <a:xfrm>
            <a:off x="938610" y="1689223"/>
            <a:ext cx="3324607" cy="258532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1E4D7F"/>
                </a:solidFill>
                <a:effectLst/>
                <a:uLnTx/>
                <a:uFillTx/>
                <a:latin typeface="Roboto"/>
                <a:ea typeface="+mn-ea"/>
                <a:cs typeface="+mn-cs"/>
              </a:rPr>
              <a:t>Impact, vulnerability and risk assessmen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44546A"/>
                </a:solidFill>
                <a:effectLst/>
                <a:uLnTx/>
                <a:uFillTx/>
                <a:latin typeface="Roboto"/>
                <a:ea typeface="+mn-ea"/>
                <a:cs typeface="+mn-cs"/>
              </a:rPr>
              <a:t>by 2030 all Parties have conducted up-to-date assessments of climate hazards, climate change impacts and exposure to risks and vulnerabilities and have used the outcomes of these assessments to inform their formulation of national adaptation plans, policy instruments, and planning processes and/or strategies, an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44546A"/>
                </a:solidFill>
                <a:effectLst/>
                <a:uLnTx/>
                <a:uFillTx/>
                <a:latin typeface="Roboto"/>
                <a:ea typeface="+mn-ea"/>
                <a:cs typeface="+mn-cs"/>
              </a:rPr>
              <a:t>by 2027 all Parties have established multi-hazard early warning systems, climate information services for risk reduction and systematic observation to support improved climate-related data, information and services; </a:t>
            </a:r>
          </a:p>
        </p:txBody>
      </p:sp>
      <p:sp>
        <p:nvSpPr>
          <p:cNvPr id="92" name="TextBox 91">
            <a:extLst>
              <a:ext uri="{FF2B5EF4-FFF2-40B4-BE49-F238E27FC236}">
                <a16:creationId xmlns:a16="http://schemas.microsoft.com/office/drawing/2014/main" id="{E93B4D20-E291-66CC-B976-1F3F6FADAB04}"/>
              </a:ext>
            </a:extLst>
          </p:cNvPr>
          <p:cNvSpPr txBox="1"/>
          <p:nvPr/>
        </p:nvSpPr>
        <p:spPr>
          <a:xfrm>
            <a:off x="938610" y="4906997"/>
            <a:ext cx="3530869" cy="113107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22D786"/>
                </a:solidFill>
                <a:effectLst/>
                <a:uLnTx/>
                <a:uFillTx/>
                <a:latin typeface="Roboto"/>
                <a:ea typeface="+mn-ea"/>
                <a:cs typeface="+mn-cs"/>
              </a:rPr>
              <a:t>Monitoring, evaluation and learning</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44546A"/>
                </a:solidFill>
                <a:effectLst/>
                <a:uLnTx/>
                <a:uFillTx/>
                <a:latin typeface="Roboto"/>
                <a:ea typeface="+mn-ea"/>
                <a:cs typeface="+mn-cs"/>
              </a:rPr>
              <a:t>by 2030 all Parties have designed, established and operationalized a system for monitoring, evaluation and learning for their national adaptation efforts and have built the required institutional capacity to fully implement the system.</a:t>
            </a:r>
          </a:p>
        </p:txBody>
      </p:sp>
      <p:cxnSp>
        <p:nvCxnSpPr>
          <p:cNvPr id="94" name="Straight Connector 93">
            <a:extLst>
              <a:ext uri="{FF2B5EF4-FFF2-40B4-BE49-F238E27FC236}">
                <a16:creationId xmlns:a16="http://schemas.microsoft.com/office/drawing/2014/main" id="{BDB5A576-1DD9-C324-E8B7-79279FFE8BEA}"/>
              </a:ext>
            </a:extLst>
          </p:cNvPr>
          <p:cNvCxnSpPr>
            <a:cxnSpLocks/>
          </p:cNvCxnSpPr>
          <p:nvPr/>
        </p:nvCxnSpPr>
        <p:spPr>
          <a:xfrm flipH="1" flipV="1">
            <a:off x="8327453" y="4592675"/>
            <a:ext cx="3529584" cy="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E1D8BB64-90AA-1B91-5B01-0A4237233BC4}"/>
              </a:ext>
            </a:extLst>
          </p:cNvPr>
          <p:cNvSpPr txBox="1"/>
          <p:nvPr/>
        </p:nvSpPr>
        <p:spPr>
          <a:xfrm>
            <a:off x="8327453" y="1689223"/>
            <a:ext cx="3530869" cy="1454244"/>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1C97DA"/>
                </a:solidFill>
                <a:effectLst/>
                <a:uLnTx/>
                <a:uFillTx/>
                <a:latin typeface="Roboto"/>
                <a:ea typeface="+mn-ea"/>
                <a:cs typeface="+mn-cs"/>
              </a:rPr>
              <a:t>Planning</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44546A"/>
                </a:solidFill>
                <a:effectLst/>
                <a:uLnTx/>
                <a:uFillTx/>
                <a:latin typeface="Roboto"/>
                <a:ea typeface="+mn-ea"/>
                <a:cs typeface="+mn-cs"/>
              </a:rPr>
              <a:t>by 2030 all Parties have in place country-driven, gender-responsive, participatory and fully transparent national adaptation plans, policy instruments, and planning processes and/or strategies, covering, as appropriate, ecosystems, sectors, people and vulnerable communities, and have mainstreamed adaptation in all relevant strategies and plans; </a:t>
            </a:r>
          </a:p>
        </p:txBody>
      </p:sp>
      <p:sp>
        <p:nvSpPr>
          <p:cNvPr id="96" name="TextBox 95">
            <a:extLst>
              <a:ext uri="{FF2B5EF4-FFF2-40B4-BE49-F238E27FC236}">
                <a16:creationId xmlns:a16="http://schemas.microsoft.com/office/drawing/2014/main" id="{EEEB6255-4669-4E65-55A1-5BB5E5722F78}"/>
              </a:ext>
            </a:extLst>
          </p:cNvPr>
          <p:cNvSpPr txBox="1"/>
          <p:nvPr/>
        </p:nvSpPr>
        <p:spPr>
          <a:xfrm>
            <a:off x="8327453" y="4906997"/>
            <a:ext cx="3530869" cy="1131079"/>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FFC000"/>
                </a:solidFill>
                <a:effectLst/>
                <a:uLnTx/>
                <a:uFillTx/>
                <a:latin typeface="Roboto"/>
                <a:ea typeface="+mn-ea"/>
                <a:cs typeface="+mn-cs"/>
              </a:rPr>
              <a:t>Implementation</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44546A"/>
                </a:solidFill>
                <a:effectLst/>
                <a:uLnTx/>
                <a:uFillTx/>
                <a:latin typeface="Roboto"/>
                <a:ea typeface="+mn-ea"/>
                <a:cs typeface="+mn-cs"/>
              </a:rPr>
              <a:t>by 2030 all Parties have progressed in implementing their national adaptation plans, policies and strategies and, as a result, have reduced the social and economic impacts of the key climate hazards identified in the assessments referred to in paragraph 10(a) above; </a:t>
            </a:r>
          </a:p>
        </p:txBody>
      </p:sp>
      <p:grpSp>
        <p:nvGrpSpPr>
          <p:cNvPr id="138" name="Group 137">
            <a:extLst>
              <a:ext uri="{FF2B5EF4-FFF2-40B4-BE49-F238E27FC236}">
                <a16:creationId xmlns:a16="http://schemas.microsoft.com/office/drawing/2014/main" id="{28BA03F2-9DAD-9B02-E82E-5A5C7065A7BF}"/>
              </a:ext>
            </a:extLst>
          </p:cNvPr>
          <p:cNvGrpSpPr/>
          <p:nvPr/>
        </p:nvGrpSpPr>
        <p:grpSpPr>
          <a:xfrm>
            <a:off x="7456907" y="2436613"/>
            <a:ext cx="443728" cy="443728"/>
            <a:chOff x="9155113" y="2168525"/>
            <a:chExt cx="360363" cy="360363"/>
          </a:xfrm>
          <a:solidFill>
            <a:schemeClr val="bg1"/>
          </a:solidFill>
        </p:grpSpPr>
        <p:sp>
          <p:nvSpPr>
            <p:cNvPr id="139" name="Freeform 91">
              <a:extLst>
                <a:ext uri="{FF2B5EF4-FFF2-40B4-BE49-F238E27FC236}">
                  <a16:creationId xmlns:a16="http://schemas.microsoft.com/office/drawing/2014/main" id="{CF675CF8-69A7-1561-C824-B4B44224241C}"/>
                </a:ext>
              </a:extLst>
            </p:cNvPr>
            <p:cNvSpPr>
              <a:spLocks noEditPoints="1"/>
            </p:cNvSpPr>
            <p:nvPr/>
          </p:nvSpPr>
          <p:spPr bwMode="auto">
            <a:xfrm>
              <a:off x="9336088" y="2347913"/>
              <a:ext cx="179388" cy="180975"/>
            </a:xfrm>
            <a:custGeom>
              <a:avLst/>
              <a:gdLst>
                <a:gd name="T0" fmla="*/ 33 w 794"/>
                <a:gd name="T1" fmla="*/ 794 h 794"/>
                <a:gd name="T2" fmla="*/ 33 w 794"/>
                <a:gd name="T3" fmla="*/ 794 h 794"/>
                <a:gd name="T4" fmla="*/ 27 w 794"/>
                <a:gd name="T5" fmla="*/ 794 h 794"/>
                <a:gd name="T6" fmla="*/ 21 w 794"/>
                <a:gd name="T7" fmla="*/ 792 h 794"/>
                <a:gd name="T8" fmla="*/ 15 w 794"/>
                <a:gd name="T9" fmla="*/ 789 h 794"/>
                <a:gd name="T10" fmla="*/ 10 w 794"/>
                <a:gd name="T11" fmla="*/ 785 h 794"/>
                <a:gd name="T12" fmla="*/ 10 w 794"/>
                <a:gd name="T13" fmla="*/ 785 h 794"/>
                <a:gd name="T14" fmla="*/ 4 w 794"/>
                <a:gd name="T15" fmla="*/ 778 h 794"/>
                <a:gd name="T16" fmla="*/ 1 w 794"/>
                <a:gd name="T17" fmla="*/ 769 h 794"/>
                <a:gd name="T18" fmla="*/ 0 w 794"/>
                <a:gd name="T19" fmla="*/ 761 h 794"/>
                <a:gd name="T20" fmla="*/ 1 w 794"/>
                <a:gd name="T21" fmla="*/ 753 h 794"/>
                <a:gd name="T22" fmla="*/ 68 w 794"/>
                <a:gd name="T23" fmla="*/ 521 h 794"/>
                <a:gd name="T24" fmla="*/ 68 w 794"/>
                <a:gd name="T25" fmla="*/ 521 h 794"/>
                <a:gd name="T26" fmla="*/ 71 w 794"/>
                <a:gd name="T27" fmla="*/ 513 h 794"/>
                <a:gd name="T28" fmla="*/ 76 w 794"/>
                <a:gd name="T29" fmla="*/ 506 h 794"/>
                <a:gd name="T30" fmla="*/ 573 w 794"/>
                <a:gd name="T31" fmla="*/ 10 h 794"/>
                <a:gd name="T32" fmla="*/ 573 w 794"/>
                <a:gd name="T33" fmla="*/ 10 h 794"/>
                <a:gd name="T34" fmla="*/ 578 w 794"/>
                <a:gd name="T35" fmla="*/ 6 h 794"/>
                <a:gd name="T36" fmla="*/ 583 w 794"/>
                <a:gd name="T37" fmla="*/ 3 h 794"/>
                <a:gd name="T38" fmla="*/ 589 w 794"/>
                <a:gd name="T39" fmla="*/ 1 h 794"/>
                <a:gd name="T40" fmla="*/ 595 w 794"/>
                <a:gd name="T41" fmla="*/ 0 h 794"/>
                <a:gd name="T42" fmla="*/ 602 w 794"/>
                <a:gd name="T43" fmla="*/ 1 h 794"/>
                <a:gd name="T44" fmla="*/ 608 w 794"/>
                <a:gd name="T45" fmla="*/ 3 h 794"/>
                <a:gd name="T46" fmla="*/ 614 w 794"/>
                <a:gd name="T47" fmla="*/ 6 h 794"/>
                <a:gd name="T48" fmla="*/ 619 w 794"/>
                <a:gd name="T49" fmla="*/ 10 h 794"/>
                <a:gd name="T50" fmla="*/ 785 w 794"/>
                <a:gd name="T51" fmla="*/ 175 h 794"/>
                <a:gd name="T52" fmla="*/ 785 w 794"/>
                <a:gd name="T53" fmla="*/ 175 h 794"/>
                <a:gd name="T54" fmla="*/ 789 w 794"/>
                <a:gd name="T55" fmla="*/ 180 h 794"/>
                <a:gd name="T56" fmla="*/ 792 w 794"/>
                <a:gd name="T57" fmla="*/ 186 h 794"/>
                <a:gd name="T58" fmla="*/ 793 w 794"/>
                <a:gd name="T59" fmla="*/ 193 h 794"/>
                <a:gd name="T60" fmla="*/ 794 w 794"/>
                <a:gd name="T61" fmla="*/ 199 h 794"/>
                <a:gd name="T62" fmla="*/ 794 w 794"/>
                <a:gd name="T63" fmla="*/ 199 h 794"/>
                <a:gd name="T64" fmla="*/ 793 w 794"/>
                <a:gd name="T65" fmla="*/ 205 h 794"/>
                <a:gd name="T66" fmla="*/ 792 w 794"/>
                <a:gd name="T67" fmla="*/ 211 h 794"/>
                <a:gd name="T68" fmla="*/ 789 w 794"/>
                <a:gd name="T69" fmla="*/ 218 h 794"/>
                <a:gd name="T70" fmla="*/ 785 w 794"/>
                <a:gd name="T71" fmla="*/ 223 h 794"/>
                <a:gd name="T72" fmla="*/ 288 w 794"/>
                <a:gd name="T73" fmla="*/ 719 h 794"/>
                <a:gd name="T74" fmla="*/ 288 w 794"/>
                <a:gd name="T75" fmla="*/ 719 h 794"/>
                <a:gd name="T76" fmla="*/ 282 w 794"/>
                <a:gd name="T77" fmla="*/ 724 h 794"/>
                <a:gd name="T78" fmla="*/ 273 w 794"/>
                <a:gd name="T79" fmla="*/ 727 h 794"/>
                <a:gd name="T80" fmla="*/ 43 w 794"/>
                <a:gd name="T81" fmla="*/ 793 h 794"/>
                <a:gd name="T82" fmla="*/ 43 w 794"/>
                <a:gd name="T83" fmla="*/ 793 h 794"/>
                <a:gd name="T84" fmla="*/ 38 w 794"/>
                <a:gd name="T85" fmla="*/ 794 h 794"/>
                <a:gd name="T86" fmla="*/ 33 w 794"/>
                <a:gd name="T87" fmla="*/ 794 h 794"/>
                <a:gd name="T88" fmla="*/ 33 w 794"/>
                <a:gd name="T89" fmla="*/ 794 h 794"/>
                <a:gd name="T90" fmla="*/ 129 w 794"/>
                <a:gd name="T91" fmla="*/ 547 h 794"/>
                <a:gd name="T92" fmla="*/ 81 w 794"/>
                <a:gd name="T93" fmla="*/ 713 h 794"/>
                <a:gd name="T94" fmla="*/ 248 w 794"/>
                <a:gd name="T95" fmla="*/ 666 h 794"/>
                <a:gd name="T96" fmla="*/ 714 w 794"/>
                <a:gd name="T97" fmla="*/ 199 h 794"/>
                <a:gd name="T98" fmla="*/ 595 w 794"/>
                <a:gd name="T99" fmla="*/ 80 h 794"/>
                <a:gd name="T100" fmla="*/ 129 w 794"/>
                <a:gd name="T101" fmla="*/ 547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94" h="794">
                  <a:moveTo>
                    <a:pt x="33" y="794"/>
                  </a:moveTo>
                  <a:lnTo>
                    <a:pt x="33" y="794"/>
                  </a:lnTo>
                  <a:lnTo>
                    <a:pt x="27" y="794"/>
                  </a:lnTo>
                  <a:lnTo>
                    <a:pt x="21" y="792"/>
                  </a:lnTo>
                  <a:lnTo>
                    <a:pt x="15" y="789"/>
                  </a:lnTo>
                  <a:lnTo>
                    <a:pt x="10" y="785"/>
                  </a:lnTo>
                  <a:lnTo>
                    <a:pt x="10" y="785"/>
                  </a:lnTo>
                  <a:lnTo>
                    <a:pt x="4" y="778"/>
                  </a:lnTo>
                  <a:lnTo>
                    <a:pt x="1" y="769"/>
                  </a:lnTo>
                  <a:lnTo>
                    <a:pt x="0" y="761"/>
                  </a:lnTo>
                  <a:lnTo>
                    <a:pt x="1" y="753"/>
                  </a:lnTo>
                  <a:lnTo>
                    <a:pt x="68" y="521"/>
                  </a:lnTo>
                  <a:lnTo>
                    <a:pt x="68" y="521"/>
                  </a:lnTo>
                  <a:lnTo>
                    <a:pt x="71" y="513"/>
                  </a:lnTo>
                  <a:lnTo>
                    <a:pt x="76" y="506"/>
                  </a:lnTo>
                  <a:lnTo>
                    <a:pt x="573" y="10"/>
                  </a:lnTo>
                  <a:lnTo>
                    <a:pt x="573" y="10"/>
                  </a:lnTo>
                  <a:lnTo>
                    <a:pt x="578" y="6"/>
                  </a:lnTo>
                  <a:lnTo>
                    <a:pt x="583" y="3"/>
                  </a:lnTo>
                  <a:lnTo>
                    <a:pt x="589" y="1"/>
                  </a:lnTo>
                  <a:lnTo>
                    <a:pt x="595" y="0"/>
                  </a:lnTo>
                  <a:lnTo>
                    <a:pt x="602" y="1"/>
                  </a:lnTo>
                  <a:lnTo>
                    <a:pt x="608" y="3"/>
                  </a:lnTo>
                  <a:lnTo>
                    <a:pt x="614" y="6"/>
                  </a:lnTo>
                  <a:lnTo>
                    <a:pt x="619" y="10"/>
                  </a:lnTo>
                  <a:lnTo>
                    <a:pt x="785" y="175"/>
                  </a:lnTo>
                  <a:lnTo>
                    <a:pt x="785" y="175"/>
                  </a:lnTo>
                  <a:lnTo>
                    <a:pt x="789" y="180"/>
                  </a:lnTo>
                  <a:lnTo>
                    <a:pt x="792" y="186"/>
                  </a:lnTo>
                  <a:lnTo>
                    <a:pt x="793" y="193"/>
                  </a:lnTo>
                  <a:lnTo>
                    <a:pt x="794" y="199"/>
                  </a:lnTo>
                  <a:lnTo>
                    <a:pt x="794" y="199"/>
                  </a:lnTo>
                  <a:lnTo>
                    <a:pt x="793" y="205"/>
                  </a:lnTo>
                  <a:lnTo>
                    <a:pt x="792" y="211"/>
                  </a:lnTo>
                  <a:lnTo>
                    <a:pt x="789" y="218"/>
                  </a:lnTo>
                  <a:lnTo>
                    <a:pt x="785" y="223"/>
                  </a:lnTo>
                  <a:lnTo>
                    <a:pt x="288" y="719"/>
                  </a:lnTo>
                  <a:lnTo>
                    <a:pt x="288" y="719"/>
                  </a:lnTo>
                  <a:lnTo>
                    <a:pt x="282" y="724"/>
                  </a:lnTo>
                  <a:lnTo>
                    <a:pt x="273" y="727"/>
                  </a:lnTo>
                  <a:lnTo>
                    <a:pt x="43" y="793"/>
                  </a:lnTo>
                  <a:lnTo>
                    <a:pt x="43" y="793"/>
                  </a:lnTo>
                  <a:lnTo>
                    <a:pt x="38" y="794"/>
                  </a:lnTo>
                  <a:lnTo>
                    <a:pt x="33" y="794"/>
                  </a:lnTo>
                  <a:lnTo>
                    <a:pt x="33" y="794"/>
                  </a:lnTo>
                  <a:close/>
                  <a:moveTo>
                    <a:pt x="129" y="547"/>
                  </a:moveTo>
                  <a:lnTo>
                    <a:pt x="81" y="713"/>
                  </a:lnTo>
                  <a:lnTo>
                    <a:pt x="248" y="666"/>
                  </a:lnTo>
                  <a:lnTo>
                    <a:pt x="714" y="199"/>
                  </a:lnTo>
                  <a:lnTo>
                    <a:pt x="595" y="80"/>
                  </a:lnTo>
                  <a:lnTo>
                    <a:pt x="129" y="5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40" name="Freeform 92">
              <a:extLst>
                <a:ext uri="{FF2B5EF4-FFF2-40B4-BE49-F238E27FC236}">
                  <a16:creationId xmlns:a16="http://schemas.microsoft.com/office/drawing/2014/main" id="{15262C36-F745-83D0-EBF7-87809E4C39CF}"/>
                </a:ext>
              </a:extLst>
            </p:cNvPr>
            <p:cNvSpPr>
              <a:spLocks/>
            </p:cNvSpPr>
            <p:nvPr/>
          </p:nvSpPr>
          <p:spPr bwMode="auto">
            <a:xfrm>
              <a:off x="9434513" y="2381250"/>
              <a:ext cx="49213" cy="47625"/>
            </a:xfrm>
            <a:custGeom>
              <a:avLst/>
              <a:gdLst>
                <a:gd name="T0" fmla="*/ 166 w 212"/>
                <a:gd name="T1" fmla="*/ 211 h 211"/>
                <a:gd name="T2" fmla="*/ 0 w 212"/>
                <a:gd name="T3" fmla="*/ 47 h 211"/>
                <a:gd name="T4" fmla="*/ 47 w 212"/>
                <a:gd name="T5" fmla="*/ 0 h 211"/>
                <a:gd name="T6" fmla="*/ 212 w 212"/>
                <a:gd name="T7" fmla="*/ 165 h 211"/>
                <a:gd name="T8" fmla="*/ 166 w 212"/>
                <a:gd name="T9" fmla="*/ 211 h 211"/>
              </a:gdLst>
              <a:ahLst/>
              <a:cxnLst>
                <a:cxn ang="0">
                  <a:pos x="T0" y="T1"/>
                </a:cxn>
                <a:cxn ang="0">
                  <a:pos x="T2" y="T3"/>
                </a:cxn>
                <a:cxn ang="0">
                  <a:pos x="T4" y="T5"/>
                </a:cxn>
                <a:cxn ang="0">
                  <a:pos x="T6" y="T7"/>
                </a:cxn>
                <a:cxn ang="0">
                  <a:pos x="T8" y="T9"/>
                </a:cxn>
              </a:cxnLst>
              <a:rect l="0" t="0" r="r" b="b"/>
              <a:pathLst>
                <a:path w="212" h="211">
                  <a:moveTo>
                    <a:pt x="166" y="211"/>
                  </a:moveTo>
                  <a:lnTo>
                    <a:pt x="0" y="47"/>
                  </a:lnTo>
                  <a:lnTo>
                    <a:pt x="47" y="0"/>
                  </a:lnTo>
                  <a:lnTo>
                    <a:pt x="212" y="165"/>
                  </a:lnTo>
                  <a:lnTo>
                    <a:pt x="1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41" name="Freeform 93">
              <a:extLst>
                <a:ext uri="{FF2B5EF4-FFF2-40B4-BE49-F238E27FC236}">
                  <a16:creationId xmlns:a16="http://schemas.microsoft.com/office/drawing/2014/main" id="{BFB7FCFA-9917-7F7C-91AD-E6F5A2D3A85C}"/>
                </a:ext>
              </a:extLst>
            </p:cNvPr>
            <p:cNvSpPr>
              <a:spLocks/>
            </p:cNvSpPr>
            <p:nvPr/>
          </p:nvSpPr>
          <p:spPr bwMode="auto">
            <a:xfrm>
              <a:off x="9350375" y="2460625"/>
              <a:ext cx="52388" cy="52388"/>
            </a:xfrm>
            <a:custGeom>
              <a:avLst/>
              <a:gdLst>
                <a:gd name="T0" fmla="*/ 199 w 232"/>
                <a:gd name="T1" fmla="*/ 231 h 231"/>
                <a:gd name="T2" fmla="*/ 199 w 232"/>
                <a:gd name="T3" fmla="*/ 231 h 231"/>
                <a:gd name="T4" fmla="*/ 193 w 232"/>
                <a:gd name="T5" fmla="*/ 231 h 231"/>
                <a:gd name="T6" fmla="*/ 187 w 232"/>
                <a:gd name="T7" fmla="*/ 229 h 231"/>
                <a:gd name="T8" fmla="*/ 181 w 232"/>
                <a:gd name="T9" fmla="*/ 226 h 231"/>
                <a:gd name="T10" fmla="*/ 175 w 232"/>
                <a:gd name="T11" fmla="*/ 222 h 231"/>
                <a:gd name="T12" fmla="*/ 10 w 232"/>
                <a:gd name="T13" fmla="*/ 56 h 231"/>
                <a:gd name="T14" fmla="*/ 10 w 232"/>
                <a:gd name="T15" fmla="*/ 56 h 231"/>
                <a:gd name="T16" fmla="*/ 6 w 232"/>
                <a:gd name="T17" fmla="*/ 51 h 231"/>
                <a:gd name="T18" fmla="*/ 3 w 232"/>
                <a:gd name="T19" fmla="*/ 46 h 231"/>
                <a:gd name="T20" fmla="*/ 2 w 232"/>
                <a:gd name="T21" fmla="*/ 39 h 231"/>
                <a:gd name="T22" fmla="*/ 0 w 232"/>
                <a:gd name="T23" fmla="*/ 33 h 231"/>
                <a:gd name="T24" fmla="*/ 2 w 232"/>
                <a:gd name="T25" fmla="*/ 27 h 231"/>
                <a:gd name="T26" fmla="*/ 3 w 232"/>
                <a:gd name="T27" fmla="*/ 21 h 231"/>
                <a:gd name="T28" fmla="*/ 6 w 232"/>
                <a:gd name="T29" fmla="*/ 15 h 231"/>
                <a:gd name="T30" fmla="*/ 10 w 232"/>
                <a:gd name="T31" fmla="*/ 9 h 231"/>
                <a:gd name="T32" fmla="*/ 10 w 232"/>
                <a:gd name="T33" fmla="*/ 9 h 231"/>
                <a:gd name="T34" fmla="*/ 15 w 232"/>
                <a:gd name="T35" fmla="*/ 5 h 231"/>
                <a:gd name="T36" fmla="*/ 21 w 232"/>
                <a:gd name="T37" fmla="*/ 2 h 231"/>
                <a:gd name="T38" fmla="*/ 27 w 232"/>
                <a:gd name="T39" fmla="*/ 0 h 231"/>
                <a:gd name="T40" fmla="*/ 34 w 232"/>
                <a:gd name="T41" fmla="*/ 0 h 231"/>
                <a:gd name="T42" fmla="*/ 40 w 232"/>
                <a:gd name="T43" fmla="*/ 0 h 231"/>
                <a:gd name="T44" fmla="*/ 46 w 232"/>
                <a:gd name="T45" fmla="*/ 2 h 231"/>
                <a:gd name="T46" fmla="*/ 51 w 232"/>
                <a:gd name="T47" fmla="*/ 5 h 231"/>
                <a:gd name="T48" fmla="*/ 56 w 232"/>
                <a:gd name="T49" fmla="*/ 9 h 231"/>
                <a:gd name="T50" fmla="*/ 222 w 232"/>
                <a:gd name="T51" fmla="*/ 175 h 231"/>
                <a:gd name="T52" fmla="*/ 222 w 232"/>
                <a:gd name="T53" fmla="*/ 175 h 231"/>
                <a:gd name="T54" fmla="*/ 226 w 232"/>
                <a:gd name="T55" fmla="*/ 180 h 231"/>
                <a:gd name="T56" fmla="*/ 229 w 232"/>
                <a:gd name="T57" fmla="*/ 185 h 231"/>
                <a:gd name="T58" fmla="*/ 231 w 232"/>
                <a:gd name="T59" fmla="*/ 192 h 231"/>
                <a:gd name="T60" fmla="*/ 232 w 232"/>
                <a:gd name="T61" fmla="*/ 198 h 231"/>
                <a:gd name="T62" fmla="*/ 231 w 232"/>
                <a:gd name="T63" fmla="*/ 205 h 231"/>
                <a:gd name="T64" fmla="*/ 229 w 232"/>
                <a:gd name="T65" fmla="*/ 210 h 231"/>
                <a:gd name="T66" fmla="*/ 226 w 232"/>
                <a:gd name="T67" fmla="*/ 216 h 231"/>
                <a:gd name="T68" fmla="*/ 222 w 232"/>
                <a:gd name="T69" fmla="*/ 222 h 231"/>
                <a:gd name="T70" fmla="*/ 222 w 232"/>
                <a:gd name="T71" fmla="*/ 222 h 231"/>
                <a:gd name="T72" fmla="*/ 217 w 232"/>
                <a:gd name="T73" fmla="*/ 226 h 231"/>
                <a:gd name="T74" fmla="*/ 212 w 232"/>
                <a:gd name="T75" fmla="*/ 229 h 231"/>
                <a:gd name="T76" fmla="*/ 205 w 232"/>
                <a:gd name="T77" fmla="*/ 231 h 231"/>
                <a:gd name="T78" fmla="*/ 199 w 232"/>
                <a:gd name="T79" fmla="*/ 231 h 231"/>
                <a:gd name="T80" fmla="*/ 199 w 232"/>
                <a:gd name="T81"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2" h="231">
                  <a:moveTo>
                    <a:pt x="199" y="231"/>
                  </a:moveTo>
                  <a:lnTo>
                    <a:pt x="199" y="231"/>
                  </a:lnTo>
                  <a:lnTo>
                    <a:pt x="193" y="231"/>
                  </a:lnTo>
                  <a:lnTo>
                    <a:pt x="187" y="229"/>
                  </a:lnTo>
                  <a:lnTo>
                    <a:pt x="181" y="226"/>
                  </a:lnTo>
                  <a:lnTo>
                    <a:pt x="175" y="222"/>
                  </a:lnTo>
                  <a:lnTo>
                    <a:pt x="10" y="56"/>
                  </a:lnTo>
                  <a:lnTo>
                    <a:pt x="10" y="56"/>
                  </a:lnTo>
                  <a:lnTo>
                    <a:pt x="6" y="51"/>
                  </a:lnTo>
                  <a:lnTo>
                    <a:pt x="3" y="46"/>
                  </a:lnTo>
                  <a:lnTo>
                    <a:pt x="2" y="39"/>
                  </a:lnTo>
                  <a:lnTo>
                    <a:pt x="0" y="33"/>
                  </a:lnTo>
                  <a:lnTo>
                    <a:pt x="2" y="27"/>
                  </a:lnTo>
                  <a:lnTo>
                    <a:pt x="3" y="21"/>
                  </a:lnTo>
                  <a:lnTo>
                    <a:pt x="6" y="15"/>
                  </a:lnTo>
                  <a:lnTo>
                    <a:pt x="10" y="9"/>
                  </a:lnTo>
                  <a:lnTo>
                    <a:pt x="10" y="9"/>
                  </a:lnTo>
                  <a:lnTo>
                    <a:pt x="15" y="5"/>
                  </a:lnTo>
                  <a:lnTo>
                    <a:pt x="21" y="2"/>
                  </a:lnTo>
                  <a:lnTo>
                    <a:pt x="27" y="0"/>
                  </a:lnTo>
                  <a:lnTo>
                    <a:pt x="34" y="0"/>
                  </a:lnTo>
                  <a:lnTo>
                    <a:pt x="40" y="0"/>
                  </a:lnTo>
                  <a:lnTo>
                    <a:pt x="46" y="2"/>
                  </a:lnTo>
                  <a:lnTo>
                    <a:pt x="51" y="5"/>
                  </a:lnTo>
                  <a:lnTo>
                    <a:pt x="56" y="9"/>
                  </a:lnTo>
                  <a:lnTo>
                    <a:pt x="222" y="175"/>
                  </a:lnTo>
                  <a:lnTo>
                    <a:pt x="222" y="175"/>
                  </a:lnTo>
                  <a:lnTo>
                    <a:pt x="226" y="180"/>
                  </a:lnTo>
                  <a:lnTo>
                    <a:pt x="229" y="185"/>
                  </a:lnTo>
                  <a:lnTo>
                    <a:pt x="231" y="192"/>
                  </a:lnTo>
                  <a:lnTo>
                    <a:pt x="232" y="198"/>
                  </a:lnTo>
                  <a:lnTo>
                    <a:pt x="231" y="205"/>
                  </a:lnTo>
                  <a:lnTo>
                    <a:pt x="229" y="210"/>
                  </a:lnTo>
                  <a:lnTo>
                    <a:pt x="226" y="216"/>
                  </a:lnTo>
                  <a:lnTo>
                    <a:pt x="222" y="222"/>
                  </a:lnTo>
                  <a:lnTo>
                    <a:pt x="222" y="222"/>
                  </a:lnTo>
                  <a:lnTo>
                    <a:pt x="217" y="226"/>
                  </a:lnTo>
                  <a:lnTo>
                    <a:pt x="212" y="229"/>
                  </a:lnTo>
                  <a:lnTo>
                    <a:pt x="205" y="231"/>
                  </a:lnTo>
                  <a:lnTo>
                    <a:pt x="199" y="231"/>
                  </a:lnTo>
                  <a:lnTo>
                    <a:pt x="199"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42" name="Freeform 94">
              <a:extLst>
                <a:ext uri="{FF2B5EF4-FFF2-40B4-BE49-F238E27FC236}">
                  <a16:creationId xmlns:a16="http://schemas.microsoft.com/office/drawing/2014/main" id="{359605BF-ADA8-A681-1E97-6B9CC7DAE7EA}"/>
                </a:ext>
              </a:extLst>
            </p:cNvPr>
            <p:cNvSpPr>
              <a:spLocks/>
            </p:cNvSpPr>
            <p:nvPr/>
          </p:nvSpPr>
          <p:spPr bwMode="auto">
            <a:xfrm>
              <a:off x="9155113" y="2212975"/>
              <a:ext cx="157163" cy="285750"/>
            </a:xfrm>
            <a:custGeom>
              <a:avLst/>
              <a:gdLst>
                <a:gd name="T0" fmla="*/ 165 w 694"/>
                <a:gd name="T1" fmla="*/ 1257 h 1257"/>
                <a:gd name="T2" fmla="*/ 149 w 694"/>
                <a:gd name="T3" fmla="*/ 1257 h 1257"/>
                <a:gd name="T4" fmla="*/ 116 w 694"/>
                <a:gd name="T5" fmla="*/ 1249 h 1257"/>
                <a:gd name="T6" fmla="*/ 86 w 694"/>
                <a:gd name="T7" fmla="*/ 1237 h 1257"/>
                <a:gd name="T8" fmla="*/ 60 w 694"/>
                <a:gd name="T9" fmla="*/ 1219 h 1257"/>
                <a:gd name="T10" fmla="*/ 38 w 694"/>
                <a:gd name="T11" fmla="*/ 1197 h 1257"/>
                <a:gd name="T12" fmla="*/ 20 w 694"/>
                <a:gd name="T13" fmla="*/ 1171 h 1257"/>
                <a:gd name="T14" fmla="*/ 8 w 694"/>
                <a:gd name="T15" fmla="*/ 1141 h 1257"/>
                <a:gd name="T16" fmla="*/ 1 w 694"/>
                <a:gd name="T17" fmla="*/ 1109 h 1257"/>
                <a:gd name="T18" fmla="*/ 0 w 694"/>
                <a:gd name="T19" fmla="*/ 33 h 1257"/>
                <a:gd name="T20" fmla="*/ 1 w 694"/>
                <a:gd name="T21" fmla="*/ 27 h 1257"/>
                <a:gd name="T22" fmla="*/ 6 w 694"/>
                <a:gd name="T23" fmla="*/ 14 h 1257"/>
                <a:gd name="T24" fmla="*/ 14 w 694"/>
                <a:gd name="T25" fmla="*/ 6 h 1257"/>
                <a:gd name="T26" fmla="*/ 26 w 694"/>
                <a:gd name="T27" fmla="*/ 1 h 1257"/>
                <a:gd name="T28" fmla="*/ 298 w 694"/>
                <a:gd name="T29" fmla="*/ 0 h 1257"/>
                <a:gd name="T30" fmla="*/ 304 w 694"/>
                <a:gd name="T31" fmla="*/ 1 h 1257"/>
                <a:gd name="T32" fmla="*/ 316 w 694"/>
                <a:gd name="T33" fmla="*/ 6 h 1257"/>
                <a:gd name="T34" fmla="*/ 324 w 694"/>
                <a:gd name="T35" fmla="*/ 14 h 1257"/>
                <a:gd name="T36" fmla="*/ 330 w 694"/>
                <a:gd name="T37" fmla="*/ 27 h 1257"/>
                <a:gd name="T38" fmla="*/ 331 w 694"/>
                <a:gd name="T39" fmla="*/ 33 h 1257"/>
                <a:gd name="T40" fmla="*/ 328 w 694"/>
                <a:gd name="T41" fmla="*/ 46 h 1257"/>
                <a:gd name="T42" fmla="*/ 320 w 694"/>
                <a:gd name="T43" fmla="*/ 57 h 1257"/>
                <a:gd name="T44" fmla="*/ 310 w 694"/>
                <a:gd name="T45" fmla="*/ 64 h 1257"/>
                <a:gd name="T46" fmla="*/ 298 w 694"/>
                <a:gd name="T47" fmla="*/ 66 h 1257"/>
                <a:gd name="T48" fmla="*/ 66 w 694"/>
                <a:gd name="T49" fmla="*/ 1092 h 1257"/>
                <a:gd name="T50" fmla="*/ 67 w 694"/>
                <a:gd name="T51" fmla="*/ 1101 h 1257"/>
                <a:gd name="T52" fmla="*/ 71 w 694"/>
                <a:gd name="T53" fmla="*/ 1121 h 1257"/>
                <a:gd name="T54" fmla="*/ 78 w 694"/>
                <a:gd name="T55" fmla="*/ 1139 h 1257"/>
                <a:gd name="T56" fmla="*/ 89 w 694"/>
                <a:gd name="T57" fmla="*/ 1155 h 1257"/>
                <a:gd name="T58" fmla="*/ 102 w 694"/>
                <a:gd name="T59" fmla="*/ 1169 h 1257"/>
                <a:gd name="T60" fmla="*/ 117 w 694"/>
                <a:gd name="T61" fmla="*/ 1179 h 1257"/>
                <a:gd name="T62" fmla="*/ 136 w 694"/>
                <a:gd name="T63" fmla="*/ 1186 h 1257"/>
                <a:gd name="T64" fmla="*/ 155 w 694"/>
                <a:gd name="T65" fmla="*/ 1190 h 1257"/>
                <a:gd name="T66" fmla="*/ 661 w 694"/>
                <a:gd name="T67" fmla="*/ 1192 h 1257"/>
                <a:gd name="T68" fmla="*/ 668 w 694"/>
                <a:gd name="T69" fmla="*/ 1192 h 1257"/>
                <a:gd name="T70" fmla="*/ 679 w 694"/>
                <a:gd name="T71" fmla="*/ 1197 h 1257"/>
                <a:gd name="T72" fmla="*/ 689 w 694"/>
                <a:gd name="T73" fmla="*/ 1206 h 1257"/>
                <a:gd name="T74" fmla="*/ 694 w 694"/>
                <a:gd name="T75" fmla="*/ 1217 h 1257"/>
                <a:gd name="T76" fmla="*/ 694 w 694"/>
                <a:gd name="T77" fmla="*/ 1225 h 1257"/>
                <a:gd name="T78" fmla="*/ 692 w 694"/>
                <a:gd name="T79" fmla="*/ 1237 h 1257"/>
                <a:gd name="T80" fmla="*/ 685 w 694"/>
                <a:gd name="T81" fmla="*/ 1247 h 1257"/>
                <a:gd name="T82" fmla="*/ 674 w 694"/>
                <a:gd name="T83" fmla="*/ 1255 h 1257"/>
                <a:gd name="T84" fmla="*/ 661 w 694"/>
                <a:gd name="T85" fmla="*/ 1257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4" h="1257">
                  <a:moveTo>
                    <a:pt x="661" y="1257"/>
                  </a:moveTo>
                  <a:lnTo>
                    <a:pt x="165" y="1257"/>
                  </a:lnTo>
                  <a:lnTo>
                    <a:pt x="165" y="1257"/>
                  </a:lnTo>
                  <a:lnTo>
                    <a:pt x="149" y="1257"/>
                  </a:lnTo>
                  <a:lnTo>
                    <a:pt x="132" y="1254"/>
                  </a:lnTo>
                  <a:lnTo>
                    <a:pt x="116" y="1249"/>
                  </a:lnTo>
                  <a:lnTo>
                    <a:pt x="101" y="1244"/>
                  </a:lnTo>
                  <a:lnTo>
                    <a:pt x="86" y="1237"/>
                  </a:lnTo>
                  <a:lnTo>
                    <a:pt x="73" y="1229"/>
                  </a:lnTo>
                  <a:lnTo>
                    <a:pt x="60" y="1219"/>
                  </a:lnTo>
                  <a:lnTo>
                    <a:pt x="48" y="1209"/>
                  </a:lnTo>
                  <a:lnTo>
                    <a:pt x="38" y="1197"/>
                  </a:lnTo>
                  <a:lnTo>
                    <a:pt x="28" y="1184"/>
                  </a:lnTo>
                  <a:lnTo>
                    <a:pt x="20" y="1171"/>
                  </a:lnTo>
                  <a:lnTo>
                    <a:pt x="13" y="1156"/>
                  </a:lnTo>
                  <a:lnTo>
                    <a:pt x="8" y="1141"/>
                  </a:lnTo>
                  <a:lnTo>
                    <a:pt x="4" y="1125"/>
                  </a:lnTo>
                  <a:lnTo>
                    <a:pt x="1" y="1109"/>
                  </a:lnTo>
                  <a:lnTo>
                    <a:pt x="0" y="1092"/>
                  </a:lnTo>
                  <a:lnTo>
                    <a:pt x="0" y="33"/>
                  </a:lnTo>
                  <a:lnTo>
                    <a:pt x="0" y="33"/>
                  </a:lnTo>
                  <a:lnTo>
                    <a:pt x="1" y="27"/>
                  </a:lnTo>
                  <a:lnTo>
                    <a:pt x="3" y="20"/>
                  </a:lnTo>
                  <a:lnTo>
                    <a:pt x="6" y="14"/>
                  </a:lnTo>
                  <a:lnTo>
                    <a:pt x="10" y="10"/>
                  </a:lnTo>
                  <a:lnTo>
                    <a:pt x="14" y="6"/>
                  </a:lnTo>
                  <a:lnTo>
                    <a:pt x="20" y="3"/>
                  </a:lnTo>
                  <a:lnTo>
                    <a:pt x="26" y="1"/>
                  </a:lnTo>
                  <a:lnTo>
                    <a:pt x="33" y="0"/>
                  </a:lnTo>
                  <a:lnTo>
                    <a:pt x="298" y="0"/>
                  </a:lnTo>
                  <a:lnTo>
                    <a:pt x="298" y="0"/>
                  </a:lnTo>
                  <a:lnTo>
                    <a:pt x="304" y="1"/>
                  </a:lnTo>
                  <a:lnTo>
                    <a:pt x="310" y="3"/>
                  </a:lnTo>
                  <a:lnTo>
                    <a:pt x="316" y="6"/>
                  </a:lnTo>
                  <a:lnTo>
                    <a:pt x="320" y="10"/>
                  </a:lnTo>
                  <a:lnTo>
                    <a:pt x="324" y="14"/>
                  </a:lnTo>
                  <a:lnTo>
                    <a:pt x="328" y="20"/>
                  </a:lnTo>
                  <a:lnTo>
                    <a:pt x="330" y="27"/>
                  </a:lnTo>
                  <a:lnTo>
                    <a:pt x="331" y="33"/>
                  </a:lnTo>
                  <a:lnTo>
                    <a:pt x="331" y="33"/>
                  </a:lnTo>
                  <a:lnTo>
                    <a:pt x="330" y="40"/>
                  </a:lnTo>
                  <a:lnTo>
                    <a:pt x="328" y="46"/>
                  </a:lnTo>
                  <a:lnTo>
                    <a:pt x="324" y="52"/>
                  </a:lnTo>
                  <a:lnTo>
                    <a:pt x="320" y="57"/>
                  </a:lnTo>
                  <a:lnTo>
                    <a:pt x="316" y="61"/>
                  </a:lnTo>
                  <a:lnTo>
                    <a:pt x="310" y="64"/>
                  </a:lnTo>
                  <a:lnTo>
                    <a:pt x="304" y="66"/>
                  </a:lnTo>
                  <a:lnTo>
                    <a:pt x="298" y="66"/>
                  </a:lnTo>
                  <a:lnTo>
                    <a:pt x="66" y="66"/>
                  </a:lnTo>
                  <a:lnTo>
                    <a:pt x="66" y="1092"/>
                  </a:lnTo>
                  <a:lnTo>
                    <a:pt x="66" y="1092"/>
                  </a:lnTo>
                  <a:lnTo>
                    <a:pt x="67" y="1101"/>
                  </a:lnTo>
                  <a:lnTo>
                    <a:pt x="68" y="1112"/>
                  </a:lnTo>
                  <a:lnTo>
                    <a:pt x="71" y="1121"/>
                  </a:lnTo>
                  <a:lnTo>
                    <a:pt x="74" y="1130"/>
                  </a:lnTo>
                  <a:lnTo>
                    <a:pt x="78" y="1139"/>
                  </a:lnTo>
                  <a:lnTo>
                    <a:pt x="83" y="1147"/>
                  </a:lnTo>
                  <a:lnTo>
                    <a:pt x="89" y="1155"/>
                  </a:lnTo>
                  <a:lnTo>
                    <a:pt x="95" y="1161"/>
                  </a:lnTo>
                  <a:lnTo>
                    <a:pt x="102" y="1169"/>
                  </a:lnTo>
                  <a:lnTo>
                    <a:pt x="110" y="1174"/>
                  </a:lnTo>
                  <a:lnTo>
                    <a:pt x="117" y="1179"/>
                  </a:lnTo>
                  <a:lnTo>
                    <a:pt x="127" y="1183"/>
                  </a:lnTo>
                  <a:lnTo>
                    <a:pt x="136" y="1186"/>
                  </a:lnTo>
                  <a:lnTo>
                    <a:pt x="145" y="1189"/>
                  </a:lnTo>
                  <a:lnTo>
                    <a:pt x="155" y="1190"/>
                  </a:lnTo>
                  <a:lnTo>
                    <a:pt x="165" y="1192"/>
                  </a:lnTo>
                  <a:lnTo>
                    <a:pt x="661" y="1192"/>
                  </a:lnTo>
                  <a:lnTo>
                    <a:pt x="661" y="1192"/>
                  </a:lnTo>
                  <a:lnTo>
                    <a:pt x="668" y="1192"/>
                  </a:lnTo>
                  <a:lnTo>
                    <a:pt x="674" y="1194"/>
                  </a:lnTo>
                  <a:lnTo>
                    <a:pt x="679" y="1197"/>
                  </a:lnTo>
                  <a:lnTo>
                    <a:pt x="685" y="1201"/>
                  </a:lnTo>
                  <a:lnTo>
                    <a:pt x="689" y="1206"/>
                  </a:lnTo>
                  <a:lnTo>
                    <a:pt x="692" y="1211"/>
                  </a:lnTo>
                  <a:lnTo>
                    <a:pt x="694" y="1217"/>
                  </a:lnTo>
                  <a:lnTo>
                    <a:pt x="694" y="1225"/>
                  </a:lnTo>
                  <a:lnTo>
                    <a:pt x="694" y="1225"/>
                  </a:lnTo>
                  <a:lnTo>
                    <a:pt x="694" y="1231"/>
                  </a:lnTo>
                  <a:lnTo>
                    <a:pt x="692" y="1237"/>
                  </a:lnTo>
                  <a:lnTo>
                    <a:pt x="689" y="1242"/>
                  </a:lnTo>
                  <a:lnTo>
                    <a:pt x="685" y="1247"/>
                  </a:lnTo>
                  <a:lnTo>
                    <a:pt x="679" y="1252"/>
                  </a:lnTo>
                  <a:lnTo>
                    <a:pt x="674" y="1255"/>
                  </a:lnTo>
                  <a:lnTo>
                    <a:pt x="668" y="1257"/>
                  </a:lnTo>
                  <a:lnTo>
                    <a:pt x="661" y="1257"/>
                  </a:lnTo>
                  <a:lnTo>
                    <a:pt x="661" y="1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43" name="Freeform 95">
              <a:extLst>
                <a:ext uri="{FF2B5EF4-FFF2-40B4-BE49-F238E27FC236}">
                  <a16:creationId xmlns:a16="http://schemas.microsoft.com/office/drawing/2014/main" id="{6F2766F8-4E46-BE0C-5953-7976762079C8}"/>
                </a:ext>
              </a:extLst>
            </p:cNvPr>
            <p:cNvSpPr>
              <a:spLocks/>
            </p:cNvSpPr>
            <p:nvPr/>
          </p:nvSpPr>
          <p:spPr bwMode="auto">
            <a:xfrm>
              <a:off x="9185275" y="2243138"/>
              <a:ext cx="120650" cy="225425"/>
            </a:xfrm>
            <a:custGeom>
              <a:avLst/>
              <a:gdLst>
                <a:gd name="T0" fmla="*/ 496 w 529"/>
                <a:gd name="T1" fmla="*/ 993 h 993"/>
                <a:gd name="T2" fmla="*/ 33 w 529"/>
                <a:gd name="T3" fmla="*/ 993 h 993"/>
                <a:gd name="T4" fmla="*/ 33 w 529"/>
                <a:gd name="T5" fmla="*/ 993 h 993"/>
                <a:gd name="T6" fmla="*/ 27 w 529"/>
                <a:gd name="T7" fmla="*/ 992 h 993"/>
                <a:gd name="T8" fmla="*/ 21 w 529"/>
                <a:gd name="T9" fmla="*/ 990 h 993"/>
                <a:gd name="T10" fmla="*/ 14 w 529"/>
                <a:gd name="T11" fmla="*/ 987 h 993"/>
                <a:gd name="T12" fmla="*/ 9 w 529"/>
                <a:gd name="T13" fmla="*/ 983 h 993"/>
                <a:gd name="T14" fmla="*/ 6 w 529"/>
                <a:gd name="T15" fmla="*/ 979 h 993"/>
                <a:gd name="T16" fmla="*/ 3 w 529"/>
                <a:gd name="T17" fmla="*/ 973 h 993"/>
                <a:gd name="T18" fmla="*/ 1 w 529"/>
                <a:gd name="T19" fmla="*/ 966 h 993"/>
                <a:gd name="T20" fmla="*/ 0 w 529"/>
                <a:gd name="T21" fmla="*/ 960 h 993"/>
                <a:gd name="T22" fmla="*/ 0 w 529"/>
                <a:gd name="T23" fmla="*/ 33 h 993"/>
                <a:gd name="T24" fmla="*/ 0 w 529"/>
                <a:gd name="T25" fmla="*/ 33 h 993"/>
                <a:gd name="T26" fmla="*/ 1 w 529"/>
                <a:gd name="T27" fmla="*/ 27 h 993"/>
                <a:gd name="T28" fmla="*/ 3 w 529"/>
                <a:gd name="T29" fmla="*/ 21 h 993"/>
                <a:gd name="T30" fmla="*/ 6 w 529"/>
                <a:gd name="T31" fmla="*/ 15 h 993"/>
                <a:gd name="T32" fmla="*/ 9 w 529"/>
                <a:gd name="T33" fmla="*/ 10 h 993"/>
                <a:gd name="T34" fmla="*/ 14 w 529"/>
                <a:gd name="T35" fmla="*/ 7 h 993"/>
                <a:gd name="T36" fmla="*/ 21 w 529"/>
                <a:gd name="T37" fmla="*/ 3 h 993"/>
                <a:gd name="T38" fmla="*/ 27 w 529"/>
                <a:gd name="T39" fmla="*/ 1 h 993"/>
                <a:gd name="T40" fmla="*/ 33 w 529"/>
                <a:gd name="T41" fmla="*/ 0 h 993"/>
                <a:gd name="T42" fmla="*/ 166 w 529"/>
                <a:gd name="T43" fmla="*/ 0 h 993"/>
                <a:gd name="T44" fmla="*/ 166 w 529"/>
                <a:gd name="T45" fmla="*/ 0 h 993"/>
                <a:gd name="T46" fmla="*/ 172 w 529"/>
                <a:gd name="T47" fmla="*/ 1 h 993"/>
                <a:gd name="T48" fmla="*/ 178 w 529"/>
                <a:gd name="T49" fmla="*/ 3 h 993"/>
                <a:gd name="T50" fmla="*/ 184 w 529"/>
                <a:gd name="T51" fmla="*/ 7 h 993"/>
                <a:gd name="T52" fmla="*/ 188 w 529"/>
                <a:gd name="T53" fmla="*/ 10 h 993"/>
                <a:gd name="T54" fmla="*/ 192 w 529"/>
                <a:gd name="T55" fmla="*/ 15 h 993"/>
                <a:gd name="T56" fmla="*/ 196 w 529"/>
                <a:gd name="T57" fmla="*/ 21 h 993"/>
                <a:gd name="T58" fmla="*/ 198 w 529"/>
                <a:gd name="T59" fmla="*/ 27 h 993"/>
                <a:gd name="T60" fmla="*/ 199 w 529"/>
                <a:gd name="T61" fmla="*/ 33 h 993"/>
                <a:gd name="T62" fmla="*/ 199 w 529"/>
                <a:gd name="T63" fmla="*/ 33 h 993"/>
                <a:gd name="T64" fmla="*/ 198 w 529"/>
                <a:gd name="T65" fmla="*/ 40 h 993"/>
                <a:gd name="T66" fmla="*/ 196 w 529"/>
                <a:gd name="T67" fmla="*/ 46 h 993"/>
                <a:gd name="T68" fmla="*/ 192 w 529"/>
                <a:gd name="T69" fmla="*/ 52 h 993"/>
                <a:gd name="T70" fmla="*/ 188 w 529"/>
                <a:gd name="T71" fmla="*/ 57 h 993"/>
                <a:gd name="T72" fmla="*/ 184 w 529"/>
                <a:gd name="T73" fmla="*/ 61 h 993"/>
                <a:gd name="T74" fmla="*/ 178 w 529"/>
                <a:gd name="T75" fmla="*/ 63 h 993"/>
                <a:gd name="T76" fmla="*/ 172 w 529"/>
                <a:gd name="T77" fmla="*/ 66 h 993"/>
                <a:gd name="T78" fmla="*/ 166 w 529"/>
                <a:gd name="T79" fmla="*/ 67 h 993"/>
                <a:gd name="T80" fmla="*/ 66 w 529"/>
                <a:gd name="T81" fmla="*/ 67 h 993"/>
                <a:gd name="T82" fmla="*/ 66 w 529"/>
                <a:gd name="T83" fmla="*/ 927 h 993"/>
                <a:gd name="T84" fmla="*/ 496 w 529"/>
                <a:gd name="T85" fmla="*/ 927 h 993"/>
                <a:gd name="T86" fmla="*/ 496 w 529"/>
                <a:gd name="T87" fmla="*/ 927 h 993"/>
                <a:gd name="T88" fmla="*/ 503 w 529"/>
                <a:gd name="T89" fmla="*/ 927 h 993"/>
                <a:gd name="T90" fmla="*/ 509 w 529"/>
                <a:gd name="T91" fmla="*/ 929 h 993"/>
                <a:gd name="T92" fmla="*/ 514 w 529"/>
                <a:gd name="T93" fmla="*/ 932 h 993"/>
                <a:gd name="T94" fmla="*/ 519 w 529"/>
                <a:gd name="T95" fmla="*/ 936 h 993"/>
                <a:gd name="T96" fmla="*/ 524 w 529"/>
                <a:gd name="T97" fmla="*/ 941 h 993"/>
                <a:gd name="T98" fmla="*/ 527 w 529"/>
                <a:gd name="T99" fmla="*/ 947 h 993"/>
                <a:gd name="T100" fmla="*/ 529 w 529"/>
                <a:gd name="T101" fmla="*/ 953 h 993"/>
                <a:gd name="T102" fmla="*/ 529 w 529"/>
                <a:gd name="T103" fmla="*/ 960 h 993"/>
                <a:gd name="T104" fmla="*/ 529 w 529"/>
                <a:gd name="T105" fmla="*/ 960 h 993"/>
                <a:gd name="T106" fmla="*/ 529 w 529"/>
                <a:gd name="T107" fmla="*/ 966 h 993"/>
                <a:gd name="T108" fmla="*/ 527 w 529"/>
                <a:gd name="T109" fmla="*/ 973 h 993"/>
                <a:gd name="T110" fmla="*/ 524 w 529"/>
                <a:gd name="T111" fmla="*/ 979 h 993"/>
                <a:gd name="T112" fmla="*/ 519 w 529"/>
                <a:gd name="T113" fmla="*/ 983 h 993"/>
                <a:gd name="T114" fmla="*/ 514 w 529"/>
                <a:gd name="T115" fmla="*/ 987 h 993"/>
                <a:gd name="T116" fmla="*/ 509 w 529"/>
                <a:gd name="T117" fmla="*/ 990 h 993"/>
                <a:gd name="T118" fmla="*/ 503 w 529"/>
                <a:gd name="T119" fmla="*/ 992 h 993"/>
                <a:gd name="T120" fmla="*/ 496 w 529"/>
                <a:gd name="T121" fmla="*/ 993 h 993"/>
                <a:gd name="T122" fmla="*/ 496 w 529"/>
                <a:gd name="T123" fmla="*/ 993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9" h="993">
                  <a:moveTo>
                    <a:pt x="496" y="993"/>
                  </a:moveTo>
                  <a:lnTo>
                    <a:pt x="33" y="993"/>
                  </a:lnTo>
                  <a:lnTo>
                    <a:pt x="33" y="993"/>
                  </a:lnTo>
                  <a:lnTo>
                    <a:pt x="27" y="992"/>
                  </a:lnTo>
                  <a:lnTo>
                    <a:pt x="21" y="990"/>
                  </a:lnTo>
                  <a:lnTo>
                    <a:pt x="14" y="987"/>
                  </a:lnTo>
                  <a:lnTo>
                    <a:pt x="9" y="983"/>
                  </a:lnTo>
                  <a:lnTo>
                    <a:pt x="6" y="979"/>
                  </a:lnTo>
                  <a:lnTo>
                    <a:pt x="3" y="973"/>
                  </a:lnTo>
                  <a:lnTo>
                    <a:pt x="1" y="966"/>
                  </a:lnTo>
                  <a:lnTo>
                    <a:pt x="0" y="960"/>
                  </a:lnTo>
                  <a:lnTo>
                    <a:pt x="0" y="33"/>
                  </a:lnTo>
                  <a:lnTo>
                    <a:pt x="0" y="33"/>
                  </a:lnTo>
                  <a:lnTo>
                    <a:pt x="1" y="27"/>
                  </a:lnTo>
                  <a:lnTo>
                    <a:pt x="3" y="21"/>
                  </a:lnTo>
                  <a:lnTo>
                    <a:pt x="6" y="15"/>
                  </a:lnTo>
                  <a:lnTo>
                    <a:pt x="9" y="10"/>
                  </a:lnTo>
                  <a:lnTo>
                    <a:pt x="14" y="7"/>
                  </a:lnTo>
                  <a:lnTo>
                    <a:pt x="21" y="3"/>
                  </a:lnTo>
                  <a:lnTo>
                    <a:pt x="27" y="1"/>
                  </a:lnTo>
                  <a:lnTo>
                    <a:pt x="33" y="0"/>
                  </a:lnTo>
                  <a:lnTo>
                    <a:pt x="166" y="0"/>
                  </a:lnTo>
                  <a:lnTo>
                    <a:pt x="166" y="0"/>
                  </a:lnTo>
                  <a:lnTo>
                    <a:pt x="172" y="1"/>
                  </a:lnTo>
                  <a:lnTo>
                    <a:pt x="178" y="3"/>
                  </a:lnTo>
                  <a:lnTo>
                    <a:pt x="184" y="7"/>
                  </a:lnTo>
                  <a:lnTo>
                    <a:pt x="188" y="10"/>
                  </a:lnTo>
                  <a:lnTo>
                    <a:pt x="192" y="15"/>
                  </a:lnTo>
                  <a:lnTo>
                    <a:pt x="196" y="21"/>
                  </a:lnTo>
                  <a:lnTo>
                    <a:pt x="198" y="27"/>
                  </a:lnTo>
                  <a:lnTo>
                    <a:pt x="199" y="33"/>
                  </a:lnTo>
                  <a:lnTo>
                    <a:pt x="199" y="33"/>
                  </a:lnTo>
                  <a:lnTo>
                    <a:pt x="198" y="40"/>
                  </a:lnTo>
                  <a:lnTo>
                    <a:pt x="196" y="46"/>
                  </a:lnTo>
                  <a:lnTo>
                    <a:pt x="192" y="52"/>
                  </a:lnTo>
                  <a:lnTo>
                    <a:pt x="188" y="57"/>
                  </a:lnTo>
                  <a:lnTo>
                    <a:pt x="184" y="61"/>
                  </a:lnTo>
                  <a:lnTo>
                    <a:pt x="178" y="63"/>
                  </a:lnTo>
                  <a:lnTo>
                    <a:pt x="172" y="66"/>
                  </a:lnTo>
                  <a:lnTo>
                    <a:pt x="166" y="67"/>
                  </a:lnTo>
                  <a:lnTo>
                    <a:pt x="66" y="67"/>
                  </a:lnTo>
                  <a:lnTo>
                    <a:pt x="66" y="927"/>
                  </a:lnTo>
                  <a:lnTo>
                    <a:pt x="496" y="927"/>
                  </a:lnTo>
                  <a:lnTo>
                    <a:pt x="496" y="927"/>
                  </a:lnTo>
                  <a:lnTo>
                    <a:pt x="503" y="927"/>
                  </a:lnTo>
                  <a:lnTo>
                    <a:pt x="509" y="929"/>
                  </a:lnTo>
                  <a:lnTo>
                    <a:pt x="514" y="932"/>
                  </a:lnTo>
                  <a:lnTo>
                    <a:pt x="519" y="936"/>
                  </a:lnTo>
                  <a:lnTo>
                    <a:pt x="524" y="941"/>
                  </a:lnTo>
                  <a:lnTo>
                    <a:pt x="527" y="947"/>
                  </a:lnTo>
                  <a:lnTo>
                    <a:pt x="529" y="953"/>
                  </a:lnTo>
                  <a:lnTo>
                    <a:pt x="529" y="960"/>
                  </a:lnTo>
                  <a:lnTo>
                    <a:pt x="529" y="960"/>
                  </a:lnTo>
                  <a:lnTo>
                    <a:pt x="529" y="966"/>
                  </a:lnTo>
                  <a:lnTo>
                    <a:pt x="527" y="973"/>
                  </a:lnTo>
                  <a:lnTo>
                    <a:pt x="524" y="979"/>
                  </a:lnTo>
                  <a:lnTo>
                    <a:pt x="519" y="983"/>
                  </a:lnTo>
                  <a:lnTo>
                    <a:pt x="514" y="987"/>
                  </a:lnTo>
                  <a:lnTo>
                    <a:pt x="509" y="990"/>
                  </a:lnTo>
                  <a:lnTo>
                    <a:pt x="503" y="992"/>
                  </a:lnTo>
                  <a:lnTo>
                    <a:pt x="496" y="993"/>
                  </a:lnTo>
                  <a:lnTo>
                    <a:pt x="496"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44" name="Freeform 96">
              <a:extLst>
                <a:ext uri="{FF2B5EF4-FFF2-40B4-BE49-F238E27FC236}">
                  <a16:creationId xmlns:a16="http://schemas.microsoft.com/office/drawing/2014/main" id="{3A954BF4-727F-9D43-3486-AD7FFA8C5E6D}"/>
                </a:ext>
              </a:extLst>
            </p:cNvPr>
            <p:cNvSpPr>
              <a:spLocks/>
            </p:cNvSpPr>
            <p:nvPr/>
          </p:nvSpPr>
          <p:spPr bwMode="auto">
            <a:xfrm>
              <a:off x="9336088" y="2212975"/>
              <a:ext cx="74613" cy="112713"/>
            </a:xfrm>
            <a:custGeom>
              <a:avLst/>
              <a:gdLst>
                <a:gd name="T0" fmla="*/ 298 w 331"/>
                <a:gd name="T1" fmla="*/ 497 h 497"/>
                <a:gd name="T2" fmla="*/ 298 w 331"/>
                <a:gd name="T3" fmla="*/ 497 h 497"/>
                <a:gd name="T4" fmla="*/ 291 w 331"/>
                <a:gd name="T5" fmla="*/ 496 h 497"/>
                <a:gd name="T6" fmla="*/ 285 w 331"/>
                <a:gd name="T7" fmla="*/ 494 h 497"/>
                <a:gd name="T8" fmla="*/ 280 w 331"/>
                <a:gd name="T9" fmla="*/ 491 h 497"/>
                <a:gd name="T10" fmla="*/ 274 w 331"/>
                <a:gd name="T11" fmla="*/ 486 h 497"/>
                <a:gd name="T12" fmla="*/ 270 w 331"/>
                <a:gd name="T13" fmla="*/ 481 h 497"/>
                <a:gd name="T14" fmla="*/ 267 w 331"/>
                <a:gd name="T15" fmla="*/ 476 h 497"/>
                <a:gd name="T16" fmla="*/ 265 w 331"/>
                <a:gd name="T17" fmla="*/ 470 h 497"/>
                <a:gd name="T18" fmla="*/ 265 w 331"/>
                <a:gd name="T19" fmla="*/ 464 h 497"/>
                <a:gd name="T20" fmla="*/ 265 w 331"/>
                <a:gd name="T21" fmla="*/ 66 h 497"/>
                <a:gd name="T22" fmla="*/ 33 w 331"/>
                <a:gd name="T23" fmla="*/ 66 h 497"/>
                <a:gd name="T24" fmla="*/ 33 w 331"/>
                <a:gd name="T25" fmla="*/ 66 h 497"/>
                <a:gd name="T26" fmla="*/ 27 w 331"/>
                <a:gd name="T27" fmla="*/ 66 h 497"/>
                <a:gd name="T28" fmla="*/ 21 w 331"/>
                <a:gd name="T29" fmla="*/ 64 h 497"/>
                <a:gd name="T30" fmla="*/ 15 w 331"/>
                <a:gd name="T31" fmla="*/ 61 h 497"/>
                <a:gd name="T32" fmla="*/ 11 w 331"/>
                <a:gd name="T33" fmla="*/ 57 h 497"/>
                <a:gd name="T34" fmla="*/ 6 w 331"/>
                <a:gd name="T35" fmla="*/ 52 h 497"/>
                <a:gd name="T36" fmla="*/ 3 w 331"/>
                <a:gd name="T37" fmla="*/ 46 h 497"/>
                <a:gd name="T38" fmla="*/ 1 w 331"/>
                <a:gd name="T39" fmla="*/ 40 h 497"/>
                <a:gd name="T40" fmla="*/ 0 w 331"/>
                <a:gd name="T41" fmla="*/ 33 h 497"/>
                <a:gd name="T42" fmla="*/ 0 w 331"/>
                <a:gd name="T43" fmla="*/ 33 h 497"/>
                <a:gd name="T44" fmla="*/ 1 w 331"/>
                <a:gd name="T45" fmla="*/ 27 h 497"/>
                <a:gd name="T46" fmla="*/ 3 w 331"/>
                <a:gd name="T47" fmla="*/ 20 h 497"/>
                <a:gd name="T48" fmla="*/ 6 w 331"/>
                <a:gd name="T49" fmla="*/ 14 h 497"/>
                <a:gd name="T50" fmla="*/ 11 w 331"/>
                <a:gd name="T51" fmla="*/ 10 h 497"/>
                <a:gd name="T52" fmla="*/ 15 w 331"/>
                <a:gd name="T53" fmla="*/ 6 h 497"/>
                <a:gd name="T54" fmla="*/ 21 w 331"/>
                <a:gd name="T55" fmla="*/ 3 h 497"/>
                <a:gd name="T56" fmla="*/ 27 w 331"/>
                <a:gd name="T57" fmla="*/ 1 h 497"/>
                <a:gd name="T58" fmla="*/ 33 w 331"/>
                <a:gd name="T59" fmla="*/ 0 h 497"/>
                <a:gd name="T60" fmla="*/ 298 w 331"/>
                <a:gd name="T61" fmla="*/ 0 h 497"/>
                <a:gd name="T62" fmla="*/ 298 w 331"/>
                <a:gd name="T63" fmla="*/ 0 h 497"/>
                <a:gd name="T64" fmla="*/ 305 w 331"/>
                <a:gd name="T65" fmla="*/ 1 h 497"/>
                <a:gd name="T66" fmla="*/ 311 w 331"/>
                <a:gd name="T67" fmla="*/ 3 h 497"/>
                <a:gd name="T68" fmla="*/ 317 w 331"/>
                <a:gd name="T69" fmla="*/ 6 h 497"/>
                <a:gd name="T70" fmla="*/ 321 w 331"/>
                <a:gd name="T71" fmla="*/ 10 h 497"/>
                <a:gd name="T72" fmla="*/ 325 w 331"/>
                <a:gd name="T73" fmla="*/ 14 h 497"/>
                <a:gd name="T74" fmla="*/ 328 w 331"/>
                <a:gd name="T75" fmla="*/ 20 h 497"/>
                <a:gd name="T76" fmla="*/ 330 w 331"/>
                <a:gd name="T77" fmla="*/ 27 h 497"/>
                <a:gd name="T78" fmla="*/ 331 w 331"/>
                <a:gd name="T79" fmla="*/ 33 h 497"/>
                <a:gd name="T80" fmla="*/ 331 w 331"/>
                <a:gd name="T81" fmla="*/ 464 h 497"/>
                <a:gd name="T82" fmla="*/ 331 w 331"/>
                <a:gd name="T83" fmla="*/ 464 h 497"/>
                <a:gd name="T84" fmla="*/ 330 w 331"/>
                <a:gd name="T85" fmla="*/ 470 h 497"/>
                <a:gd name="T86" fmla="*/ 328 w 331"/>
                <a:gd name="T87" fmla="*/ 476 h 497"/>
                <a:gd name="T88" fmla="*/ 325 w 331"/>
                <a:gd name="T89" fmla="*/ 481 h 497"/>
                <a:gd name="T90" fmla="*/ 321 w 331"/>
                <a:gd name="T91" fmla="*/ 486 h 497"/>
                <a:gd name="T92" fmla="*/ 317 w 331"/>
                <a:gd name="T93" fmla="*/ 491 h 497"/>
                <a:gd name="T94" fmla="*/ 311 w 331"/>
                <a:gd name="T95" fmla="*/ 494 h 497"/>
                <a:gd name="T96" fmla="*/ 305 w 331"/>
                <a:gd name="T97" fmla="*/ 496 h 497"/>
                <a:gd name="T98" fmla="*/ 298 w 331"/>
                <a:gd name="T99" fmla="*/ 497 h 497"/>
                <a:gd name="T100" fmla="*/ 298 w 331"/>
                <a:gd name="T101" fmla="*/ 49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1" h="497">
                  <a:moveTo>
                    <a:pt x="298" y="497"/>
                  </a:moveTo>
                  <a:lnTo>
                    <a:pt x="298" y="497"/>
                  </a:lnTo>
                  <a:lnTo>
                    <a:pt x="291" y="496"/>
                  </a:lnTo>
                  <a:lnTo>
                    <a:pt x="285" y="494"/>
                  </a:lnTo>
                  <a:lnTo>
                    <a:pt x="280" y="491"/>
                  </a:lnTo>
                  <a:lnTo>
                    <a:pt x="274" y="486"/>
                  </a:lnTo>
                  <a:lnTo>
                    <a:pt x="270" y="481"/>
                  </a:lnTo>
                  <a:lnTo>
                    <a:pt x="267" y="476"/>
                  </a:lnTo>
                  <a:lnTo>
                    <a:pt x="265" y="470"/>
                  </a:lnTo>
                  <a:lnTo>
                    <a:pt x="265" y="464"/>
                  </a:lnTo>
                  <a:lnTo>
                    <a:pt x="265" y="66"/>
                  </a:lnTo>
                  <a:lnTo>
                    <a:pt x="33" y="66"/>
                  </a:lnTo>
                  <a:lnTo>
                    <a:pt x="33" y="66"/>
                  </a:lnTo>
                  <a:lnTo>
                    <a:pt x="27" y="66"/>
                  </a:lnTo>
                  <a:lnTo>
                    <a:pt x="21" y="64"/>
                  </a:lnTo>
                  <a:lnTo>
                    <a:pt x="15" y="61"/>
                  </a:lnTo>
                  <a:lnTo>
                    <a:pt x="11" y="57"/>
                  </a:lnTo>
                  <a:lnTo>
                    <a:pt x="6" y="52"/>
                  </a:lnTo>
                  <a:lnTo>
                    <a:pt x="3" y="46"/>
                  </a:lnTo>
                  <a:lnTo>
                    <a:pt x="1" y="40"/>
                  </a:lnTo>
                  <a:lnTo>
                    <a:pt x="0" y="33"/>
                  </a:lnTo>
                  <a:lnTo>
                    <a:pt x="0" y="33"/>
                  </a:lnTo>
                  <a:lnTo>
                    <a:pt x="1" y="27"/>
                  </a:lnTo>
                  <a:lnTo>
                    <a:pt x="3" y="20"/>
                  </a:lnTo>
                  <a:lnTo>
                    <a:pt x="6" y="14"/>
                  </a:lnTo>
                  <a:lnTo>
                    <a:pt x="11" y="10"/>
                  </a:lnTo>
                  <a:lnTo>
                    <a:pt x="15" y="6"/>
                  </a:lnTo>
                  <a:lnTo>
                    <a:pt x="21" y="3"/>
                  </a:lnTo>
                  <a:lnTo>
                    <a:pt x="27" y="1"/>
                  </a:lnTo>
                  <a:lnTo>
                    <a:pt x="33" y="0"/>
                  </a:lnTo>
                  <a:lnTo>
                    <a:pt x="298" y="0"/>
                  </a:lnTo>
                  <a:lnTo>
                    <a:pt x="298" y="0"/>
                  </a:lnTo>
                  <a:lnTo>
                    <a:pt x="305" y="1"/>
                  </a:lnTo>
                  <a:lnTo>
                    <a:pt x="311" y="3"/>
                  </a:lnTo>
                  <a:lnTo>
                    <a:pt x="317" y="6"/>
                  </a:lnTo>
                  <a:lnTo>
                    <a:pt x="321" y="10"/>
                  </a:lnTo>
                  <a:lnTo>
                    <a:pt x="325" y="14"/>
                  </a:lnTo>
                  <a:lnTo>
                    <a:pt x="328" y="20"/>
                  </a:lnTo>
                  <a:lnTo>
                    <a:pt x="330" y="27"/>
                  </a:lnTo>
                  <a:lnTo>
                    <a:pt x="331" y="33"/>
                  </a:lnTo>
                  <a:lnTo>
                    <a:pt x="331" y="464"/>
                  </a:lnTo>
                  <a:lnTo>
                    <a:pt x="331" y="464"/>
                  </a:lnTo>
                  <a:lnTo>
                    <a:pt x="330" y="470"/>
                  </a:lnTo>
                  <a:lnTo>
                    <a:pt x="328" y="476"/>
                  </a:lnTo>
                  <a:lnTo>
                    <a:pt x="325" y="481"/>
                  </a:lnTo>
                  <a:lnTo>
                    <a:pt x="321" y="486"/>
                  </a:lnTo>
                  <a:lnTo>
                    <a:pt x="317" y="491"/>
                  </a:lnTo>
                  <a:lnTo>
                    <a:pt x="311" y="494"/>
                  </a:lnTo>
                  <a:lnTo>
                    <a:pt x="305" y="496"/>
                  </a:lnTo>
                  <a:lnTo>
                    <a:pt x="298" y="497"/>
                  </a:lnTo>
                  <a:lnTo>
                    <a:pt x="298" y="4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45" name="Freeform 97">
              <a:extLst>
                <a:ext uri="{FF2B5EF4-FFF2-40B4-BE49-F238E27FC236}">
                  <a16:creationId xmlns:a16="http://schemas.microsoft.com/office/drawing/2014/main" id="{3C1A3CDF-1928-CB34-577B-054044A93740}"/>
                </a:ext>
              </a:extLst>
            </p:cNvPr>
            <p:cNvSpPr>
              <a:spLocks noEditPoints="1"/>
            </p:cNvSpPr>
            <p:nvPr/>
          </p:nvSpPr>
          <p:spPr bwMode="auto">
            <a:xfrm>
              <a:off x="9215438" y="2168525"/>
              <a:ext cx="134938" cy="104775"/>
            </a:xfrm>
            <a:custGeom>
              <a:avLst/>
              <a:gdLst>
                <a:gd name="T0" fmla="*/ 34 w 595"/>
                <a:gd name="T1" fmla="*/ 463 h 463"/>
                <a:gd name="T2" fmla="*/ 15 w 595"/>
                <a:gd name="T3" fmla="*/ 457 h 463"/>
                <a:gd name="T4" fmla="*/ 3 w 595"/>
                <a:gd name="T5" fmla="*/ 442 h 463"/>
                <a:gd name="T6" fmla="*/ 0 w 595"/>
                <a:gd name="T7" fmla="*/ 165 h 463"/>
                <a:gd name="T8" fmla="*/ 3 w 595"/>
                <a:gd name="T9" fmla="*/ 152 h 463"/>
                <a:gd name="T10" fmla="*/ 15 w 595"/>
                <a:gd name="T11" fmla="*/ 138 h 463"/>
                <a:gd name="T12" fmla="*/ 34 w 595"/>
                <a:gd name="T13" fmla="*/ 131 h 463"/>
                <a:gd name="T14" fmla="*/ 138 w 595"/>
                <a:gd name="T15" fmla="*/ 119 h 463"/>
                <a:gd name="T16" fmla="*/ 153 w 595"/>
                <a:gd name="T17" fmla="*/ 82 h 463"/>
                <a:gd name="T18" fmla="*/ 175 w 595"/>
                <a:gd name="T19" fmla="*/ 50 h 463"/>
                <a:gd name="T20" fmla="*/ 206 w 595"/>
                <a:gd name="T21" fmla="*/ 24 h 463"/>
                <a:gd name="T22" fmla="*/ 248 w 595"/>
                <a:gd name="T23" fmla="*/ 6 h 463"/>
                <a:gd name="T24" fmla="*/ 297 w 595"/>
                <a:gd name="T25" fmla="*/ 0 h 463"/>
                <a:gd name="T26" fmla="*/ 333 w 595"/>
                <a:gd name="T27" fmla="*/ 2 h 463"/>
                <a:gd name="T28" fmla="*/ 376 w 595"/>
                <a:gd name="T29" fmla="*/ 17 h 463"/>
                <a:gd name="T30" fmla="*/ 411 w 595"/>
                <a:gd name="T31" fmla="*/ 40 h 463"/>
                <a:gd name="T32" fmla="*/ 437 w 595"/>
                <a:gd name="T33" fmla="*/ 70 h 463"/>
                <a:gd name="T34" fmla="*/ 454 w 595"/>
                <a:gd name="T35" fmla="*/ 107 h 463"/>
                <a:gd name="T36" fmla="*/ 562 w 595"/>
                <a:gd name="T37" fmla="*/ 131 h 463"/>
                <a:gd name="T38" fmla="*/ 576 w 595"/>
                <a:gd name="T39" fmla="*/ 135 h 463"/>
                <a:gd name="T40" fmla="*/ 590 w 595"/>
                <a:gd name="T41" fmla="*/ 146 h 463"/>
                <a:gd name="T42" fmla="*/ 595 w 595"/>
                <a:gd name="T43" fmla="*/ 165 h 463"/>
                <a:gd name="T44" fmla="*/ 594 w 595"/>
                <a:gd name="T45" fmla="*/ 436 h 463"/>
                <a:gd name="T46" fmla="*/ 586 w 595"/>
                <a:gd name="T47" fmla="*/ 454 h 463"/>
                <a:gd name="T48" fmla="*/ 570 w 595"/>
                <a:gd name="T49" fmla="*/ 462 h 463"/>
                <a:gd name="T50" fmla="*/ 67 w 595"/>
                <a:gd name="T51" fmla="*/ 397 h 463"/>
                <a:gd name="T52" fmla="*/ 430 w 595"/>
                <a:gd name="T53" fmla="*/ 198 h 463"/>
                <a:gd name="T54" fmla="*/ 417 w 595"/>
                <a:gd name="T55" fmla="*/ 196 h 463"/>
                <a:gd name="T56" fmla="*/ 403 w 595"/>
                <a:gd name="T57" fmla="*/ 183 h 463"/>
                <a:gd name="T58" fmla="*/ 397 w 595"/>
                <a:gd name="T59" fmla="*/ 165 h 463"/>
                <a:gd name="T60" fmla="*/ 395 w 595"/>
                <a:gd name="T61" fmla="*/ 145 h 463"/>
                <a:gd name="T62" fmla="*/ 387 w 595"/>
                <a:gd name="T63" fmla="*/ 120 h 463"/>
                <a:gd name="T64" fmla="*/ 372 w 595"/>
                <a:gd name="T65" fmla="*/ 94 h 463"/>
                <a:gd name="T66" fmla="*/ 343 w 595"/>
                <a:gd name="T67" fmla="*/ 74 h 463"/>
                <a:gd name="T68" fmla="*/ 297 w 595"/>
                <a:gd name="T69" fmla="*/ 65 h 463"/>
                <a:gd name="T70" fmla="*/ 266 w 595"/>
                <a:gd name="T71" fmla="*/ 69 h 463"/>
                <a:gd name="T72" fmla="*/ 232 w 595"/>
                <a:gd name="T73" fmla="*/ 87 h 463"/>
                <a:gd name="T74" fmla="*/ 213 w 595"/>
                <a:gd name="T75" fmla="*/ 112 h 463"/>
                <a:gd name="T76" fmla="*/ 202 w 595"/>
                <a:gd name="T77" fmla="*/ 138 h 463"/>
                <a:gd name="T78" fmla="*/ 199 w 595"/>
                <a:gd name="T79" fmla="*/ 165 h 463"/>
                <a:gd name="T80" fmla="*/ 196 w 595"/>
                <a:gd name="T81" fmla="*/ 178 h 463"/>
                <a:gd name="T82" fmla="*/ 185 w 595"/>
                <a:gd name="T83" fmla="*/ 193 h 463"/>
                <a:gd name="T84" fmla="*/ 166 w 595"/>
                <a:gd name="T85" fmla="*/ 198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95" h="463">
                  <a:moveTo>
                    <a:pt x="562" y="463"/>
                  </a:moveTo>
                  <a:lnTo>
                    <a:pt x="34" y="463"/>
                  </a:lnTo>
                  <a:lnTo>
                    <a:pt x="34" y="463"/>
                  </a:lnTo>
                  <a:lnTo>
                    <a:pt x="26" y="462"/>
                  </a:lnTo>
                  <a:lnTo>
                    <a:pt x="20" y="460"/>
                  </a:lnTo>
                  <a:lnTo>
                    <a:pt x="15" y="457"/>
                  </a:lnTo>
                  <a:lnTo>
                    <a:pt x="10" y="454"/>
                  </a:lnTo>
                  <a:lnTo>
                    <a:pt x="6" y="448"/>
                  </a:lnTo>
                  <a:lnTo>
                    <a:pt x="3" y="442"/>
                  </a:lnTo>
                  <a:lnTo>
                    <a:pt x="1" y="436"/>
                  </a:lnTo>
                  <a:lnTo>
                    <a:pt x="0" y="430"/>
                  </a:lnTo>
                  <a:lnTo>
                    <a:pt x="0" y="165"/>
                  </a:lnTo>
                  <a:lnTo>
                    <a:pt x="0" y="165"/>
                  </a:lnTo>
                  <a:lnTo>
                    <a:pt x="1" y="158"/>
                  </a:lnTo>
                  <a:lnTo>
                    <a:pt x="3" y="152"/>
                  </a:lnTo>
                  <a:lnTo>
                    <a:pt x="6" y="146"/>
                  </a:lnTo>
                  <a:lnTo>
                    <a:pt x="10" y="142"/>
                  </a:lnTo>
                  <a:lnTo>
                    <a:pt x="15" y="138"/>
                  </a:lnTo>
                  <a:lnTo>
                    <a:pt x="20" y="135"/>
                  </a:lnTo>
                  <a:lnTo>
                    <a:pt x="26" y="133"/>
                  </a:lnTo>
                  <a:lnTo>
                    <a:pt x="34" y="131"/>
                  </a:lnTo>
                  <a:lnTo>
                    <a:pt x="136" y="131"/>
                  </a:lnTo>
                  <a:lnTo>
                    <a:pt x="136" y="131"/>
                  </a:lnTo>
                  <a:lnTo>
                    <a:pt x="138" y="119"/>
                  </a:lnTo>
                  <a:lnTo>
                    <a:pt x="142" y="107"/>
                  </a:lnTo>
                  <a:lnTo>
                    <a:pt x="146" y="94"/>
                  </a:lnTo>
                  <a:lnTo>
                    <a:pt x="153" y="82"/>
                  </a:lnTo>
                  <a:lnTo>
                    <a:pt x="159" y="70"/>
                  </a:lnTo>
                  <a:lnTo>
                    <a:pt x="167" y="60"/>
                  </a:lnTo>
                  <a:lnTo>
                    <a:pt x="175" y="50"/>
                  </a:lnTo>
                  <a:lnTo>
                    <a:pt x="185" y="40"/>
                  </a:lnTo>
                  <a:lnTo>
                    <a:pt x="195" y="31"/>
                  </a:lnTo>
                  <a:lnTo>
                    <a:pt x="206" y="24"/>
                  </a:lnTo>
                  <a:lnTo>
                    <a:pt x="220" y="17"/>
                  </a:lnTo>
                  <a:lnTo>
                    <a:pt x="233" y="10"/>
                  </a:lnTo>
                  <a:lnTo>
                    <a:pt x="248" y="6"/>
                  </a:lnTo>
                  <a:lnTo>
                    <a:pt x="263" y="2"/>
                  </a:lnTo>
                  <a:lnTo>
                    <a:pt x="280" y="0"/>
                  </a:lnTo>
                  <a:lnTo>
                    <a:pt x="297" y="0"/>
                  </a:lnTo>
                  <a:lnTo>
                    <a:pt x="297" y="0"/>
                  </a:lnTo>
                  <a:lnTo>
                    <a:pt x="316" y="0"/>
                  </a:lnTo>
                  <a:lnTo>
                    <a:pt x="333" y="2"/>
                  </a:lnTo>
                  <a:lnTo>
                    <a:pt x="348" y="6"/>
                  </a:lnTo>
                  <a:lnTo>
                    <a:pt x="363" y="10"/>
                  </a:lnTo>
                  <a:lnTo>
                    <a:pt x="376" y="17"/>
                  </a:lnTo>
                  <a:lnTo>
                    <a:pt x="390" y="24"/>
                  </a:lnTo>
                  <a:lnTo>
                    <a:pt x="401" y="31"/>
                  </a:lnTo>
                  <a:lnTo>
                    <a:pt x="411" y="40"/>
                  </a:lnTo>
                  <a:lnTo>
                    <a:pt x="421" y="50"/>
                  </a:lnTo>
                  <a:lnTo>
                    <a:pt x="429" y="60"/>
                  </a:lnTo>
                  <a:lnTo>
                    <a:pt x="437" y="70"/>
                  </a:lnTo>
                  <a:lnTo>
                    <a:pt x="443" y="82"/>
                  </a:lnTo>
                  <a:lnTo>
                    <a:pt x="450" y="94"/>
                  </a:lnTo>
                  <a:lnTo>
                    <a:pt x="454" y="107"/>
                  </a:lnTo>
                  <a:lnTo>
                    <a:pt x="458" y="119"/>
                  </a:lnTo>
                  <a:lnTo>
                    <a:pt x="460" y="131"/>
                  </a:lnTo>
                  <a:lnTo>
                    <a:pt x="562" y="131"/>
                  </a:lnTo>
                  <a:lnTo>
                    <a:pt x="562" y="131"/>
                  </a:lnTo>
                  <a:lnTo>
                    <a:pt x="570" y="133"/>
                  </a:lnTo>
                  <a:lnTo>
                    <a:pt x="576" y="135"/>
                  </a:lnTo>
                  <a:lnTo>
                    <a:pt x="581" y="138"/>
                  </a:lnTo>
                  <a:lnTo>
                    <a:pt x="586" y="142"/>
                  </a:lnTo>
                  <a:lnTo>
                    <a:pt x="590" y="146"/>
                  </a:lnTo>
                  <a:lnTo>
                    <a:pt x="593" y="152"/>
                  </a:lnTo>
                  <a:lnTo>
                    <a:pt x="594" y="158"/>
                  </a:lnTo>
                  <a:lnTo>
                    <a:pt x="595" y="165"/>
                  </a:lnTo>
                  <a:lnTo>
                    <a:pt x="595" y="430"/>
                  </a:lnTo>
                  <a:lnTo>
                    <a:pt x="595" y="430"/>
                  </a:lnTo>
                  <a:lnTo>
                    <a:pt x="594" y="436"/>
                  </a:lnTo>
                  <a:lnTo>
                    <a:pt x="593" y="442"/>
                  </a:lnTo>
                  <a:lnTo>
                    <a:pt x="590" y="448"/>
                  </a:lnTo>
                  <a:lnTo>
                    <a:pt x="586" y="454"/>
                  </a:lnTo>
                  <a:lnTo>
                    <a:pt x="581" y="457"/>
                  </a:lnTo>
                  <a:lnTo>
                    <a:pt x="576" y="460"/>
                  </a:lnTo>
                  <a:lnTo>
                    <a:pt x="570" y="462"/>
                  </a:lnTo>
                  <a:lnTo>
                    <a:pt x="562" y="463"/>
                  </a:lnTo>
                  <a:lnTo>
                    <a:pt x="562" y="463"/>
                  </a:lnTo>
                  <a:close/>
                  <a:moveTo>
                    <a:pt x="67" y="397"/>
                  </a:moveTo>
                  <a:lnTo>
                    <a:pt x="529" y="397"/>
                  </a:lnTo>
                  <a:lnTo>
                    <a:pt x="529" y="198"/>
                  </a:lnTo>
                  <a:lnTo>
                    <a:pt x="430" y="198"/>
                  </a:lnTo>
                  <a:lnTo>
                    <a:pt x="430" y="198"/>
                  </a:lnTo>
                  <a:lnTo>
                    <a:pt x="424" y="198"/>
                  </a:lnTo>
                  <a:lnTo>
                    <a:pt x="417" y="196"/>
                  </a:lnTo>
                  <a:lnTo>
                    <a:pt x="411" y="193"/>
                  </a:lnTo>
                  <a:lnTo>
                    <a:pt x="407" y="188"/>
                  </a:lnTo>
                  <a:lnTo>
                    <a:pt x="403" y="183"/>
                  </a:lnTo>
                  <a:lnTo>
                    <a:pt x="400" y="178"/>
                  </a:lnTo>
                  <a:lnTo>
                    <a:pt x="398" y="172"/>
                  </a:lnTo>
                  <a:lnTo>
                    <a:pt x="397" y="165"/>
                  </a:lnTo>
                  <a:lnTo>
                    <a:pt x="397" y="165"/>
                  </a:lnTo>
                  <a:lnTo>
                    <a:pt x="397" y="157"/>
                  </a:lnTo>
                  <a:lnTo>
                    <a:pt x="395" y="145"/>
                  </a:lnTo>
                  <a:lnTo>
                    <a:pt x="394" y="138"/>
                  </a:lnTo>
                  <a:lnTo>
                    <a:pt x="392" y="129"/>
                  </a:lnTo>
                  <a:lnTo>
                    <a:pt x="387" y="120"/>
                  </a:lnTo>
                  <a:lnTo>
                    <a:pt x="383" y="112"/>
                  </a:lnTo>
                  <a:lnTo>
                    <a:pt x="378" y="103"/>
                  </a:lnTo>
                  <a:lnTo>
                    <a:pt x="372" y="94"/>
                  </a:lnTo>
                  <a:lnTo>
                    <a:pt x="364" y="87"/>
                  </a:lnTo>
                  <a:lnTo>
                    <a:pt x="354" y="80"/>
                  </a:lnTo>
                  <a:lnTo>
                    <a:pt x="343" y="74"/>
                  </a:lnTo>
                  <a:lnTo>
                    <a:pt x="330" y="69"/>
                  </a:lnTo>
                  <a:lnTo>
                    <a:pt x="315" y="66"/>
                  </a:lnTo>
                  <a:lnTo>
                    <a:pt x="297" y="65"/>
                  </a:lnTo>
                  <a:lnTo>
                    <a:pt x="297" y="65"/>
                  </a:lnTo>
                  <a:lnTo>
                    <a:pt x="281" y="66"/>
                  </a:lnTo>
                  <a:lnTo>
                    <a:pt x="266" y="69"/>
                  </a:lnTo>
                  <a:lnTo>
                    <a:pt x="253" y="74"/>
                  </a:lnTo>
                  <a:lnTo>
                    <a:pt x="242" y="80"/>
                  </a:lnTo>
                  <a:lnTo>
                    <a:pt x="232" y="87"/>
                  </a:lnTo>
                  <a:lnTo>
                    <a:pt x="224" y="94"/>
                  </a:lnTo>
                  <a:lnTo>
                    <a:pt x="218" y="103"/>
                  </a:lnTo>
                  <a:lnTo>
                    <a:pt x="213" y="112"/>
                  </a:lnTo>
                  <a:lnTo>
                    <a:pt x="208" y="120"/>
                  </a:lnTo>
                  <a:lnTo>
                    <a:pt x="204" y="129"/>
                  </a:lnTo>
                  <a:lnTo>
                    <a:pt x="202" y="138"/>
                  </a:lnTo>
                  <a:lnTo>
                    <a:pt x="201" y="145"/>
                  </a:lnTo>
                  <a:lnTo>
                    <a:pt x="199" y="157"/>
                  </a:lnTo>
                  <a:lnTo>
                    <a:pt x="199" y="165"/>
                  </a:lnTo>
                  <a:lnTo>
                    <a:pt x="199" y="165"/>
                  </a:lnTo>
                  <a:lnTo>
                    <a:pt x="198" y="172"/>
                  </a:lnTo>
                  <a:lnTo>
                    <a:pt x="196" y="178"/>
                  </a:lnTo>
                  <a:lnTo>
                    <a:pt x="193" y="183"/>
                  </a:lnTo>
                  <a:lnTo>
                    <a:pt x="189" y="188"/>
                  </a:lnTo>
                  <a:lnTo>
                    <a:pt x="185" y="193"/>
                  </a:lnTo>
                  <a:lnTo>
                    <a:pt x="178" y="196"/>
                  </a:lnTo>
                  <a:lnTo>
                    <a:pt x="172" y="198"/>
                  </a:lnTo>
                  <a:lnTo>
                    <a:pt x="166" y="198"/>
                  </a:lnTo>
                  <a:lnTo>
                    <a:pt x="67" y="198"/>
                  </a:lnTo>
                  <a:lnTo>
                    <a:pt x="67" y="3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46" name="Freeform 98">
              <a:extLst>
                <a:ext uri="{FF2B5EF4-FFF2-40B4-BE49-F238E27FC236}">
                  <a16:creationId xmlns:a16="http://schemas.microsoft.com/office/drawing/2014/main" id="{AF9398BF-B98B-DD0E-2BE2-3442B71D408A}"/>
                </a:ext>
              </a:extLst>
            </p:cNvPr>
            <p:cNvSpPr>
              <a:spLocks/>
            </p:cNvSpPr>
            <p:nvPr/>
          </p:nvSpPr>
          <p:spPr bwMode="auto">
            <a:xfrm>
              <a:off x="9336088" y="2243138"/>
              <a:ext cx="44450" cy="82550"/>
            </a:xfrm>
            <a:custGeom>
              <a:avLst/>
              <a:gdLst>
                <a:gd name="T0" fmla="*/ 166 w 199"/>
                <a:gd name="T1" fmla="*/ 365 h 365"/>
                <a:gd name="T2" fmla="*/ 166 w 199"/>
                <a:gd name="T3" fmla="*/ 365 h 365"/>
                <a:gd name="T4" fmla="*/ 159 w 199"/>
                <a:gd name="T5" fmla="*/ 364 h 365"/>
                <a:gd name="T6" fmla="*/ 152 w 199"/>
                <a:gd name="T7" fmla="*/ 362 h 365"/>
                <a:gd name="T8" fmla="*/ 147 w 199"/>
                <a:gd name="T9" fmla="*/ 359 h 365"/>
                <a:gd name="T10" fmla="*/ 142 w 199"/>
                <a:gd name="T11" fmla="*/ 354 h 365"/>
                <a:gd name="T12" fmla="*/ 138 w 199"/>
                <a:gd name="T13" fmla="*/ 349 h 365"/>
                <a:gd name="T14" fmla="*/ 135 w 199"/>
                <a:gd name="T15" fmla="*/ 344 h 365"/>
                <a:gd name="T16" fmla="*/ 134 w 199"/>
                <a:gd name="T17" fmla="*/ 338 h 365"/>
                <a:gd name="T18" fmla="*/ 133 w 199"/>
                <a:gd name="T19" fmla="*/ 332 h 365"/>
                <a:gd name="T20" fmla="*/ 133 w 199"/>
                <a:gd name="T21" fmla="*/ 67 h 365"/>
                <a:gd name="T22" fmla="*/ 33 w 199"/>
                <a:gd name="T23" fmla="*/ 67 h 365"/>
                <a:gd name="T24" fmla="*/ 33 w 199"/>
                <a:gd name="T25" fmla="*/ 67 h 365"/>
                <a:gd name="T26" fmla="*/ 27 w 199"/>
                <a:gd name="T27" fmla="*/ 66 h 365"/>
                <a:gd name="T28" fmla="*/ 21 w 199"/>
                <a:gd name="T29" fmla="*/ 63 h 365"/>
                <a:gd name="T30" fmla="*/ 15 w 199"/>
                <a:gd name="T31" fmla="*/ 61 h 365"/>
                <a:gd name="T32" fmla="*/ 11 w 199"/>
                <a:gd name="T33" fmla="*/ 57 h 365"/>
                <a:gd name="T34" fmla="*/ 6 w 199"/>
                <a:gd name="T35" fmla="*/ 52 h 365"/>
                <a:gd name="T36" fmla="*/ 3 w 199"/>
                <a:gd name="T37" fmla="*/ 46 h 365"/>
                <a:gd name="T38" fmla="*/ 1 w 199"/>
                <a:gd name="T39" fmla="*/ 40 h 365"/>
                <a:gd name="T40" fmla="*/ 0 w 199"/>
                <a:gd name="T41" fmla="*/ 33 h 365"/>
                <a:gd name="T42" fmla="*/ 0 w 199"/>
                <a:gd name="T43" fmla="*/ 33 h 365"/>
                <a:gd name="T44" fmla="*/ 1 w 199"/>
                <a:gd name="T45" fmla="*/ 27 h 365"/>
                <a:gd name="T46" fmla="*/ 3 w 199"/>
                <a:gd name="T47" fmla="*/ 21 h 365"/>
                <a:gd name="T48" fmla="*/ 6 w 199"/>
                <a:gd name="T49" fmla="*/ 15 h 365"/>
                <a:gd name="T50" fmla="*/ 11 w 199"/>
                <a:gd name="T51" fmla="*/ 10 h 365"/>
                <a:gd name="T52" fmla="*/ 15 w 199"/>
                <a:gd name="T53" fmla="*/ 7 h 365"/>
                <a:gd name="T54" fmla="*/ 21 w 199"/>
                <a:gd name="T55" fmla="*/ 3 h 365"/>
                <a:gd name="T56" fmla="*/ 27 w 199"/>
                <a:gd name="T57" fmla="*/ 1 h 365"/>
                <a:gd name="T58" fmla="*/ 33 w 199"/>
                <a:gd name="T59" fmla="*/ 0 h 365"/>
                <a:gd name="T60" fmla="*/ 166 w 199"/>
                <a:gd name="T61" fmla="*/ 0 h 365"/>
                <a:gd name="T62" fmla="*/ 166 w 199"/>
                <a:gd name="T63" fmla="*/ 0 h 365"/>
                <a:gd name="T64" fmla="*/ 172 w 199"/>
                <a:gd name="T65" fmla="*/ 1 h 365"/>
                <a:gd name="T66" fmla="*/ 178 w 199"/>
                <a:gd name="T67" fmla="*/ 3 h 365"/>
                <a:gd name="T68" fmla="*/ 184 w 199"/>
                <a:gd name="T69" fmla="*/ 7 h 365"/>
                <a:gd name="T70" fmla="*/ 190 w 199"/>
                <a:gd name="T71" fmla="*/ 10 h 365"/>
                <a:gd name="T72" fmla="*/ 193 w 199"/>
                <a:gd name="T73" fmla="*/ 15 h 365"/>
                <a:gd name="T74" fmla="*/ 196 w 199"/>
                <a:gd name="T75" fmla="*/ 21 h 365"/>
                <a:gd name="T76" fmla="*/ 198 w 199"/>
                <a:gd name="T77" fmla="*/ 27 h 365"/>
                <a:gd name="T78" fmla="*/ 199 w 199"/>
                <a:gd name="T79" fmla="*/ 33 h 365"/>
                <a:gd name="T80" fmla="*/ 199 w 199"/>
                <a:gd name="T81" fmla="*/ 332 h 365"/>
                <a:gd name="T82" fmla="*/ 199 w 199"/>
                <a:gd name="T83" fmla="*/ 332 h 365"/>
                <a:gd name="T84" fmla="*/ 198 w 199"/>
                <a:gd name="T85" fmla="*/ 338 h 365"/>
                <a:gd name="T86" fmla="*/ 196 w 199"/>
                <a:gd name="T87" fmla="*/ 344 h 365"/>
                <a:gd name="T88" fmla="*/ 193 w 199"/>
                <a:gd name="T89" fmla="*/ 349 h 365"/>
                <a:gd name="T90" fmla="*/ 190 w 199"/>
                <a:gd name="T91" fmla="*/ 354 h 365"/>
                <a:gd name="T92" fmla="*/ 184 w 199"/>
                <a:gd name="T93" fmla="*/ 359 h 365"/>
                <a:gd name="T94" fmla="*/ 178 w 199"/>
                <a:gd name="T95" fmla="*/ 362 h 365"/>
                <a:gd name="T96" fmla="*/ 172 w 199"/>
                <a:gd name="T97" fmla="*/ 364 h 365"/>
                <a:gd name="T98" fmla="*/ 166 w 199"/>
                <a:gd name="T99" fmla="*/ 365 h 365"/>
                <a:gd name="T100" fmla="*/ 166 w 199"/>
                <a:gd name="T101" fmla="*/ 36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9" h="365">
                  <a:moveTo>
                    <a:pt x="166" y="365"/>
                  </a:moveTo>
                  <a:lnTo>
                    <a:pt x="166" y="365"/>
                  </a:lnTo>
                  <a:lnTo>
                    <a:pt x="159" y="364"/>
                  </a:lnTo>
                  <a:lnTo>
                    <a:pt x="152" y="362"/>
                  </a:lnTo>
                  <a:lnTo>
                    <a:pt x="147" y="359"/>
                  </a:lnTo>
                  <a:lnTo>
                    <a:pt x="142" y="354"/>
                  </a:lnTo>
                  <a:lnTo>
                    <a:pt x="138" y="349"/>
                  </a:lnTo>
                  <a:lnTo>
                    <a:pt x="135" y="344"/>
                  </a:lnTo>
                  <a:lnTo>
                    <a:pt x="134" y="338"/>
                  </a:lnTo>
                  <a:lnTo>
                    <a:pt x="133" y="332"/>
                  </a:lnTo>
                  <a:lnTo>
                    <a:pt x="133" y="67"/>
                  </a:lnTo>
                  <a:lnTo>
                    <a:pt x="33" y="67"/>
                  </a:lnTo>
                  <a:lnTo>
                    <a:pt x="33" y="67"/>
                  </a:lnTo>
                  <a:lnTo>
                    <a:pt x="27" y="66"/>
                  </a:lnTo>
                  <a:lnTo>
                    <a:pt x="21" y="63"/>
                  </a:lnTo>
                  <a:lnTo>
                    <a:pt x="15" y="61"/>
                  </a:lnTo>
                  <a:lnTo>
                    <a:pt x="11" y="57"/>
                  </a:lnTo>
                  <a:lnTo>
                    <a:pt x="6" y="52"/>
                  </a:lnTo>
                  <a:lnTo>
                    <a:pt x="3" y="46"/>
                  </a:lnTo>
                  <a:lnTo>
                    <a:pt x="1" y="40"/>
                  </a:lnTo>
                  <a:lnTo>
                    <a:pt x="0" y="33"/>
                  </a:lnTo>
                  <a:lnTo>
                    <a:pt x="0" y="33"/>
                  </a:lnTo>
                  <a:lnTo>
                    <a:pt x="1" y="27"/>
                  </a:lnTo>
                  <a:lnTo>
                    <a:pt x="3" y="21"/>
                  </a:lnTo>
                  <a:lnTo>
                    <a:pt x="6" y="15"/>
                  </a:lnTo>
                  <a:lnTo>
                    <a:pt x="11" y="10"/>
                  </a:lnTo>
                  <a:lnTo>
                    <a:pt x="15" y="7"/>
                  </a:lnTo>
                  <a:lnTo>
                    <a:pt x="21" y="3"/>
                  </a:lnTo>
                  <a:lnTo>
                    <a:pt x="27" y="1"/>
                  </a:lnTo>
                  <a:lnTo>
                    <a:pt x="33" y="0"/>
                  </a:lnTo>
                  <a:lnTo>
                    <a:pt x="166" y="0"/>
                  </a:lnTo>
                  <a:lnTo>
                    <a:pt x="166" y="0"/>
                  </a:lnTo>
                  <a:lnTo>
                    <a:pt x="172" y="1"/>
                  </a:lnTo>
                  <a:lnTo>
                    <a:pt x="178" y="3"/>
                  </a:lnTo>
                  <a:lnTo>
                    <a:pt x="184" y="7"/>
                  </a:lnTo>
                  <a:lnTo>
                    <a:pt x="190" y="10"/>
                  </a:lnTo>
                  <a:lnTo>
                    <a:pt x="193" y="15"/>
                  </a:lnTo>
                  <a:lnTo>
                    <a:pt x="196" y="21"/>
                  </a:lnTo>
                  <a:lnTo>
                    <a:pt x="198" y="27"/>
                  </a:lnTo>
                  <a:lnTo>
                    <a:pt x="199" y="33"/>
                  </a:lnTo>
                  <a:lnTo>
                    <a:pt x="199" y="332"/>
                  </a:lnTo>
                  <a:lnTo>
                    <a:pt x="199" y="332"/>
                  </a:lnTo>
                  <a:lnTo>
                    <a:pt x="198" y="338"/>
                  </a:lnTo>
                  <a:lnTo>
                    <a:pt x="196" y="344"/>
                  </a:lnTo>
                  <a:lnTo>
                    <a:pt x="193" y="349"/>
                  </a:lnTo>
                  <a:lnTo>
                    <a:pt x="190" y="354"/>
                  </a:lnTo>
                  <a:lnTo>
                    <a:pt x="184" y="359"/>
                  </a:lnTo>
                  <a:lnTo>
                    <a:pt x="178" y="362"/>
                  </a:lnTo>
                  <a:lnTo>
                    <a:pt x="172" y="364"/>
                  </a:lnTo>
                  <a:lnTo>
                    <a:pt x="166" y="365"/>
                  </a:lnTo>
                  <a:lnTo>
                    <a:pt x="166" y="3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47" name="Freeform 99">
              <a:extLst>
                <a:ext uri="{FF2B5EF4-FFF2-40B4-BE49-F238E27FC236}">
                  <a16:creationId xmlns:a16="http://schemas.microsoft.com/office/drawing/2014/main" id="{2173BB2C-B5D9-6E9C-8212-ED8DB227901A}"/>
                </a:ext>
              </a:extLst>
            </p:cNvPr>
            <p:cNvSpPr>
              <a:spLocks/>
            </p:cNvSpPr>
            <p:nvPr/>
          </p:nvSpPr>
          <p:spPr bwMode="auto">
            <a:xfrm>
              <a:off x="9231313" y="2303463"/>
              <a:ext cx="88900" cy="15875"/>
            </a:xfrm>
            <a:custGeom>
              <a:avLst/>
              <a:gdLst>
                <a:gd name="T0" fmla="*/ 363 w 396"/>
                <a:gd name="T1" fmla="*/ 67 h 67"/>
                <a:gd name="T2" fmla="*/ 33 w 396"/>
                <a:gd name="T3" fmla="*/ 67 h 67"/>
                <a:gd name="T4" fmla="*/ 33 w 396"/>
                <a:gd name="T5" fmla="*/ 67 h 67"/>
                <a:gd name="T6" fmla="*/ 26 w 396"/>
                <a:gd name="T7" fmla="*/ 66 h 67"/>
                <a:gd name="T8" fmla="*/ 19 w 396"/>
                <a:gd name="T9" fmla="*/ 64 h 67"/>
                <a:gd name="T10" fmla="*/ 14 w 396"/>
                <a:gd name="T11" fmla="*/ 60 h 67"/>
                <a:gd name="T12" fmla="*/ 9 w 396"/>
                <a:gd name="T13" fmla="*/ 56 h 67"/>
                <a:gd name="T14" fmla="*/ 5 w 396"/>
                <a:gd name="T15" fmla="*/ 52 h 67"/>
                <a:gd name="T16" fmla="*/ 2 w 396"/>
                <a:gd name="T17" fmla="*/ 46 h 67"/>
                <a:gd name="T18" fmla="*/ 0 w 396"/>
                <a:gd name="T19" fmla="*/ 40 h 67"/>
                <a:gd name="T20" fmla="*/ 0 w 396"/>
                <a:gd name="T21" fmla="*/ 33 h 67"/>
                <a:gd name="T22" fmla="*/ 0 w 396"/>
                <a:gd name="T23" fmla="*/ 33 h 67"/>
                <a:gd name="T24" fmla="*/ 0 w 396"/>
                <a:gd name="T25" fmla="*/ 26 h 67"/>
                <a:gd name="T26" fmla="*/ 2 w 396"/>
                <a:gd name="T27" fmla="*/ 20 h 67"/>
                <a:gd name="T28" fmla="*/ 5 w 396"/>
                <a:gd name="T29" fmla="*/ 15 h 67"/>
                <a:gd name="T30" fmla="*/ 9 w 396"/>
                <a:gd name="T31" fmla="*/ 10 h 67"/>
                <a:gd name="T32" fmla="*/ 14 w 396"/>
                <a:gd name="T33" fmla="*/ 6 h 67"/>
                <a:gd name="T34" fmla="*/ 19 w 396"/>
                <a:gd name="T35" fmla="*/ 2 h 67"/>
                <a:gd name="T36" fmla="*/ 26 w 396"/>
                <a:gd name="T37" fmla="*/ 0 h 67"/>
                <a:gd name="T38" fmla="*/ 33 w 396"/>
                <a:gd name="T39" fmla="*/ 0 h 67"/>
                <a:gd name="T40" fmla="*/ 363 w 396"/>
                <a:gd name="T41" fmla="*/ 0 h 67"/>
                <a:gd name="T42" fmla="*/ 363 w 396"/>
                <a:gd name="T43" fmla="*/ 0 h 67"/>
                <a:gd name="T44" fmla="*/ 370 w 396"/>
                <a:gd name="T45" fmla="*/ 0 h 67"/>
                <a:gd name="T46" fmla="*/ 376 w 396"/>
                <a:gd name="T47" fmla="*/ 2 h 67"/>
                <a:gd name="T48" fmla="*/ 382 w 396"/>
                <a:gd name="T49" fmla="*/ 6 h 67"/>
                <a:gd name="T50" fmla="*/ 387 w 396"/>
                <a:gd name="T51" fmla="*/ 10 h 67"/>
                <a:gd name="T52" fmla="*/ 391 w 396"/>
                <a:gd name="T53" fmla="*/ 15 h 67"/>
                <a:gd name="T54" fmla="*/ 394 w 396"/>
                <a:gd name="T55" fmla="*/ 20 h 67"/>
                <a:gd name="T56" fmla="*/ 396 w 396"/>
                <a:gd name="T57" fmla="*/ 26 h 67"/>
                <a:gd name="T58" fmla="*/ 396 w 396"/>
                <a:gd name="T59" fmla="*/ 33 h 67"/>
                <a:gd name="T60" fmla="*/ 396 w 396"/>
                <a:gd name="T61" fmla="*/ 33 h 67"/>
                <a:gd name="T62" fmla="*/ 396 w 396"/>
                <a:gd name="T63" fmla="*/ 40 h 67"/>
                <a:gd name="T64" fmla="*/ 394 w 396"/>
                <a:gd name="T65" fmla="*/ 46 h 67"/>
                <a:gd name="T66" fmla="*/ 391 w 396"/>
                <a:gd name="T67" fmla="*/ 52 h 67"/>
                <a:gd name="T68" fmla="*/ 387 w 396"/>
                <a:gd name="T69" fmla="*/ 56 h 67"/>
                <a:gd name="T70" fmla="*/ 382 w 396"/>
                <a:gd name="T71" fmla="*/ 60 h 67"/>
                <a:gd name="T72" fmla="*/ 376 w 396"/>
                <a:gd name="T73" fmla="*/ 64 h 67"/>
                <a:gd name="T74" fmla="*/ 370 w 396"/>
                <a:gd name="T75" fmla="*/ 66 h 67"/>
                <a:gd name="T76" fmla="*/ 363 w 396"/>
                <a:gd name="T77" fmla="*/ 67 h 67"/>
                <a:gd name="T78" fmla="*/ 363 w 396"/>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7">
                  <a:moveTo>
                    <a:pt x="363" y="67"/>
                  </a:moveTo>
                  <a:lnTo>
                    <a:pt x="33" y="67"/>
                  </a:lnTo>
                  <a:lnTo>
                    <a:pt x="33" y="67"/>
                  </a:lnTo>
                  <a:lnTo>
                    <a:pt x="26" y="66"/>
                  </a:lnTo>
                  <a:lnTo>
                    <a:pt x="19" y="64"/>
                  </a:lnTo>
                  <a:lnTo>
                    <a:pt x="14" y="60"/>
                  </a:lnTo>
                  <a:lnTo>
                    <a:pt x="9" y="56"/>
                  </a:lnTo>
                  <a:lnTo>
                    <a:pt x="5" y="52"/>
                  </a:lnTo>
                  <a:lnTo>
                    <a:pt x="2" y="46"/>
                  </a:lnTo>
                  <a:lnTo>
                    <a:pt x="0" y="40"/>
                  </a:lnTo>
                  <a:lnTo>
                    <a:pt x="0" y="33"/>
                  </a:lnTo>
                  <a:lnTo>
                    <a:pt x="0" y="33"/>
                  </a:lnTo>
                  <a:lnTo>
                    <a:pt x="0" y="26"/>
                  </a:lnTo>
                  <a:lnTo>
                    <a:pt x="2" y="20"/>
                  </a:lnTo>
                  <a:lnTo>
                    <a:pt x="5" y="15"/>
                  </a:lnTo>
                  <a:lnTo>
                    <a:pt x="9" y="10"/>
                  </a:lnTo>
                  <a:lnTo>
                    <a:pt x="14" y="6"/>
                  </a:lnTo>
                  <a:lnTo>
                    <a:pt x="19" y="2"/>
                  </a:lnTo>
                  <a:lnTo>
                    <a:pt x="26" y="0"/>
                  </a:lnTo>
                  <a:lnTo>
                    <a:pt x="33" y="0"/>
                  </a:lnTo>
                  <a:lnTo>
                    <a:pt x="363" y="0"/>
                  </a:lnTo>
                  <a:lnTo>
                    <a:pt x="363" y="0"/>
                  </a:lnTo>
                  <a:lnTo>
                    <a:pt x="370" y="0"/>
                  </a:lnTo>
                  <a:lnTo>
                    <a:pt x="376" y="2"/>
                  </a:lnTo>
                  <a:lnTo>
                    <a:pt x="382" y="6"/>
                  </a:lnTo>
                  <a:lnTo>
                    <a:pt x="387" y="10"/>
                  </a:lnTo>
                  <a:lnTo>
                    <a:pt x="391" y="15"/>
                  </a:lnTo>
                  <a:lnTo>
                    <a:pt x="394" y="20"/>
                  </a:lnTo>
                  <a:lnTo>
                    <a:pt x="396" y="26"/>
                  </a:lnTo>
                  <a:lnTo>
                    <a:pt x="396" y="33"/>
                  </a:lnTo>
                  <a:lnTo>
                    <a:pt x="396" y="33"/>
                  </a:lnTo>
                  <a:lnTo>
                    <a:pt x="396" y="40"/>
                  </a:lnTo>
                  <a:lnTo>
                    <a:pt x="394" y="46"/>
                  </a:lnTo>
                  <a:lnTo>
                    <a:pt x="391" y="52"/>
                  </a:lnTo>
                  <a:lnTo>
                    <a:pt x="387" y="56"/>
                  </a:lnTo>
                  <a:lnTo>
                    <a:pt x="382" y="60"/>
                  </a:lnTo>
                  <a:lnTo>
                    <a:pt x="376" y="64"/>
                  </a:lnTo>
                  <a:lnTo>
                    <a:pt x="370" y="66"/>
                  </a:lnTo>
                  <a:lnTo>
                    <a:pt x="363" y="67"/>
                  </a:lnTo>
                  <a:lnTo>
                    <a:pt x="36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48" name="Freeform 100">
              <a:extLst>
                <a:ext uri="{FF2B5EF4-FFF2-40B4-BE49-F238E27FC236}">
                  <a16:creationId xmlns:a16="http://schemas.microsoft.com/office/drawing/2014/main" id="{E331286C-CD9E-5769-776D-1A473A3FE8C2}"/>
                </a:ext>
              </a:extLst>
            </p:cNvPr>
            <p:cNvSpPr>
              <a:spLocks/>
            </p:cNvSpPr>
            <p:nvPr/>
          </p:nvSpPr>
          <p:spPr bwMode="auto">
            <a:xfrm>
              <a:off x="9231313" y="2333625"/>
              <a:ext cx="88900" cy="14288"/>
            </a:xfrm>
            <a:custGeom>
              <a:avLst/>
              <a:gdLst>
                <a:gd name="T0" fmla="*/ 363 w 396"/>
                <a:gd name="T1" fmla="*/ 65 h 65"/>
                <a:gd name="T2" fmla="*/ 33 w 396"/>
                <a:gd name="T3" fmla="*/ 65 h 65"/>
                <a:gd name="T4" fmla="*/ 33 w 396"/>
                <a:gd name="T5" fmla="*/ 65 h 65"/>
                <a:gd name="T6" fmla="*/ 26 w 396"/>
                <a:gd name="T7" fmla="*/ 65 h 65"/>
                <a:gd name="T8" fmla="*/ 19 w 396"/>
                <a:gd name="T9" fmla="*/ 63 h 65"/>
                <a:gd name="T10" fmla="*/ 14 w 396"/>
                <a:gd name="T11" fmla="*/ 60 h 65"/>
                <a:gd name="T12" fmla="*/ 9 w 396"/>
                <a:gd name="T13" fmla="*/ 56 h 65"/>
                <a:gd name="T14" fmla="*/ 5 w 396"/>
                <a:gd name="T15" fmla="*/ 51 h 65"/>
                <a:gd name="T16" fmla="*/ 2 w 396"/>
                <a:gd name="T17" fmla="*/ 45 h 65"/>
                <a:gd name="T18" fmla="*/ 0 w 396"/>
                <a:gd name="T19" fmla="*/ 39 h 65"/>
                <a:gd name="T20" fmla="*/ 0 w 396"/>
                <a:gd name="T21" fmla="*/ 32 h 65"/>
                <a:gd name="T22" fmla="*/ 0 w 396"/>
                <a:gd name="T23" fmla="*/ 32 h 65"/>
                <a:gd name="T24" fmla="*/ 0 w 396"/>
                <a:gd name="T25" fmla="*/ 26 h 65"/>
                <a:gd name="T26" fmla="*/ 2 w 396"/>
                <a:gd name="T27" fmla="*/ 20 h 65"/>
                <a:gd name="T28" fmla="*/ 5 w 396"/>
                <a:gd name="T29" fmla="*/ 14 h 65"/>
                <a:gd name="T30" fmla="*/ 9 w 396"/>
                <a:gd name="T31" fmla="*/ 9 h 65"/>
                <a:gd name="T32" fmla="*/ 14 w 396"/>
                <a:gd name="T33" fmla="*/ 5 h 65"/>
                <a:gd name="T34" fmla="*/ 19 w 396"/>
                <a:gd name="T35" fmla="*/ 2 h 65"/>
                <a:gd name="T36" fmla="*/ 26 w 396"/>
                <a:gd name="T37" fmla="*/ 0 h 65"/>
                <a:gd name="T38" fmla="*/ 33 w 396"/>
                <a:gd name="T39" fmla="*/ 0 h 65"/>
                <a:gd name="T40" fmla="*/ 363 w 396"/>
                <a:gd name="T41" fmla="*/ 0 h 65"/>
                <a:gd name="T42" fmla="*/ 363 w 396"/>
                <a:gd name="T43" fmla="*/ 0 h 65"/>
                <a:gd name="T44" fmla="*/ 370 w 396"/>
                <a:gd name="T45" fmla="*/ 0 h 65"/>
                <a:gd name="T46" fmla="*/ 376 w 396"/>
                <a:gd name="T47" fmla="*/ 2 h 65"/>
                <a:gd name="T48" fmla="*/ 382 w 396"/>
                <a:gd name="T49" fmla="*/ 5 h 65"/>
                <a:gd name="T50" fmla="*/ 387 w 396"/>
                <a:gd name="T51" fmla="*/ 9 h 65"/>
                <a:gd name="T52" fmla="*/ 391 w 396"/>
                <a:gd name="T53" fmla="*/ 14 h 65"/>
                <a:gd name="T54" fmla="*/ 394 w 396"/>
                <a:gd name="T55" fmla="*/ 20 h 65"/>
                <a:gd name="T56" fmla="*/ 396 w 396"/>
                <a:gd name="T57" fmla="*/ 26 h 65"/>
                <a:gd name="T58" fmla="*/ 396 w 396"/>
                <a:gd name="T59" fmla="*/ 32 h 65"/>
                <a:gd name="T60" fmla="*/ 396 w 396"/>
                <a:gd name="T61" fmla="*/ 32 h 65"/>
                <a:gd name="T62" fmla="*/ 396 w 396"/>
                <a:gd name="T63" fmla="*/ 39 h 65"/>
                <a:gd name="T64" fmla="*/ 394 w 396"/>
                <a:gd name="T65" fmla="*/ 45 h 65"/>
                <a:gd name="T66" fmla="*/ 391 w 396"/>
                <a:gd name="T67" fmla="*/ 51 h 65"/>
                <a:gd name="T68" fmla="*/ 387 w 396"/>
                <a:gd name="T69" fmla="*/ 56 h 65"/>
                <a:gd name="T70" fmla="*/ 382 w 396"/>
                <a:gd name="T71" fmla="*/ 60 h 65"/>
                <a:gd name="T72" fmla="*/ 376 w 396"/>
                <a:gd name="T73" fmla="*/ 63 h 65"/>
                <a:gd name="T74" fmla="*/ 370 w 396"/>
                <a:gd name="T75" fmla="*/ 65 h 65"/>
                <a:gd name="T76" fmla="*/ 363 w 396"/>
                <a:gd name="T77" fmla="*/ 65 h 65"/>
                <a:gd name="T78" fmla="*/ 363 w 396"/>
                <a:gd name="T7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5">
                  <a:moveTo>
                    <a:pt x="363" y="65"/>
                  </a:moveTo>
                  <a:lnTo>
                    <a:pt x="33" y="65"/>
                  </a:lnTo>
                  <a:lnTo>
                    <a:pt x="33" y="65"/>
                  </a:lnTo>
                  <a:lnTo>
                    <a:pt x="26" y="65"/>
                  </a:lnTo>
                  <a:lnTo>
                    <a:pt x="19" y="63"/>
                  </a:lnTo>
                  <a:lnTo>
                    <a:pt x="14" y="60"/>
                  </a:lnTo>
                  <a:lnTo>
                    <a:pt x="9" y="56"/>
                  </a:lnTo>
                  <a:lnTo>
                    <a:pt x="5" y="51"/>
                  </a:lnTo>
                  <a:lnTo>
                    <a:pt x="2" y="45"/>
                  </a:lnTo>
                  <a:lnTo>
                    <a:pt x="0" y="39"/>
                  </a:lnTo>
                  <a:lnTo>
                    <a:pt x="0" y="32"/>
                  </a:lnTo>
                  <a:lnTo>
                    <a:pt x="0" y="32"/>
                  </a:lnTo>
                  <a:lnTo>
                    <a:pt x="0" y="26"/>
                  </a:lnTo>
                  <a:lnTo>
                    <a:pt x="2" y="20"/>
                  </a:lnTo>
                  <a:lnTo>
                    <a:pt x="5" y="14"/>
                  </a:lnTo>
                  <a:lnTo>
                    <a:pt x="9" y="9"/>
                  </a:lnTo>
                  <a:lnTo>
                    <a:pt x="14" y="5"/>
                  </a:lnTo>
                  <a:lnTo>
                    <a:pt x="19" y="2"/>
                  </a:lnTo>
                  <a:lnTo>
                    <a:pt x="26" y="0"/>
                  </a:lnTo>
                  <a:lnTo>
                    <a:pt x="33" y="0"/>
                  </a:lnTo>
                  <a:lnTo>
                    <a:pt x="363" y="0"/>
                  </a:lnTo>
                  <a:lnTo>
                    <a:pt x="363" y="0"/>
                  </a:lnTo>
                  <a:lnTo>
                    <a:pt x="370" y="0"/>
                  </a:lnTo>
                  <a:lnTo>
                    <a:pt x="376" y="2"/>
                  </a:lnTo>
                  <a:lnTo>
                    <a:pt x="382" y="5"/>
                  </a:lnTo>
                  <a:lnTo>
                    <a:pt x="387" y="9"/>
                  </a:lnTo>
                  <a:lnTo>
                    <a:pt x="391" y="14"/>
                  </a:lnTo>
                  <a:lnTo>
                    <a:pt x="394" y="20"/>
                  </a:lnTo>
                  <a:lnTo>
                    <a:pt x="396" y="26"/>
                  </a:lnTo>
                  <a:lnTo>
                    <a:pt x="396" y="32"/>
                  </a:lnTo>
                  <a:lnTo>
                    <a:pt x="396" y="32"/>
                  </a:lnTo>
                  <a:lnTo>
                    <a:pt x="396" y="39"/>
                  </a:lnTo>
                  <a:lnTo>
                    <a:pt x="394" y="45"/>
                  </a:lnTo>
                  <a:lnTo>
                    <a:pt x="391" y="51"/>
                  </a:lnTo>
                  <a:lnTo>
                    <a:pt x="387" y="56"/>
                  </a:lnTo>
                  <a:lnTo>
                    <a:pt x="382" y="60"/>
                  </a:lnTo>
                  <a:lnTo>
                    <a:pt x="376" y="63"/>
                  </a:lnTo>
                  <a:lnTo>
                    <a:pt x="370" y="65"/>
                  </a:lnTo>
                  <a:lnTo>
                    <a:pt x="363" y="65"/>
                  </a:lnTo>
                  <a:lnTo>
                    <a:pt x="363"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49" name="Freeform 101">
              <a:extLst>
                <a:ext uri="{FF2B5EF4-FFF2-40B4-BE49-F238E27FC236}">
                  <a16:creationId xmlns:a16="http://schemas.microsoft.com/office/drawing/2014/main" id="{24DE882A-AD78-19B1-3657-29270432CD46}"/>
                </a:ext>
              </a:extLst>
            </p:cNvPr>
            <p:cNvSpPr>
              <a:spLocks/>
            </p:cNvSpPr>
            <p:nvPr/>
          </p:nvSpPr>
          <p:spPr bwMode="auto">
            <a:xfrm>
              <a:off x="9231313" y="2363788"/>
              <a:ext cx="88900" cy="14288"/>
            </a:xfrm>
            <a:custGeom>
              <a:avLst/>
              <a:gdLst>
                <a:gd name="T0" fmla="*/ 363 w 396"/>
                <a:gd name="T1" fmla="*/ 67 h 67"/>
                <a:gd name="T2" fmla="*/ 33 w 396"/>
                <a:gd name="T3" fmla="*/ 67 h 67"/>
                <a:gd name="T4" fmla="*/ 33 w 396"/>
                <a:gd name="T5" fmla="*/ 67 h 67"/>
                <a:gd name="T6" fmla="*/ 26 w 396"/>
                <a:gd name="T7" fmla="*/ 67 h 67"/>
                <a:gd name="T8" fmla="*/ 19 w 396"/>
                <a:gd name="T9" fmla="*/ 65 h 67"/>
                <a:gd name="T10" fmla="*/ 14 w 396"/>
                <a:gd name="T11" fmla="*/ 61 h 67"/>
                <a:gd name="T12" fmla="*/ 9 w 396"/>
                <a:gd name="T13" fmla="*/ 57 h 67"/>
                <a:gd name="T14" fmla="*/ 5 w 396"/>
                <a:gd name="T15" fmla="*/ 52 h 67"/>
                <a:gd name="T16" fmla="*/ 2 w 396"/>
                <a:gd name="T17" fmla="*/ 47 h 67"/>
                <a:gd name="T18" fmla="*/ 0 w 396"/>
                <a:gd name="T19" fmla="*/ 41 h 67"/>
                <a:gd name="T20" fmla="*/ 0 w 396"/>
                <a:gd name="T21" fmla="*/ 34 h 67"/>
                <a:gd name="T22" fmla="*/ 0 w 396"/>
                <a:gd name="T23" fmla="*/ 34 h 67"/>
                <a:gd name="T24" fmla="*/ 0 w 396"/>
                <a:gd name="T25" fmla="*/ 27 h 67"/>
                <a:gd name="T26" fmla="*/ 2 w 396"/>
                <a:gd name="T27" fmla="*/ 21 h 67"/>
                <a:gd name="T28" fmla="*/ 5 w 396"/>
                <a:gd name="T29" fmla="*/ 15 h 67"/>
                <a:gd name="T30" fmla="*/ 9 w 396"/>
                <a:gd name="T31" fmla="*/ 11 h 67"/>
                <a:gd name="T32" fmla="*/ 14 w 396"/>
                <a:gd name="T33" fmla="*/ 7 h 67"/>
                <a:gd name="T34" fmla="*/ 19 w 396"/>
                <a:gd name="T35" fmla="*/ 3 h 67"/>
                <a:gd name="T36" fmla="*/ 26 w 396"/>
                <a:gd name="T37" fmla="*/ 1 h 67"/>
                <a:gd name="T38" fmla="*/ 33 w 396"/>
                <a:gd name="T39" fmla="*/ 0 h 67"/>
                <a:gd name="T40" fmla="*/ 363 w 396"/>
                <a:gd name="T41" fmla="*/ 0 h 67"/>
                <a:gd name="T42" fmla="*/ 363 w 396"/>
                <a:gd name="T43" fmla="*/ 0 h 67"/>
                <a:gd name="T44" fmla="*/ 370 w 396"/>
                <a:gd name="T45" fmla="*/ 1 h 67"/>
                <a:gd name="T46" fmla="*/ 376 w 396"/>
                <a:gd name="T47" fmla="*/ 3 h 67"/>
                <a:gd name="T48" fmla="*/ 382 w 396"/>
                <a:gd name="T49" fmla="*/ 7 h 67"/>
                <a:gd name="T50" fmla="*/ 387 w 396"/>
                <a:gd name="T51" fmla="*/ 11 h 67"/>
                <a:gd name="T52" fmla="*/ 391 w 396"/>
                <a:gd name="T53" fmla="*/ 15 h 67"/>
                <a:gd name="T54" fmla="*/ 394 w 396"/>
                <a:gd name="T55" fmla="*/ 21 h 67"/>
                <a:gd name="T56" fmla="*/ 396 w 396"/>
                <a:gd name="T57" fmla="*/ 27 h 67"/>
                <a:gd name="T58" fmla="*/ 396 w 396"/>
                <a:gd name="T59" fmla="*/ 34 h 67"/>
                <a:gd name="T60" fmla="*/ 396 w 396"/>
                <a:gd name="T61" fmla="*/ 34 h 67"/>
                <a:gd name="T62" fmla="*/ 396 w 396"/>
                <a:gd name="T63" fmla="*/ 41 h 67"/>
                <a:gd name="T64" fmla="*/ 394 w 396"/>
                <a:gd name="T65" fmla="*/ 47 h 67"/>
                <a:gd name="T66" fmla="*/ 391 w 396"/>
                <a:gd name="T67" fmla="*/ 52 h 67"/>
                <a:gd name="T68" fmla="*/ 387 w 396"/>
                <a:gd name="T69" fmla="*/ 57 h 67"/>
                <a:gd name="T70" fmla="*/ 382 w 396"/>
                <a:gd name="T71" fmla="*/ 61 h 67"/>
                <a:gd name="T72" fmla="*/ 376 w 396"/>
                <a:gd name="T73" fmla="*/ 65 h 67"/>
                <a:gd name="T74" fmla="*/ 370 w 396"/>
                <a:gd name="T75" fmla="*/ 67 h 67"/>
                <a:gd name="T76" fmla="*/ 363 w 396"/>
                <a:gd name="T77" fmla="*/ 67 h 67"/>
                <a:gd name="T78" fmla="*/ 363 w 396"/>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7">
                  <a:moveTo>
                    <a:pt x="363" y="67"/>
                  </a:moveTo>
                  <a:lnTo>
                    <a:pt x="33" y="67"/>
                  </a:lnTo>
                  <a:lnTo>
                    <a:pt x="33" y="67"/>
                  </a:lnTo>
                  <a:lnTo>
                    <a:pt x="26" y="67"/>
                  </a:lnTo>
                  <a:lnTo>
                    <a:pt x="19" y="65"/>
                  </a:lnTo>
                  <a:lnTo>
                    <a:pt x="14" y="61"/>
                  </a:lnTo>
                  <a:lnTo>
                    <a:pt x="9" y="57"/>
                  </a:lnTo>
                  <a:lnTo>
                    <a:pt x="5" y="52"/>
                  </a:lnTo>
                  <a:lnTo>
                    <a:pt x="2" y="47"/>
                  </a:lnTo>
                  <a:lnTo>
                    <a:pt x="0" y="41"/>
                  </a:lnTo>
                  <a:lnTo>
                    <a:pt x="0" y="34"/>
                  </a:lnTo>
                  <a:lnTo>
                    <a:pt x="0" y="34"/>
                  </a:lnTo>
                  <a:lnTo>
                    <a:pt x="0" y="27"/>
                  </a:lnTo>
                  <a:lnTo>
                    <a:pt x="2" y="21"/>
                  </a:lnTo>
                  <a:lnTo>
                    <a:pt x="5" y="15"/>
                  </a:lnTo>
                  <a:lnTo>
                    <a:pt x="9" y="11"/>
                  </a:lnTo>
                  <a:lnTo>
                    <a:pt x="14" y="7"/>
                  </a:lnTo>
                  <a:lnTo>
                    <a:pt x="19" y="3"/>
                  </a:lnTo>
                  <a:lnTo>
                    <a:pt x="26" y="1"/>
                  </a:lnTo>
                  <a:lnTo>
                    <a:pt x="33" y="0"/>
                  </a:lnTo>
                  <a:lnTo>
                    <a:pt x="363" y="0"/>
                  </a:lnTo>
                  <a:lnTo>
                    <a:pt x="363" y="0"/>
                  </a:lnTo>
                  <a:lnTo>
                    <a:pt x="370" y="1"/>
                  </a:lnTo>
                  <a:lnTo>
                    <a:pt x="376" y="3"/>
                  </a:lnTo>
                  <a:lnTo>
                    <a:pt x="382" y="7"/>
                  </a:lnTo>
                  <a:lnTo>
                    <a:pt x="387" y="11"/>
                  </a:lnTo>
                  <a:lnTo>
                    <a:pt x="391" y="15"/>
                  </a:lnTo>
                  <a:lnTo>
                    <a:pt x="394" y="21"/>
                  </a:lnTo>
                  <a:lnTo>
                    <a:pt x="396" y="27"/>
                  </a:lnTo>
                  <a:lnTo>
                    <a:pt x="396" y="34"/>
                  </a:lnTo>
                  <a:lnTo>
                    <a:pt x="396" y="34"/>
                  </a:lnTo>
                  <a:lnTo>
                    <a:pt x="396" y="41"/>
                  </a:lnTo>
                  <a:lnTo>
                    <a:pt x="394" y="47"/>
                  </a:lnTo>
                  <a:lnTo>
                    <a:pt x="391" y="52"/>
                  </a:lnTo>
                  <a:lnTo>
                    <a:pt x="387" y="57"/>
                  </a:lnTo>
                  <a:lnTo>
                    <a:pt x="382" y="61"/>
                  </a:lnTo>
                  <a:lnTo>
                    <a:pt x="376" y="65"/>
                  </a:lnTo>
                  <a:lnTo>
                    <a:pt x="370" y="67"/>
                  </a:lnTo>
                  <a:lnTo>
                    <a:pt x="363" y="67"/>
                  </a:lnTo>
                  <a:lnTo>
                    <a:pt x="36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50" name="Freeform 102">
              <a:extLst>
                <a:ext uri="{FF2B5EF4-FFF2-40B4-BE49-F238E27FC236}">
                  <a16:creationId xmlns:a16="http://schemas.microsoft.com/office/drawing/2014/main" id="{5B4FE006-54AC-D819-C35D-BFEF31913E7C}"/>
                </a:ext>
              </a:extLst>
            </p:cNvPr>
            <p:cNvSpPr>
              <a:spLocks/>
            </p:cNvSpPr>
            <p:nvPr/>
          </p:nvSpPr>
          <p:spPr bwMode="auto">
            <a:xfrm>
              <a:off x="9231313" y="2393950"/>
              <a:ext cx="58738" cy="14288"/>
            </a:xfrm>
            <a:custGeom>
              <a:avLst/>
              <a:gdLst>
                <a:gd name="T0" fmla="*/ 230 w 264"/>
                <a:gd name="T1" fmla="*/ 66 h 66"/>
                <a:gd name="T2" fmla="*/ 33 w 264"/>
                <a:gd name="T3" fmla="*/ 66 h 66"/>
                <a:gd name="T4" fmla="*/ 33 w 264"/>
                <a:gd name="T5" fmla="*/ 66 h 66"/>
                <a:gd name="T6" fmla="*/ 26 w 264"/>
                <a:gd name="T7" fmla="*/ 65 h 66"/>
                <a:gd name="T8" fmla="*/ 19 w 264"/>
                <a:gd name="T9" fmla="*/ 64 h 66"/>
                <a:gd name="T10" fmla="*/ 14 w 264"/>
                <a:gd name="T11" fmla="*/ 61 h 66"/>
                <a:gd name="T12" fmla="*/ 9 w 264"/>
                <a:gd name="T13" fmla="*/ 57 h 66"/>
                <a:gd name="T14" fmla="*/ 5 w 264"/>
                <a:gd name="T15" fmla="*/ 52 h 66"/>
                <a:gd name="T16" fmla="*/ 2 w 264"/>
                <a:gd name="T17" fmla="*/ 47 h 66"/>
                <a:gd name="T18" fmla="*/ 0 w 264"/>
                <a:gd name="T19" fmla="*/ 40 h 66"/>
                <a:gd name="T20" fmla="*/ 0 w 264"/>
                <a:gd name="T21" fmla="*/ 33 h 66"/>
                <a:gd name="T22" fmla="*/ 0 w 264"/>
                <a:gd name="T23" fmla="*/ 33 h 66"/>
                <a:gd name="T24" fmla="*/ 0 w 264"/>
                <a:gd name="T25" fmla="*/ 27 h 66"/>
                <a:gd name="T26" fmla="*/ 2 w 264"/>
                <a:gd name="T27" fmla="*/ 21 h 66"/>
                <a:gd name="T28" fmla="*/ 5 w 264"/>
                <a:gd name="T29" fmla="*/ 14 h 66"/>
                <a:gd name="T30" fmla="*/ 9 w 264"/>
                <a:gd name="T31" fmla="*/ 9 h 66"/>
                <a:gd name="T32" fmla="*/ 14 w 264"/>
                <a:gd name="T33" fmla="*/ 6 h 66"/>
                <a:gd name="T34" fmla="*/ 19 w 264"/>
                <a:gd name="T35" fmla="*/ 3 h 66"/>
                <a:gd name="T36" fmla="*/ 26 w 264"/>
                <a:gd name="T37" fmla="*/ 1 h 66"/>
                <a:gd name="T38" fmla="*/ 33 w 264"/>
                <a:gd name="T39" fmla="*/ 0 h 66"/>
                <a:gd name="T40" fmla="*/ 230 w 264"/>
                <a:gd name="T41" fmla="*/ 0 h 66"/>
                <a:gd name="T42" fmla="*/ 230 w 264"/>
                <a:gd name="T43" fmla="*/ 0 h 66"/>
                <a:gd name="T44" fmla="*/ 238 w 264"/>
                <a:gd name="T45" fmla="*/ 1 h 66"/>
                <a:gd name="T46" fmla="*/ 244 w 264"/>
                <a:gd name="T47" fmla="*/ 3 h 66"/>
                <a:gd name="T48" fmla="*/ 249 w 264"/>
                <a:gd name="T49" fmla="*/ 6 h 66"/>
                <a:gd name="T50" fmla="*/ 254 w 264"/>
                <a:gd name="T51" fmla="*/ 9 h 66"/>
                <a:gd name="T52" fmla="*/ 258 w 264"/>
                <a:gd name="T53" fmla="*/ 14 h 66"/>
                <a:gd name="T54" fmla="*/ 261 w 264"/>
                <a:gd name="T55" fmla="*/ 21 h 66"/>
                <a:gd name="T56" fmla="*/ 264 w 264"/>
                <a:gd name="T57" fmla="*/ 27 h 66"/>
                <a:gd name="T58" fmla="*/ 264 w 264"/>
                <a:gd name="T59" fmla="*/ 33 h 66"/>
                <a:gd name="T60" fmla="*/ 264 w 264"/>
                <a:gd name="T61" fmla="*/ 33 h 66"/>
                <a:gd name="T62" fmla="*/ 264 w 264"/>
                <a:gd name="T63" fmla="*/ 40 h 66"/>
                <a:gd name="T64" fmla="*/ 261 w 264"/>
                <a:gd name="T65" fmla="*/ 47 h 66"/>
                <a:gd name="T66" fmla="*/ 258 w 264"/>
                <a:gd name="T67" fmla="*/ 52 h 66"/>
                <a:gd name="T68" fmla="*/ 254 w 264"/>
                <a:gd name="T69" fmla="*/ 57 h 66"/>
                <a:gd name="T70" fmla="*/ 249 w 264"/>
                <a:gd name="T71" fmla="*/ 61 h 66"/>
                <a:gd name="T72" fmla="*/ 244 w 264"/>
                <a:gd name="T73" fmla="*/ 64 h 66"/>
                <a:gd name="T74" fmla="*/ 238 w 264"/>
                <a:gd name="T75" fmla="*/ 65 h 66"/>
                <a:gd name="T76" fmla="*/ 230 w 264"/>
                <a:gd name="T77" fmla="*/ 66 h 66"/>
                <a:gd name="T78" fmla="*/ 230 w 264"/>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4" h="66">
                  <a:moveTo>
                    <a:pt x="230" y="66"/>
                  </a:moveTo>
                  <a:lnTo>
                    <a:pt x="33" y="66"/>
                  </a:lnTo>
                  <a:lnTo>
                    <a:pt x="33" y="66"/>
                  </a:lnTo>
                  <a:lnTo>
                    <a:pt x="26" y="65"/>
                  </a:lnTo>
                  <a:lnTo>
                    <a:pt x="19" y="64"/>
                  </a:lnTo>
                  <a:lnTo>
                    <a:pt x="14" y="61"/>
                  </a:lnTo>
                  <a:lnTo>
                    <a:pt x="9" y="57"/>
                  </a:lnTo>
                  <a:lnTo>
                    <a:pt x="5" y="52"/>
                  </a:lnTo>
                  <a:lnTo>
                    <a:pt x="2" y="47"/>
                  </a:lnTo>
                  <a:lnTo>
                    <a:pt x="0" y="40"/>
                  </a:lnTo>
                  <a:lnTo>
                    <a:pt x="0" y="33"/>
                  </a:lnTo>
                  <a:lnTo>
                    <a:pt x="0" y="33"/>
                  </a:lnTo>
                  <a:lnTo>
                    <a:pt x="0" y="27"/>
                  </a:lnTo>
                  <a:lnTo>
                    <a:pt x="2" y="21"/>
                  </a:lnTo>
                  <a:lnTo>
                    <a:pt x="5" y="14"/>
                  </a:lnTo>
                  <a:lnTo>
                    <a:pt x="9" y="9"/>
                  </a:lnTo>
                  <a:lnTo>
                    <a:pt x="14" y="6"/>
                  </a:lnTo>
                  <a:lnTo>
                    <a:pt x="19" y="3"/>
                  </a:lnTo>
                  <a:lnTo>
                    <a:pt x="26" y="1"/>
                  </a:lnTo>
                  <a:lnTo>
                    <a:pt x="33" y="0"/>
                  </a:lnTo>
                  <a:lnTo>
                    <a:pt x="230" y="0"/>
                  </a:lnTo>
                  <a:lnTo>
                    <a:pt x="230" y="0"/>
                  </a:lnTo>
                  <a:lnTo>
                    <a:pt x="238" y="1"/>
                  </a:lnTo>
                  <a:lnTo>
                    <a:pt x="244" y="3"/>
                  </a:lnTo>
                  <a:lnTo>
                    <a:pt x="249" y="6"/>
                  </a:lnTo>
                  <a:lnTo>
                    <a:pt x="254" y="9"/>
                  </a:lnTo>
                  <a:lnTo>
                    <a:pt x="258" y="14"/>
                  </a:lnTo>
                  <a:lnTo>
                    <a:pt x="261" y="21"/>
                  </a:lnTo>
                  <a:lnTo>
                    <a:pt x="264" y="27"/>
                  </a:lnTo>
                  <a:lnTo>
                    <a:pt x="264" y="33"/>
                  </a:lnTo>
                  <a:lnTo>
                    <a:pt x="264" y="33"/>
                  </a:lnTo>
                  <a:lnTo>
                    <a:pt x="264" y="40"/>
                  </a:lnTo>
                  <a:lnTo>
                    <a:pt x="261" y="47"/>
                  </a:lnTo>
                  <a:lnTo>
                    <a:pt x="258" y="52"/>
                  </a:lnTo>
                  <a:lnTo>
                    <a:pt x="254" y="57"/>
                  </a:lnTo>
                  <a:lnTo>
                    <a:pt x="249" y="61"/>
                  </a:lnTo>
                  <a:lnTo>
                    <a:pt x="244" y="64"/>
                  </a:lnTo>
                  <a:lnTo>
                    <a:pt x="238" y="65"/>
                  </a:lnTo>
                  <a:lnTo>
                    <a:pt x="230" y="66"/>
                  </a:lnTo>
                  <a:lnTo>
                    <a:pt x="23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151" name="Group 150">
            <a:extLst>
              <a:ext uri="{FF2B5EF4-FFF2-40B4-BE49-F238E27FC236}">
                <a16:creationId xmlns:a16="http://schemas.microsoft.com/office/drawing/2014/main" id="{A3EC7DB1-A7B0-998D-B346-42C8A2E377E9}"/>
              </a:ext>
            </a:extLst>
          </p:cNvPr>
          <p:cNvGrpSpPr/>
          <p:nvPr/>
        </p:nvGrpSpPr>
        <p:grpSpPr>
          <a:xfrm>
            <a:off x="7422890" y="4650978"/>
            <a:ext cx="443728" cy="518498"/>
            <a:chOff x="1978819" y="2796777"/>
            <a:chExt cx="360363" cy="421086"/>
          </a:xfrm>
          <a:solidFill>
            <a:schemeClr val="bg1"/>
          </a:solidFill>
        </p:grpSpPr>
        <p:grpSp>
          <p:nvGrpSpPr>
            <p:cNvPr id="152" name="Group 151">
              <a:extLst>
                <a:ext uri="{FF2B5EF4-FFF2-40B4-BE49-F238E27FC236}">
                  <a16:creationId xmlns:a16="http://schemas.microsoft.com/office/drawing/2014/main" id="{2DE26EA6-A822-31B9-7992-223425046396}"/>
                </a:ext>
              </a:extLst>
            </p:cNvPr>
            <p:cNvGrpSpPr/>
            <p:nvPr/>
          </p:nvGrpSpPr>
          <p:grpSpPr>
            <a:xfrm>
              <a:off x="1978819" y="3070225"/>
              <a:ext cx="360363" cy="147638"/>
              <a:chOff x="1978819" y="3070225"/>
              <a:chExt cx="360363" cy="147638"/>
            </a:xfrm>
            <a:grpFill/>
          </p:grpSpPr>
          <p:sp>
            <p:nvSpPr>
              <p:cNvPr id="156" name="Freeform 112">
                <a:extLst>
                  <a:ext uri="{FF2B5EF4-FFF2-40B4-BE49-F238E27FC236}">
                    <a16:creationId xmlns:a16="http://schemas.microsoft.com/office/drawing/2014/main" id="{E12909F5-1D7E-6B86-7C0C-79F2BEAE0A0A}"/>
                  </a:ext>
                </a:extLst>
              </p:cNvPr>
              <p:cNvSpPr>
                <a:spLocks noEditPoints="1"/>
              </p:cNvSpPr>
              <p:nvPr/>
            </p:nvSpPr>
            <p:spPr bwMode="auto">
              <a:xfrm flipH="1">
                <a:off x="1978819" y="3070225"/>
                <a:ext cx="76200" cy="134938"/>
              </a:xfrm>
              <a:custGeom>
                <a:avLst/>
                <a:gdLst>
                  <a:gd name="T0" fmla="*/ 298 w 331"/>
                  <a:gd name="T1" fmla="*/ 595 h 595"/>
                  <a:gd name="T2" fmla="*/ 33 w 331"/>
                  <a:gd name="T3" fmla="*/ 595 h 595"/>
                  <a:gd name="T4" fmla="*/ 33 w 331"/>
                  <a:gd name="T5" fmla="*/ 595 h 595"/>
                  <a:gd name="T6" fmla="*/ 27 w 331"/>
                  <a:gd name="T7" fmla="*/ 594 h 595"/>
                  <a:gd name="T8" fmla="*/ 21 w 331"/>
                  <a:gd name="T9" fmla="*/ 593 h 595"/>
                  <a:gd name="T10" fmla="*/ 15 w 331"/>
                  <a:gd name="T11" fmla="*/ 590 h 595"/>
                  <a:gd name="T12" fmla="*/ 10 w 331"/>
                  <a:gd name="T13" fmla="*/ 586 h 595"/>
                  <a:gd name="T14" fmla="*/ 6 w 331"/>
                  <a:gd name="T15" fmla="*/ 581 h 595"/>
                  <a:gd name="T16" fmla="*/ 3 w 331"/>
                  <a:gd name="T17" fmla="*/ 576 h 595"/>
                  <a:gd name="T18" fmla="*/ 1 w 331"/>
                  <a:gd name="T19" fmla="*/ 569 h 595"/>
                  <a:gd name="T20" fmla="*/ 0 w 331"/>
                  <a:gd name="T21" fmla="*/ 562 h 595"/>
                  <a:gd name="T22" fmla="*/ 0 w 331"/>
                  <a:gd name="T23" fmla="*/ 33 h 595"/>
                  <a:gd name="T24" fmla="*/ 0 w 331"/>
                  <a:gd name="T25" fmla="*/ 33 h 595"/>
                  <a:gd name="T26" fmla="*/ 1 w 331"/>
                  <a:gd name="T27" fmla="*/ 26 h 595"/>
                  <a:gd name="T28" fmla="*/ 3 w 331"/>
                  <a:gd name="T29" fmla="*/ 20 h 595"/>
                  <a:gd name="T30" fmla="*/ 6 w 331"/>
                  <a:gd name="T31" fmla="*/ 15 h 595"/>
                  <a:gd name="T32" fmla="*/ 10 w 331"/>
                  <a:gd name="T33" fmla="*/ 9 h 595"/>
                  <a:gd name="T34" fmla="*/ 15 w 331"/>
                  <a:gd name="T35" fmla="*/ 5 h 595"/>
                  <a:gd name="T36" fmla="*/ 21 w 331"/>
                  <a:gd name="T37" fmla="*/ 2 h 595"/>
                  <a:gd name="T38" fmla="*/ 27 w 331"/>
                  <a:gd name="T39" fmla="*/ 1 h 595"/>
                  <a:gd name="T40" fmla="*/ 33 w 331"/>
                  <a:gd name="T41" fmla="*/ 0 h 595"/>
                  <a:gd name="T42" fmla="*/ 298 w 331"/>
                  <a:gd name="T43" fmla="*/ 0 h 595"/>
                  <a:gd name="T44" fmla="*/ 298 w 331"/>
                  <a:gd name="T45" fmla="*/ 0 h 595"/>
                  <a:gd name="T46" fmla="*/ 305 w 331"/>
                  <a:gd name="T47" fmla="*/ 1 h 595"/>
                  <a:gd name="T48" fmla="*/ 311 w 331"/>
                  <a:gd name="T49" fmla="*/ 2 h 595"/>
                  <a:gd name="T50" fmla="*/ 316 w 331"/>
                  <a:gd name="T51" fmla="*/ 5 h 595"/>
                  <a:gd name="T52" fmla="*/ 321 w 331"/>
                  <a:gd name="T53" fmla="*/ 9 h 595"/>
                  <a:gd name="T54" fmla="*/ 325 w 331"/>
                  <a:gd name="T55" fmla="*/ 15 h 595"/>
                  <a:gd name="T56" fmla="*/ 328 w 331"/>
                  <a:gd name="T57" fmla="*/ 20 h 595"/>
                  <a:gd name="T58" fmla="*/ 330 w 331"/>
                  <a:gd name="T59" fmla="*/ 26 h 595"/>
                  <a:gd name="T60" fmla="*/ 331 w 331"/>
                  <a:gd name="T61" fmla="*/ 33 h 595"/>
                  <a:gd name="T62" fmla="*/ 331 w 331"/>
                  <a:gd name="T63" fmla="*/ 562 h 595"/>
                  <a:gd name="T64" fmla="*/ 331 w 331"/>
                  <a:gd name="T65" fmla="*/ 562 h 595"/>
                  <a:gd name="T66" fmla="*/ 330 w 331"/>
                  <a:gd name="T67" fmla="*/ 569 h 595"/>
                  <a:gd name="T68" fmla="*/ 328 w 331"/>
                  <a:gd name="T69" fmla="*/ 576 h 595"/>
                  <a:gd name="T70" fmla="*/ 325 w 331"/>
                  <a:gd name="T71" fmla="*/ 581 h 595"/>
                  <a:gd name="T72" fmla="*/ 321 w 331"/>
                  <a:gd name="T73" fmla="*/ 586 h 595"/>
                  <a:gd name="T74" fmla="*/ 316 w 331"/>
                  <a:gd name="T75" fmla="*/ 590 h 595"/>
                  <a:gd name="T76" fmla="*/ 311 w 331"/>
                  <a:gd name="T77" fmla="*/ 593 h 595"/>
                  <a:gd name="T78" fmla="*/ 305 w 331"/>
                  <a:gd name="T79" fmla="*/ 594 h 595"/>
                  <a:gd name="T80" fmla="*/ 298 w 331"/>
                  <a:gd name="T81" fmla="*/ 595 h 595"/>
                  <a:gd name="T82" fmla="*/ 298 w 331"/>
                  <a:gd name="T83" fmla="*/ 595 h 595"/>
                  <a:gd name="T84" fmla="*/ 67 w 331"/>
                  <a:gd name="T85" fmla="*/ 529 h 595"/>
                  <a:gd name="T86" fmla="*/ 265 w 331"/>
                  <a:gd name="T87" fmla="*/ 529 h 595"/>
                  <a:gd name="T88" fmla="*/ 265 w 331"/>
                  <a:gd name="T89" fmla="*/ 66 h 595"/>
                  <a:gd name="T90" fmla="*/ 67 w 331"/>
                  <a:gd name="T91" fmla="*/ 66 h 595"/>
                  <a:gd name="T92" fmla="*/ 67 w 331"/>
                  <a:gd name="T93" fmla="*/ 529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1" h="595">
                    <a:moveTo>
                      <a:pt x="298" y="595"/>
                    </a:moveTo>
                    <a:lnTo>
                      <a:pt x="33" y="595"/>
                    </a:lnTo>
                    <a:lnTo>
                      <a:pt x="33" y="595"/>
                    </a:lnTo>
                    <a:lnTo>
                      <a:pt x="27" y="594"/>
                    </a:lnTo>
                    <a:lnTo>
                      <a:pt x="21" y="593"/>
                    </a:lnTo>
                    <a:lnTo>
                      <a:pt x="15" y="590"/>
                    </a:lnTo>
                    <a:lnTo>
                      <a:pt x="10" y="586"/>
                    </a:lnTo>
                    <a:lnTo>
                      <a:pt x="6" y="581"/>
                    </a:lnTo>
                    <a:lnTo>
                      <a:pt x="3" y="576"/>
                    </a:lnTo>
                    <a:lnTo>
                      <a:pt x="1" y="569"/>
                    </a:lnTo>
                    <a:lnTo>
                      <a:pt x="0" y="562"/>
                    </a:lnTo>
                    <a:lnTo>
                      <a:pt x="0" y="33"/>
                    </a:lnTo>
                    <a:lnTo>
                      <a:pt x="0" y="33"/>
                    </a:lnTo>
                    <a:lnTo>
                      <a:pt x="1" y="26"/>
                    </a:lnTo>
                    <a:lnTo>
                      <a:pt x="3" y="20"/>
                    </a:lnTo>
                    <a:lnTo>
                      <a:pt x="6" y="15"/>
                    </a:lnTo>
                    <a:lnTo>
                      <a:pt x="10" y="9"/>
                    </a:lnTo>
                    <a:lnTo>
                      <a:pt x="15" y="5"/>
                    </a:lnTo>
                    <a:lnTo>
                      <a:pt x="21" y="2"/>
                    </a:lnTo>
                    <a:lnTo>
                      <a:pt x="27" y="1"/>
                    </a:lnTo>
                    <a:lnTo>
                      <a:pt x="33" y="0"/>
                    </a:lnTo>
                    <a:lnTo>
                      <a:pt x="298" y="0"/>
                    </a:lnTo>
                    <a:lnTo>
                      <a:pt x="298" y="0"/>
                    </a:lnTo>
                    <a:lnTo>
                      <a:pt x="305" y="1"/>
                    </a:lnTo>
                    <a:lnTo>
                      <a:pt x="311" y="2"/>
                    </a:lnTo>
                    <a:lnTo>
                      <a:pt x="316" y="5"/>
                    </a:lnTo>
                    <a:lnTo>
                      <a:pt x="321" y="9"/>
                    </a:lnTo>
                    <a:lnTo>
                      <a:pt x="325" y="15"/>
                    </a:lnTo>
                    <a:lnTo>
                      <a:pt x="328" y="20"/>
                    </a:lnTo>
                    <a:lnTo>
                      <a:pt x="330" y="26"/>
                    </a:lnTo>
                    <a:lnTo>
                      <a:pt x="331" y="33"/>
                    </a:lnTo>
                    <a:lnTo>
                      <a:pt x="331" y="562"/>
                    </a:lnTo>
                    <a:lnTo>
                      <a:pt x="331" y="562"/>
                    </a:lnTo>
                    <a:lnTo>
                      <a:pt x="330" y="569"/>
                    </a:lnTo>
                    <a:lnTo>
                      <a:pt x="328" y="576"/>
                    </a:lnTo>
                    <a:lnTo>
                      <a:pt x="325" y="581"/>
                    </a:lnTo>
                    <a:lnTo>
                      <a:pt x="321" y="586"/>
                    </a:lnTo>
                    <a:lnTo>
                      <a:pt x="316" y="590"/>
                    </a:lnTo>
                    <a:lnTo>
                      <a:pt x="311" y="593"/>
                    </a:lnTo>
                    <a:lnTo>
                      <a:pt x="305" y="594"/>
                    </a:lnTo>
                    <a:lnTo>
                      <a:pt x="298" y="595"/>
                    </a:lnTo>
                    <a:lnTo>
                      <a:pt x="298" y="595"/>
                    </a:lnTo>
                    <a:close/>
                    <a:moveTo>
                      <a:pt x="67" y="529"/>
                    </a:moveTo>
                    <a:lnTo>
                      <a:pt x="265" y="529"/>
                    </a:lnTo>
                    <a:lnTo>
                      <a:pt x="265" y="66"/>
                    </a:lnTo>
                    <a:lnTo>
                      <a:pt x="67" y="66"/>
                    </a:lnTo>
                    <a:lnTo>
                      <a:pt x="67" y="5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57" name="Freeform 113">
                <a:extLst>
                  <a:ext uri="{FF2B5EF4-FFF2-40B4-BE49-F238E27FC236}">
                    <a16:creationId xmlns:a16="http://schemas.microsoft.com/office/drawing/2014/main" id="{F2DED2F0-2FA7-184E-1376-4F47393DA756}"/>
                  </a:ext>
                </a:extLst>
              </p:cNvPr>
              <p:cNvSpPr>
                <a:spLocks/>
              </p:cNvSpPr>
              <p:nvPr/>
            </p:nvSpPr>
            <p:spPr bwMode="auto">
              <a:xfrm flipH="1">
                <a:off x="2039144" y="3113088"/>
                <a:ext cx="300038" cy="104775"/>
              </a:xfrm>
              <a:custGeom>
                <a:avLst/>
                <a:gdLst>
                  <a:gd name="T0" fmla="*/ 729 w 1323"/>
                  <a:gd name="T1" fmla="*/ 462 h 462"/>
                  <a:gd name="T2" fmla="*/ 669 w 1323"/>
                  <a:gd name="T3" fmla="*/ 453 h 462"/>
                  <a:gd name="T4" fmla="*/ 605 w 1323"/>
                  <a:gd name="T5" fmla="*/ 433 h 462"/>
                  <a:gd name="T6" fmla="*/ 533 w 1323"/>
                  <a:gd name="T7" fmla="*/ 402 h 462"/>
                  <a:gd name="T8" fmla="*/ 343 w 1323"/>
                  <a:gd name="T9" fmla="*/ 305 h 462"/>
                  <a:gd name="T10" fmla="*/ 114 w 1323"/>
                  <a:gd name="T11" fmla="*/ 185 h 462"/>
                  <a:gd name="T12" fmla="*/ 11 w 1323"/>
                  <a:gd name="T13" fmla="*/ 132 h 462"/>
                  <a:gd name="T14" fmla="*/ 0 w 1323"/>
                  <a:gd name="T15" fmla="*/ 113 h 462"/>
                  <a:gd name="T16" fmla="*/ 1 w 1323"/>
                  <a:gd name="T17" fmla="*/ 97 h 462"/>
                  <a:gd name="T18" fmla="*/ 9 w 1323"/>
                  <a:gd name="T19" fmla="*/ 84 h 462"/>
                  <a:gd name="T20" fmla="*/ 53 w 1323"/>
                  <a:gd name="T21" fmla="*/ 45 h 462"/>
                  <a:gd name="T22" fmla="*/ 94 w 1323"/>
                  <a:gd name="T23" fmla="*/ 19 h 462"/>
                  <a:gd name="T24" fmla="*/ 136 w 1323"/>
                  <a:gd name="T25" fmla="*/ 4 h 462"/>
                  <a:gd name="T26" fmla="*/ 179 w 1323"/>
                  <a:gd name="T27" fmla="*/ 0 h 462"/>
                  <a:gd name="T28" fmla="*/ 225 w 1323"/>
                  <a:gd name="T29" fmla="*/ 5 h 462"/>
                  <a:gd name="T30" fmla="*/ 527 w 1323"/>
                  <a:gd name="T31" fmla="*/ 100 h 462"/>
                  <a:gd name="T32" fmla="*/ 542 w 1323"/>
                  <a:gd name="T33" fmla="*/ 110 h 462"/>
                  <a:gd name="T34" fmla="*/ 550 w 1323"/>
                  <a:gd name="T35" fmla="*/ 128 h 462"/>
                  <a:gd name="T36" fmla="*/ 548 w 1323"/>
                  <a:gd name="T37" fmla="*/ 142 h 462"/>
                  <a:gd name="T38" fmla="*/ 537 w 1323"/>
                  <a:gd name="T39" fmla="*/ 157 h 462"/>
                  <a:gd name="T40" fmla="*/ 520 w 1323"/>
                  <a:gd name="T41" fmla="*/ 164 h 462"/>
                  <a:gd name="T42" fmla="*/ 221 w 1323"/>
                  <a:gd name="T43" fmla="*/ 72 h 462"/>
                  <a:gd name="T44" fmla="*/ 189 w 1323"/>
                  <a:gd name="T45" fmla="*/ 66 h 462"/>
                  <a:gd name="T46" fmla="*/ 143 w 1323"/>
                  <a:gd name="T47" fmla="*/ 70 h 462"/>
                  <a:gd name="T48" fmla="*/ 91 w 1323"/>
                  <a:gd name="T49" fmla="*/ 99 h 462"/>
                  <a:gd name="T50" fmla="*/ 247 w 1323"/>
                  <a:gd name="T51" fmla="*/ 180 h 462"/>
                  <a:gd name="T52" fmla="*/ 491 w 1323"/>
                  <a:gd name="T53" fmla="*/ 308 h 462"/>
                  <a:gd name="T54" fmla="*/ 621 w 1323"/>
                  <a:gd name="T55" fmla="*/ 368 h 462"/>
                  <a:gd name="T56" fmla="*/ 675 w 1323"/>
                  <a:gd name="T57" fmla="*/ 385 h 462"/>
                  <a:gd name="T58" fmla="*/ 725 w 1323"/>
                  <a:gd name="T59" fmla="*/ 394 h 462"/>
                  <a:gd name="T60" fmla="*/ 776 w 1323"/>
                  <a:gd name="T61" fmla="*/ 394 h 462"/>
                  <a:gd name="T62" fmla="*/ 831 w 1323"/>
                  <a:gd name="T63" fmla="*/ 386 h 462"/>
                  <a:gd name="T64" fmla="*/ 966 w 1323"/>
                  <a:gd name="T65" fmla="*/ 349 h 462"/>
                  <a:gd name="T66" fmla="*/ 1176 w 1323"/>
                  <a:gd name="T67" fmla="*/ 276 h 462"/>
                  <a:gd name="T68" fmla="*/ 1285 w 1323"/>
                  <a:gd name="T69" fmla="*/ 240 h 462"/>
                  <a:gd name="T70" fmla="*/ 1304 w 1323"/>
                  <a:gd name="T71" fmla="*/ 243 h 462"/>
                  <a:gd name="T72" fmla="*/ 1318 w 1323"/>
                  <a:gd name="T73" fmla="*/ 255 h 462"/>
                  <a:gd name="T74" fmla="*/ 1323 w 1323"/>
                  <a:gd name="T75" fmla="*/ 268 h 462"/>
                  <a:gd name="T76" fmla="*/ 1319 w 1323"/>
                  <a:gd name="T77" fmla="*/ 288 h 462"/>
                  <a:gd name="T78" fmla="*/ 1306 w 1323"/>
                  <a:gd name="T79" fmla="*/ 301 h 462"/>
                  <a:gd name="T80" fmla="*/ 1196 w 1323"/>
                  <a:gd name="T81" fmla="*/ 338 h 462"/>
                  <a:gd name="T82" fmla="*/ 990 w 1323"/>
                  <a:gd name="T83" fmla="*/ 410 h 462"/>
                  <a:gd name="T84" fmla="*/ 855 w 1323"/>
                  <a:gd name="T85" fmla="*/ 449 h 462"/>
                  <a:gd name="T86" fmla="*/ 782 w 1323"/>
                  <a:gd name="T87" fmla="*/ 461 h 462"/>
                  <a:gd name="T88" fmla="*/ 749 w 1323"/>
                  <a:gd name="T89" fmla="*/ 46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3" h="462">
                    <a:moveTo>
                      <a:pt x="749" y="462"/>
                    </a:moveTo>
                    <a:lnTo>
                      <a:pt x="749" y="462"/>
                    </a:lnTo>
                    <a:lnTo>
                      <a:pt x="729" y="462"/>
                    </a:lnTo>
                    <a:lnTo>
                      <a:pt x="709" y="460"/>
                    </a:lnTo>
                    <a:lnTo>
                      <a:pt x="689" y="457"/>
                    </a:lnTo>
                    <a:lnTo>
                      <a:pt x="669" y="453"/>
                    </a:lnTo>
                    <a:lnTo>
                      <a:pt x="648" y="448"/>
                    </a:lnTo>
                    <a:lnTo>
                      <a:pt x="627" y="442"/>
                    </a:lnTo>
                    <a:lnTo>
                      <a:pt x="605" y="433"/>
                    </a:lnTo>
                    <a:lnTo>
                      <a:pt x="583" y="424"/>
                    </a:lnTo>
                    <a:lnTo>
                      <a:pt x="558" y="415"/>
                    </a:lnTo>
                    <a:lnTo>
                      <a:pt x="533" y="402"/>
                    </a:lnTo>
                    <a:lnTo>
                      <a:pt x="477" y="376"/>
                    </a:lnTo>
                    <a:lnTo>
                      <a:pt x="415" y="343"/>
                    </a:lnTo>
                    <a:lnTo>
                      <a:pt x="343" y="305"/>
                    </a:lnTo>
                    <a:lnTo>
                      <a:pt x="343" y="305"/>
                    </a:lnTo>
                    <a:lnTo>
                      <a:pt x="199" y="230"/>
                    </a:lnTo>
                    <a:lnTo>
                      <a:pt x="114" y="185"/>
                    </a:lnTo>
                    <a:lnTo>
                      <a:pt x="19" y="136"/>
                    </a:lnTo>
                    <a:lnTo>
                      <a:pt x="19" y="136"/>
                    </a:lnTo>
                    <a:lnTo>
                      <a:pt x="11" y="132"/>
                    </a:lnTo>
                    <a:lnTo>
                      <a:pt x="6" y="126"/>
                    </a:lnTo>
                    <a:lnTo>
                      <a:pt x="2" y="120"/>
                    </a:lnTo>
                    <a:lnTo>
                      <a:pt x="0" y="113"/>
                    </a:lnTo>
                    <a:lnTo>
                      <a:pt x="0" y="113"/>
                    </a:lnTo>
                    <a:lnTo>
                      <a:pt x="0" y="104"/>
                    </a:lnTo>
                    <a:lnTo>
                      <a:pt x="1" y="97"/>
                    </a:lnTo>
                    <a:lnTo>
                      <a:pt x="5" y="90"/>
                    </a:lnTo>
                    <a:lnTo>
                      <a:pt x="9" y="84"/>
                    </a:lnTo>
                    <a:lnTo>
                      <a:pt x="9" y="84"/>
                    </a:lnTo>
                    <a:lnTo>
                      <a:pt x="24" y="70"/>
                    </a:lnTo>
                    <a:lnTo>
                      <a:pt x="38" y="57"/>
                    </a:lnTo>
                    <a:lnTo>
                      <a:pt x="53" y="45"/>
                    </a:lnTo>
                    <a:lnTo>
                      <a:pt x="66" y="36"/>
                    </a:lnTo>
                    <a:lnTo>
                      <a:pt x="80" y="27"/>
                    </a:lnTo>
                    <a:lnTo>
                      <a:pt x="94" y="19"/>
                    </a:lnTo>
                    <a:lnTo>
                      <a:pt x="108" y="13"/>
                    </a:lnTo>
                    <a:lnTo>
                      <a:pt x="122" y="8"/>
                    </a:lnTo>
                    <a:lnTo>
                      <a:pt x="136" y="4"/>
                    </a:lnTo>
                    <a:lnTo>
                      <a:pt x="150" y="1"/>
                    </a:lnTo>
                    <a:lnTo>
                      <a:pt x="165" y="0"/>
                    </a:lnTo>
                    <a:lnTo>
                      <a:pt x="179" y="0"/>
                    </a:lnTo>
                    <a:lnTo>
                      <a:pt x="194" y="0"/>
                    </a:lnTo>
                    <a:lnTo>
                      <a:pt x="209" y="2"/>
                    </a:lnTo>
                    <a:lnTo>
                      <a:pt x="225" y="5"/>
                    </a:lnTo>
                    <a:lnTo>
                      <a:pt x="240" y="9"/>
                    </a:lnTo>
                    <a:lnTo>
                      <a:pt x="527" y="100"/>
                    </a:lnTo>
                    <a:lnTo>
                      <a:pt x="527" y="100"/>
                    </a:lnTo>
                    <a:lnTo>
                      <a:pt x="533" y="102"/>
                    </a:lnTo>
                    <a:lnTo>
                      <a:pt x="538" y="106"/>
                    </a:lnTo>
                    <a:lnTo>
                      <a:pt x="542" y="110"/>
                    </a:lnTo>
                    <a:lnTo>
                      <a:pt x="546" y="116"/>
                    </a:lnTo>
                    <a:lnTo>
                      <a:pt x="548" y="122"/>
                    </a:lnTo>
                    <a:lnTo>
                      <a:pt x="550" y="128"/>
                    </a:lnTo>
                    <a:lnTo>
                      <a:pt x="550" y="134"/>
                    </a:lnTo>
                    <a:lnTo>
                      <a:pt x="548" y="142"/>
                    </a:lnTo>
                    <a:lnTo>
                      <a:pt x="548" y="142"/>
                    </a:lnTo>
                    <a:lnTo>
                      <a:pt x="545" y="148"/>
                    </a:lnTo>
                    <a:lnTo>
                      <a:pt x="542" y="153"/>
                    </a:lnTo>
                    <a:lnTo>
                      <a:pt x="537" y="157"/>
                    </a:lnTo>
                    <a:lnTo>
                      <a:pt x="532" y="160"/>
                    </a:lnTo>
                    <a:lnTo>
                      <a:pt x="527" y="163"/>
                    </a:lnTo>
                    <a:lnTo>
                      <a:pt x="520" y="164"/>
                    </a:lnTo>
                    <a:lnTo>
                      <a:pt x="513" y="164"/>
                    </a:lnTo>
                    <a:lnTo>
                      <a:pt x="507" y="162"/>
                    </a:lnTo>
                    <a:lnTo>
                      <a:pt x="221" y="72"/>
                    </a:lnTo>
                    <a:lnTo>
                      <a:pt x="221" y="72"/>
                    </a:lnTo>
                    <a:lnTo>
                      <a:pt x="206" y="68"/>
                    </a:lnTo>
                    <a:lnTo>
                      <a:pt x="189" y="66"/>
                    </a:lnTo>
                    <a:lnTo>
                      <a:pt x="175" y="65"/>
                    </a:lnTo>
                    <a:lnTo>
                      <a:pt x="158" y="67"/>
                    </a:lnTo>
                    <a:lnTo>
                      <a:pt x="143" y="70"/>
                    </a:lnTo>
                    <a:lnTo>
                      <a:pt x="126" y="77"/>
                    </a:lnTo>
                    <a:lnTo>
                      <a:pt x="110" y="87"/>
                    </a:lnTo>
                    <a:lnTo>
                      <a:pt x="91" y="99"/>
                    </a:lnTo>
                    <a:lnTo>
                      <a:pt x="91" y="99"/>
                    </a:lnTo>
                    <a:lnTo>
                      <a:pt x="173" y="142"/>
                    </a:lnTo>
                    <a:lnTo>
                      <a:pt x="247" y="180"/>
                    </a:lnTo>
                    <a:lnTo>
                      <a:pt x="374" y="246"/>
                    </a:lnTo>
                    <a:lnTo>
                      <a:pt x="374" y="246"/>
                    </a:lnTo>
                    <a:lnTo>
                      <a:pt x="491" y="308"/>
                    </a:lnTo>
                    <a:lnTo>
                      <a:pt x="538" y="332"/>
                    </a:lnTo>
                    <a:lnTo>
                      <a:pt x="582" y="352"/>
                    </a:lnTo>
                    <a:lnTo>
                      <a:pt x="621" y="368"/>
                    </a:lnTo>
                    <a:lnTo>
                      <a:pt x="640" y="374"/>
                    </a:lnTo>
                    <a:lnTo>
                      <a:pt x="657" y="381"/>
                    </a:lnTo>
                    <a:lnTo>
                      <a:pt x="675" y="385"/>
                    </a:lnTo>
                    <a:lnTo>
                      <a:pt x="692" y="389"/>
                    </a:lnTo>
                    <a:lnTo>
                      <a:pt x="709" y="392"/>
                    </a:lnTo>
                    <a:lnTo>
                      <a:pt x="725" y="394"/>
                    </a:lnTo>
                    <a:lnTo>
                      <a:pt x="742" y="394"/>
                    </a:lnTo>
                    <a:lnTo>
                      <a:pt x="759" y="395"/>
                    </a:lnTo>
                    <a:lnTo>
                      <a:pt x="776" y="394"/>
                    </a:lnTo>
                    <a:lnTo>
                      <a:pt x="794" y="392"/>
                    </a:lnTo>
                    <a:lnTo>
                      <a:pt x="811" y="390"/>
                    </a:lnTo>
                    <a:lnTo>
                      <a:pt x="831" y="386"/>
                    </a:lnTo>
                    <a:lnTo>
                      <a:pt x="871" y="377"/>
                    </a:lnTo>
                    <a:lnTo>
                      <a:pt x="916" y="364"/>
                    </a:lnTo>
                    <a:lnTo>
                      <a:pt x="966" y="349"/>
                    </a:lnTo>
                    <a:lnTo>
                      <a:pt x="1086" y="307"/>
                    </a:lnTo>
                    <a:lnTo>
                      <a:pt x="1086" y="307"/>
                    </a:lnTo>
                    <a:lnTo>
                      <a:pt x="1176" y="276"/>
                    </a:lnTo>
                    <a:lnTo>
                      <a:pt x="1279" y="241"/>
                    </a:lnTo>
                    <a:lnTo>
                      <a:pt x="1279" y="241"/>
                    </a:lnTo>
                    <a:lnTo>
                      <a:pt x="1285" y="240"/>
                    </a:lnTo>
                    <a:lnTo>
                      <a:pt x="1293" y="239"/>
                    </a:lnTo>
                    <a:lnTo>
                      <a:pt x="1299" y="241"/>
                    </a:lnTo>
                    <a:lnTo>
                      <a:pt x="1304" y="243"/>
                    </a:lnTo>
                    <a:lnTo>
                      <a:pt x="1310" y="246"/>
                    </a:lnTo>
                    <a:lnTo>
                      <a:pt x="1314" y="250"/>
                    </a:lnTo>
                    <a:lnTo>
                      <a:pt x="1318" y="255"/>
                    </a:lnTo>
                    <a:lnTo>
                      <a:pt x="1320" y="262"/>
                    </a:lnTo>
                    <a:lnTo>
                      <a:pt x="1320" y="262"/>
                    </a:lnTo>
                    <a:lnTo>
                      <a:pt x="1323" y="268"/>
                    </a:lnTo>
                    <a:lnTo>
                      <a:pt x="1323" y="275"/>
                    </a:lnTo>
                    <a:lnTo>
                      <a:pt x="1322" y="281"/>
                    </a:lnTo>
                    <a:lnTo>
                      <a:pt x="1319" y="288"/>
                    </a:lnTo>
                    <a:lnTo>
                      <a:pt x="1315" y="293"/>
                    </a:lnTo>
                    <a:lnTo>
                      <a:pt x="1311" y="297"/>
                    </a:lnTo>
                    <a:lnTo>
                      <a:pt x="1306" y="301"/>
                    </a:lnTo>
                    <a:lnTo>
                      <a:pt x="1300" y="304"/>
                    </a:lnTo>
                    <a:lnTo>
                      <a:pt x="1300" y="304"/>
                    </a:lnTo>
                    <a:lnTo>
                      <a:pt x="1196" y="338"/>
                    </a:lnTo>
                    <a:lnTo>
                      <a:pt x="1107" y="369"/>
                    </a:lnTo>
                    <a:lnTo>
                      <a:pt x="1107" y="369"/>
                    </a:lnTo>
                    <a:lnTo>
                      <a:pt x="990" y="410"/>
                    </a:lnTo>
                    <a:lnTo>
                      <a:pt x="941" y="425"/>
                    </a:lnTo>
                    <a:lnTo>
                      <a:pt x="896" y="439"/>
                    </a:lnTo>
                    <a:lnTo>
                      <a:pt x="855" y="449"/>
                    </a:lnTo>
                    <a:lnTo>
                      <a:pt x="818" y="456"/>
                    </a:lnTo>
                    <a:lnTo>
                      <a:pt x="800" y="459"/>
                    </a:lnTo>
                    <a:lnTo>
                      <a:pt x="782" y="461"/>
                    </a:lnTo>
                    <a:lnTo>
                      <a:pt x="766" y="462"/>
                    </a:lnTo>
                    <a:lnTo>
                      <a:pt x="749" y="462"/>
                    </a:lnTo>
                    <a:lnTo>
                      <a:pt x="749" y="4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58" name="Freeform 114">
                <a:extLst>
                  <a:ext uri="{FF2B5EF4-FFF2-40B4-BE49-F238E27FC236}">
                    <a16:creationId xmlns:a16="http://schemas.microsoft.com/office/drawing/2014/main" id="{8FB156B4-E4DD-303B-325B-B677F7D514D8}"/>
                  </a:ext>
                </a:extLst>
              </p:cNvPr>
              <p:cNvSpPr>
                <a:spLocks/>
              </p:cNvSpPr>
              <p:nvPr/>
            </p:nvSpPr>
            <p:spPr bwMode="auto">
              <a:xfrm flipH="1">
                <a:off x="2039144" y="3084513"/>
                <a:ext cx="192088" cy="74613"/>
              </a:xfrm>
              <a:custGeom>
                <a:avLst/>
                <a:gdLst>
                  <a:gd name="T0" fmla="*/ 83 w 844"/>
                  <a:gd name="T1" fmla="*/ 331 h 331"/>
                  <a:gd name="T2" fmla="*/ 57 w 844"/>
                  <a:gd name="T3" fmla="*/ 326 h 331"/>
                  <a:gd name="T4" fmla="*/ 35 w 844"/>
                  <a:gd name="T5" fmla="*/ 315 h 331"/>
                  <a:gd name="T6" fmla="*/ 19 w 844"/>
                  <a:gd name="T7" fmla="*/ 296 h 331"/>
                  <a:gd name="T8" fmla="*/ 6 w 844"/>
                  <a:gd name="T9" fmla="*/ 272 h 331"/>
                  <a:gd name="T10" fmla="*/ 1 w 844"/>
                  <a:gd name="T11" fmla="*/ 243 h 331"/>
                  <a:gd name="T12" fmla="*/ 1 w 844"/>
                  <a:gd name="T13" fmla="*/ 221 h 331"/>
                  <a:gd name="T14" fmla="*/ 6 w 844"/>
                  <a:gd name="T15" fmla="*/ 192 h 331"/>
                  <a:gd name="T16" fmla="*/ 19 w 844"/>
                  <a:gd name="T17" fmla="*/ 167 h 331"/>
                  <a:gd name="T18" fmla="*/ 35 w 844"/>
                  <a:gd name="T19" fmla="*/ 148 h 331"/>
                  <a:gd name="T20" fmla="*/ 57 w 844"/>
                  <a:gd name="T21" fmla="*/ 137 h 331"/>
                  <a:gd name="T22" fmla="*/ 83 w 844"/>
                  <a:gd name="T23" fmla="*/ 133 h 331"/>
                  <a:gd name="T24" fmla="*/ 348 w 844"/>
                  <a:gd name="T25" fmla="*/ 108 h 331"/>
                  <a:gd name="T26" fmla="*/ 395 w 844"/>
                  <a:gd name="T27" fmla="*/ 74 h 331"/>
                  <a:gd name="T28" fmla="*/ 457 w 844"/>
                  <a:gd name="T29" fmla="*/ 39 h 331"/>
                  <a:gd name="T30" fmla="*/ 510 w 844"/>
                  <a:gd name="T31" fmla="*/ 17 h 331"/>
                  <a:gd name="T32" fmla="*/ 569 w 844"/>
                  <a:gd name="T33" fmla="*/ 3 h 331"/>
                  <a:gd name="T34" fmla="*/ 810 w 844"/>
                  <a:gd name="T35" fmla="*/ 0 h 331"/>
                  <a:gd name="T36" fmla="*/ 823 w 844"/>
                  <a:gd name="T37" fmla="*/ 2 h 331"/>
                  <a:gd name="T38" fmla="*/ 837 w 844"/>
                  <a:gd name="T39" fmla="*/ 15 h 331"/>
                  <a:gd name="T40" fmla="*/ 844 w 844"/>
                  <a:gd name="T41" fmla="*/ 33 h 331"/>
                  <a:gd name="T42" fmla="*/ 840 w 844"/>
                  <a:gd name="T43" fmla="*/ 46 h 331"/>
                  <a:gd name="T44" fmla="*/ 829 w 844"/>
                  <a:gd name="T45" fmla="*/ 60 h 331"/>
                  <a:gd name="T46" fmla="*/ 810 w 844"/>
                  <a:gd name="T47" fmla="*/ 67 h 331"/>
                  <a:gd name="T48" fmla="*/ 594 w 844"/>
                  <a:gd name="T49" fmla="*/ 67 h 331"/>
                  <a:gd name="T50" fmla="*/ 543 w 844"/>
                  <a:gd name="T51" fmla="*/ 76 h 331"/>
                  <a:gd name="T52" fmla="*/ 498 w 844"/>
                  <a:gd name="T53" fmla="*/ 92 h 331"/>
                  <a:gd name="T54" fmla="*/ 431 w 844"/>
                  <a:gd name="T55" fmla="*/ 131 h 331"/>
                  <a:gd name="T56" fmla="*/ 387 w 844"/>
                  <a:gd name="T57" fmla="*/ 161 h 331"/>
                  <a:gd name="T58" fmla="*/ 339 w 844"/>
                  <a:gd name="T59" fmla="*/ 193 h 331"/>
                  <a:gd name="T60" fmla="*/ 315 w 844"/>
                  <a:gd name="T61" fmla="*/ 199 h 331"/>
                  <a:gd name="T62" fmla="*/ 79 w 844"/>
                  <a:gd name="T63" fmla="*/ 199 h 331"/>
                  <a:gd name="T64" fmla="*/ 71 w 844"/>
                  <a:gd name="T65" fmla="*/ 211 h 331"/>
                  <a:gd name="T66" fmla="*/ 66 w 844"/>
                  <a:gd name="T67" fmla="*/ 232 h 331"/>
                  <a:gd name="T68" fmla="*/ 68 w 844"/>
                  <a:gd name="T69" fmla="*/ 248 h 331"/>
                  <a:gd name="T70" fmla="*/ 76 w 844"/>
                  <a:gd name="T71" fmla="*/ 261 h 331"/>
                  <a:gd name="T72" fmla="*/ 447 w 844"/>
                  <a:gd name="T73" fmla="*/ 264 h 331"/>
                  <a:gd name="T74" fmla="*/ 460 w 844"/>
                  <a:gd name="T75" fmla="*/ 267 h 331"/>
                  <a:gd name="T76" fmla="*/ 474 w 844"/>
                  <a:gd name="T77" fmla="*/ 280 h 331"/>
                  <a:gd name="T78" fmla="*/ 479 w 844"/>
                  <a:gd name="T79" fmla="*/ 297 h 331"/>
                  <a:gd name="T80" fmla="*/ 477 w 844"/>
                  <a:gd name="T81" fmla="*/ 311 h 331"/>
                  <a:gd name="T82" fmla="*/ 465 w 844"/>
                  <a:gd name="T83" fmla="*/ 325 h 331"/>
                  <a:gd name="T84" fmla="*/ 447 w 844"/>
                  <a:gd name="T85"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4" h="331">
                    <a:moveTo>
                      <a:pt x="447" y="331"/>
                    </a:moveTo>
                    <a:lnTo>
                      <a:pt x="83" y="331"/>
                    </a:lnTo>
                    <a:lnTo>
                      <a:pt x="83" y="331"/>
                    </a:lnTo>
                    <a:lnTo>
                      <a:pt x="75" y="331"/>
                    </a:lnTo>
                    <a:lnTo>
                      <a:pt x="65" y="330"/>
                    </a:lnTo>
                    <a:lnTo>
                      <a:pt x="57" y="326"/>
                    </a:lnTo>
                    <a:lnTo>
                      <a:pt x="50" y="323"/>
                    </a:lnTo>
                    <a:lnTo>
                      <a:pt x="43" y="319"/>
                    </a:lnTo>
                    <a:lnTo>
                      <a:pt x="35" y="315"/>
                    </a:lnTo>
                    <a:lnTo>
                      <a:pt x="29" y="309"/>
                    </a:lnTo>
                    <a:lnTo>
                      <a:pt x="24" y="303"/>
                    </a:lnTo>
                    <a:lnTo>
                      <a:pt x="19" y="296"/>
                    </a:lnTo>
                    <a:lnTo>
                      <a:pt x="14" y="288"/>
                    </a:lnTo>
                    <a:lnTo>
                      <a:pt x="9" y="280"/>
                    </a:lnTo>
                    <a:lnTo>
                      <a:pt x="6" y="272"/>
                    </a:lnTo>
                    <a:lnTo>
                      <a:pt x="4" y="262"/>
                    </a:lnTo>
                    <a:lnTo>
                      <a:pt x="2" y="253"/>
                    </a:lnTo>
                    <a:lnTo>
                      <a:pt x="1" y="243"/>
                    </a:lnTo>
                    <a:lnTo>
                      <a:pt x="0" y="232"/>
                    </a:lnTo>
                    <a:lnTo>
                      <a:pt x="0" y="232"/>
                    </a:lnTo>
                    <a:lnTo>
                      <a:pt x="1" y="221"/>
                    </a:lnTo>
                    <a:lnTo>
                      <a:pt x="2" y="211"/>
                    </a:lnTo>
                    <a:lnTo>
                      <a:pt x="4" y="201"/>
                    </a:lnTo>
                    <a:lnTo>
                      <a:pt x="6" y="192"/>
                    </a:lnTo>
                    <a:lnTo>
                      <a:pt x="9" y="184"/>
                    </a:lnTo>
                    <a:lnTo>
                      <a:pt x="14" y="175"/>
                    </a:lnTo>
                    <a:lnTo>
                      <a:pt x="19" y="167"/>
                    </a:lnTo>
                    <a:lnTo>
                      <a:pt x="24" y="161"/>
                    </a:lnTo>
                    <a:lnTo>
                      <a:pt x="29" y="155"/>
                    </a:lnTo>
                    <a:lnTo>
                      <a:pt x="35" y="148"/>
                    </a:lnTo>
                    <a:lnTo>
                      <a:pt x="43" y="144"/>
                    </a:lnTo>
                    <a:lnTo>
                      <a:pt x="50" y="140"/>
                    </a:lnTo>
                    <a:lnTo>
                      <a:pt x="57" y="137"/>
                    </a:lnTo>
                    <a:lnTo>
                      <a:pt x="65" y="135"/>
                    </a:lnTo>
                    <a:lnTo>
                      <a:pt x="75" y="133"/>
                    </a:lnTo>
                    <a:lnTo>
                      <a:pt x="83" y="133"/>
                    </a:lnTo>
                    <a:lnTo>
                      <a:pt x="315" y="133"/>
                    </a:lnTo>
                    <a:lnTo>
                      <a:pt x="315" y="133"/>
                    </a:lnTo>
                    <a:lnTo>
                      <a:pt x="348" y="108"/>
                    </a:lnTo>
                    <a:lnTo>
                      <a:pt x="348" y="108"/>
                    </a:lnTo>
                    <a:lnTo>
                      <a:pt x="371" y="91"/>
                    </a:lnTo>
                    <a:lnTo>
                      <a:pt x="395" y="74"/>
                    </a:lnTo>
                    <a:lnTo>
                      <a:pt x="424" y="56"/>
                    </a:lnTo>
                    <a:lnTo>
                      <a:pt x="440" y="47"/>
                    </a:lnTo>
                    <a:lnTo>
                      <a:pt x="457" y="39"/>
                    </a:lnTo>
                    <a:lnTo>
                      <a:pt x="474" y="31"/>
                    </a:lnTo>
                    <a:lnTo>
                      <a:pt x="492" y="23"/>
                    </a:lnTo>
                    <a:lnTo>
                      <a:pt x="510" y="17"/>
                    </a:lnTo>
                    <a:lnTo>
                      <a:pt x="529" y="12"/>
                    </a:lnTo>
                    <a:lnTo>
                      <a:pt x="549" y="7"/>
                    </a:lnTo>
                    <a:lnTo>
                      <a:pt x="569" y="3"/>
                    </a:lnTo>
                    <a:lnTo>
                      <a:pt x="590" y="1"/>
                    </a:lnTo>
                    <a:lnTo>
                      <a:pt x="612" y="0"/>
                    </a:lnTo>
                    <a:lnTo>
                      <a:pt x="810" y="0"/>
                    </a:lnTo>
                    <a:lnTo>
                      <a:pt x="810" y="0"/>
                    </a:lnTo>
                    <a:lnTo>
                      <a:pt x="817" y="1"/>
                    </a:lnTo>
                    <a:lnTo>
                      <a:pt x="823" y="2"/>
                    </a:lnTo>
                    <a:lnTo>
                      <a:pt x="829" y="6"/>
                    </a:lnTo>
                    <a:lnTo>
                      <a:pt x="834" y="10"/>
                    </a:lnTo>
                    <a:lnTo>
                      <a:pt x="837" y="15"/>
                    </a:lnTo>
                    <a:lnTo>
                      <a:pt x="840" y="20"/>
                    </a:lnTo>
                    <a:lnTo>
                      <a:pt x="843" y="26"/>
                    </a:lnTo>
                    <a:lnTo>
                      <a:pt x="844" y="33"/>
                    </a:lnTo>
                    <a:lnTo>
                      <a:pt x="844" y="33"/>
                    </a:lnTo>
                    <a:lnTo>
                      <a:pt x="843" y="40"/>
                    </a:lnTo>
                    <a:lnTo>
                      <a:pt x="840" y="46"/>
                    </a:lnTo>
                    <a:lnTo>
                      <a:pt x="837" y="52"/>
                    </a:lnTo>
                    <a:lnTo>
                      <a:pt x="834" y="56"/>
                    </a:lnTo>
                    <a:lnTo>
                      <a:pt x="829" y="60"/>
                    </a:lnTo>
                    <a:lnTo>
                      <a:pt x="823" y="64"/>
                    </a:lnTo>
                    <a:lnTo>
                      <a:pt x="817" y="66"/>
                    </a:lnTo>
                    <a:lnTo>
                      <a:pt x="810" y="67"/>
                    </a:lnTo>
                    <a:lnTo>
                      <a:pt x="612" y="67"/>
                    </a:lnTo>
                    <a:lnTo>
                      <a:pt x="612" y="67"/>
                    </a:lnTo>
                    <a:lnTo>
                      <a:pt x="594" y="67"/>
                    </a:lnTo>
                    <a:lnTo>
                      <a:pt x="577" y="69"/>
                    </a:lnTo>
                    <a:lnTo>
                      <a:pt x="560" y="72"/>
                    </a:lnTo>
                    <a:lnTo>
                      <a:pt x="543" y="76"/>
                    </a:lnTo>
                    <a:lnTo>
                      <a:pt x="528" y="81"/>
                    </a:lnTo>
                    <a:lnTo>
                      <a:pt x="512" y="86"/>
                    </a:lnTo>
                    <a:lnTo>
                      <a:pt x="498" y="92"/>
                    </a:lnTo>
                    <a:lnTo>
                      <a:pt x="483" y="100"/>
                    </a:lnTo>
                    <a:lnTo>
                      <a:pt x="455" y="114"/>
                    </a:lnTo>
                    <a:lnTo>
                      <a:pt x="431" y="131"/>
                    </a:lnTo>
                    <a:lnTo>
                      <a:pt x="408" y="146"/>
                    </a:lnTo>
                    <a:lnTo>
                      <a:pt x="387" y="161"/>
                    </a:lnTo>
                    <a:lnTo>
                      <a:pt x="387" y="161"/>
                    </a:lnTo>
                    <a:lnTo>
                      <a:pt x="365" y="176"/>
                    </a:lnTo>
                    <a:lnTo>
                      <a:pt x="347" y="189"/>
                    </a:lnTo>
                    <a:lnTo>
                      <a:pt x="339" y="193"/>
                    </a:lnTo>
                    <a:lnTo>
                      <a:pt x="330" y="196"/>
                    </a:lnTo>
                    <a:lnTo>
                      <a:pt x="322" y="198"/>
                    </a:lnTo>
                    <a:lnTo>
                      <a:pt x="315" y="199"/>
                    </a:lnTo>
                    <a:lnTo>
                      <a:pt x="83" y="199"/>
                    </a:lnTo>
                    <a:lnTo>
                      <a:pt x="83" y="199"/>
                    </a:lnTo>
                    <a:lnTo>
                      <a:pt x="79" y="199"/>
                    </a:lnTo>
                    <a:lnTo>
                      <a:pt x="76" y="202"/>
                    </a:lnTo>
                    <a:lnTo>
                      <a:pt x="73" y="205"/>
                    </a:lnTo>
                    <a:lnTo>
                      <a:pt x="71" y="211"/>
                    </a:lnTo>
                    <a:lnTo>
                      <a:pt x="68" y="216"/>
                    </a:lnTo>
                    <a:lnTo>
                      <a:pt x="67" y="221"/>
                    </a:lnTo>
                    <a:lnTo>
                      <a:pt x="66" y="232"/>
                    </a:lnTo>
                    <a:lnTo>
                      <a:pt x="66" y="232"/>
                    </a:lnTo>
                    <a:lnTo>
                      <a:pt x="67" y="243"/>
                    </a:lnTo>
                    <a:lnTo>
                      <a:pt x="68" y="248"/>
                    </a:lnTo>
                    <a:lnTo>
                      <a:pt x="71" y="253"/>
                    </a:lnTo>
                    <a:lnTo>
                      <a:pt x="73" y="258"/>
                    </a:lnTo>
                    <a:lnTo>
                      <a:pt x="76" y="261"/>
                    </a:lnTo>
                    <a:lnTo>
                      <a:pt x="79" y="264"/>
                    </a:lnTo>
                    <a:lnTo>
                      <a:pt x="83" y="264"/>
                    </a:lnTo>
                    <a:lnTo>
                      <a:pt x="447" y="264"/>
                    </a:lnTo>
                    <a:lnTo>
                      <a:pt x="447" y="264"/>
                    </a:lnTo>
                    <a:lnTo>
                      <a:pt x="453" y="265"/>
                    </a:lnTo>
                    <a:lnTo>
                      <a:pt x="460" y="267"/>
                    </a:lnTo>
                    <a:lnTo>
                      <a:pt x="465" y="271"/>
                    </a:lnTo>
                    <a:lnTo>
                      <a:pt x="470" y="275"/>
                    </a:lnTo>
                    <a:lnTo>
                      <a:pt x="474" y="280"/>
                    </a:lnTo>
                    <a:lnTo>
                      <a:pt x="477" y="285"/>
                    </a:lnTo>
                    <a:lnTo>
                      <a:pt x="479" y="291"/>
                    </a:lnTo>
                    <a:lnTo>
                      <a:pt x="479" y="297"/>
                    </a:lnTo>
                    <a:lnTo>
                      <a:pt x="479" y="297"/>
                    </a:lnTo>
                    <a:lnTo>
                      <a:pt x="479" y="305"/>
                    </a:lnTo>
                    <a:lnTo>
                      <a:pt x="477" y="311"/>
                    </a:lnTo>
                    <a:lnTo>
                      <a:pt x="474" y="316"/>
                    </a:lnTo>
                    <a:lnTo>
                      <a:pt x="470" y="321"/>
                    </a:lnTo>
                    <a:lnTo>
                      <a:pt x="465" y="325"/>
                    </a:lnTo>
                    <a:lnTo>
                      <a:pt x="460" y="329"/>
                    </a:lnTo>
                    <a:lnTo>
                      <a:pt x="453" y="331"/>
                    </a:lnTo>
                    <a:lnTo>
                      <a:pt x="447" y="331"/>
                    </a:lnTo>
                    <a:lnTo>
                      <a:pt x="447"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153" name="Group 152">
              <a:extLst>
                <a:ext uri="{FF2B5EF4-FFF2-40B4-BE49-F238E27FC236}">
                  <a16:creationId xmlns:a16="http://schemas.microsoft.com/office/drawing/2014/main" id="{9578EDF9-C6E2-AA7E-8815-DB0723BCE3BF}"/>
                </a:ext>
              </a:extLst>
            </p:cNvPr>
            <p:cNvGrpSpPr/>
            <p:nvPr/>
          </p:nvGrpSpPr>
          <p:grpSpPr>
            <a:xfrm flipH="1">
              <a:off x="2058591" y="2796777"/>
              <a:ext cx="261145" cy="261145"/>
              <a:chOff x="4116388" y="3968751"/>
              <a:chExt cx="360363" cy="360363"/>
            </a:xfrm>
            <a:grpFill/>
          </p:grpSpPr>
          <p:sp>
            <p:nvSpPr>
              <p:cNvPr id="154" name="Freeform 16">
                <a:extLst>
                  <a:ext uri="{FF2B5EF4-FFF2-40B4-BE49-F238E27FC236}">
                    <a16:creationId xmlns:a16="http://schemas.microsoft.com/office/drawing/2014/main" id="{E41D3AC7-7093-8030-D205-16420595FEA9}"/>
                  </a:ext>
                </a:extLst>
              </p:cNvPr>
              <p:cNvSpPr>
                <a:spLocks noEditPoints="1"/>
              </p:cNvSpPr>
              <p:nvPr/>
            </p:nvSpPr>
            <p:spPr bwMode="auto">
              <a:xfrm>
                <a:off x="4116388" y="3968751"/>
                <a:ext cx="360363" cy="360363"/>
              </a:xfrm>
              <a:custGeom>
                <a:avLst/>
                <a:gdLst>
                  <a:gd name="T0" fmla="*/ 575 w 1361"/>
                  <a:gd name="T1" fmla="*/ 1352 h 1361"/>
                  <a:gd name="T2" fmla="*/ 532 w 1361"/>
                  <a:gd name="T3" fmla="*/ 1161 h 1361"/>
                  <a:gd name="T4" fmla="*/ 315 w 1361"/>
                  <a:gd name="T5" fmla="*/ 1245 h 1361"/>
                  <a:gd name="T6" fmla="*/ 279 w 1361"/>
                  <a:gd name="T7" fmla="*/ 1242 h 1361"/>
                  <a:gd name="T8" fmla="*/ 110 w 1361"/>
                  <a:gd name="T9" fmla="*/ 1061 h 1361"/>
                  <a:gd name="T10" fmla="*/ 227 w 1361"/>
                  <a:gd name="T11" fmla="*/ 911 h 1361"/>
                  <a:gd name="T12" fmla="*/ 22 w 1361"/>
                  <a:gd name="T13" fmla="*/ 793 h 1361"/>
                  <a:gd name="T14" fmla="*/ 0 w 1361"/>
                  <a:gd name="T15" fmla="*/ 765 h 1361"/>
                  <a:gd name="T16" fmla="*/ 12 w 1361"/>
                  <a:gd name="T17" fmla="*/ 572 h 1361"/>
                  <a:gd name="T18" fmla="*/ 209 w 1361"/>
                  <a:gd name="T19" fmla="*/ 498 h 1361"/>
                  <a:gd name="T20" fmla="*/ 112 w 1361"/>
                  <a:gd name="T21" fmla="*/ 310 h 1361"/>
                  <a:gd name="T22" fmla="*/ 118 w 1361"/>
                  <a:gd name="T23" fmla="*/ 279 h 1361"/>
                  <a:gd name="T24" fmla="*/ 304 w 1361"/>
                  <a:gd name="T25" fmla="*/ 111 h 1361"/>
                  <a:gd name="T26" fmla="*/ 465 w 1361"/>
                  <a:gd name="T27" fmla="*/ 221 h 1361"/>
                  <a:gd name="T28" fmla="*/ 569 w 1361"/>
                  <a:gd name="T29" fmla="*/ 17 h 1361"/>
                  <a:gd name="T30" fmla="*/ 765 w 1361"/>
                  <a:gd name="T31" fmla="*/ 0 h 1361"/>
                  <a:gd name="T32" fmla="*/ 791 w 1361"/>
                  <a:gd name="T33" fmla="*/ 17 h 1361"/>
                  <a:gd name="T34" fmla="*/ 895 w 1361"/>
                  <a:gd name="T35" fmla="*/ 221 h 1361"/>
                  <a:gd name="T36" fmla="*/ 1056 w 1361"/>
                  <a:gd name="T37" fmla="*/ 111 h 1361"/>
                  <a:gd name="T38" fmla="*/ 1241 w 1361"/>
                  <a:gd name="T39" fmla="*/ 279 h 1361"/>
                  <a:gd name="T40" fmla="*/ 1248 w 1361"/>
                  <a:gd name="T41" fmla="*/ 310 h 1361"/>
                  <a:gd name="T42" fmla="*/ 1151 w 1361"/>
                  <a:gd name="T43" fmla="*/ 498 h 1361"/>
                  <a:gd name="T44" fmla="*/ 1348 w 1361"/>
                  <a:gd name="T45" fmla="*/ 572 h 1361"/>
                  <a:gd name="T46" fmla="*/ 1361 w 1361"/>
                  <a:gd name="T47" fmla="*/ 765 h 1361"/>
                  <a:gd name="T48" fmla="*/ 1337 w 1361"/>
                  <a:gd name="T49" fmla="*/ 793 h 1361"/>
                  <a:gd name="T50" fmla="*/ 1132 w 1361"/>
                  <a:gd name="T51" fmla="*/ 911 h 1361"/>
                  <a:gd name="T52" fmla="*/ 1250 w 1361"/>
                  <a:gd name="T53" fmla="*/ 1061 h 1361"/>
                  <a:gd name="T54" fmla="*/ 1077 w 1361"/>
                  <a:gd name="T55" fmla="*/ 1245 h 1361"/>
                  <a:gd name="T56" fmla="*/ 1040 w 1361"/>
                  <a:gd name="T57" fmla="*/ 1242 h 1361"/>
                  <a:gd name="T58" fmla="*/ 793 w 1361"/>
                  <a:gd name="T59" fmla="*/ 1170 h 1361"/>
                  <a:gd name="T60" fmla="*/ 781 w 1361"/>
                  <a:gd name="T61" fmla="*/ 1356 h 1361"/>
                  <a:gd name="T62" fmla="*/ 736 w 1361"/>
                  <a:gd name="T63" fmla="*/ 1148 h 1361"/>
                  <a:gd name="T64" fmla="*/ 750 w 1361"/>
                  <a:gd name="T65" fmla="*/ 1125 h 1361"/>
                  <a:gd name="T66" fmla="*/ 878 w 1361"/>
                  <a:gd name="T67" fmla="*/ 1085 h 1361"/>
                  <a:gd name="T68" fmla="*/ 933 w 1361"/>
                  <a:gd name="T69" fmla="*/ 1063 h 1361"/>
                  <a:gd name="T70" fmla="*/ 1071 w 1361"/>
                  <a:gd name="T71" fmla="*/ 951 h 1361"/>
                  <a:gd name="T72" fmla="*/ 1064 w 1361"/>
                  <a:gd name="T73" fmla="*/ 925 h 1361"/>
                  <a:gd name="T74" fmla="*/ 1100 w 1361"/>
                  <a:gd name="T75" fmla="*/ 834 h 1361"/>
                  <a:gd name="T76" fmla="*/ 1130 w 1361"/>
                  <a:gd name="T77" fmla="*/ 743 h 1361"/>
                  <a:gd name="T78" fmla="*/ 1148 w 1361"/>
                  <a:gd name="T79" fmla="*/ 624 h 1361"/>
                  <a:gd name="T80" fmla="*/ 1124 w 1361"/>
                  <a:gd name="T81" fmla="*/ 610 h 1361"/>
                  <a:gd name="T82" fmla="*/ 1085 w 1361"/>
                  <a:gd name="T83" fmla="*/ 482 h 1361"/>
                  <a:gd name="T84" fmla="*/ 1063 w 1361"/>
                  <a:gd name="T85" fmla="*/ 427 h 1361"/>
                  <a:gd name="T86" fmla="*/ 951 w 1361"/>
                  <a:gd name="T87" fmla="*/ 289 h 1361"/>
                  <a:gd name="T88" fmla="*/ 924 w 1361"/>
                  <a:gd name="T89" fmla="*/ 297 h 1361"/>
                  <a:gd name="T90" fmla="*/ 841 w 1361"/>
                  <a:gd name="T91" fmla="*/ 263 h 1361"/>
                  <a:gd name="T92" fmla="*/ 742 w 1361"/>
                  <a:gd name="T93" fmla="*/ 230 h 1361"/>
                  <a:gd name="T94" fmla="*/ 623 w 1361"/>
                  <a:gd name="T95" fmla="*/ 212 h 1361"/>
                  <a:gd name="T96" fmla="*/ 610 w 1361"/>
                  <a:gd name="T97" fmla="*/ 237 h 1361"/>
                  <a:gd name="T98" fmla="*/ 482 w 1361"/>
                  <a:gd name="T99" fmla="*/ 275 h 1361"/>
                  <a:gd name="T100" fmla="*/ 426 w 1361"/>
                  <a:gd name="T101" fmla="*/ 297 h 1361"/>
                  <a:gd name="T102" fmla="*/ 289 w 1361"/>
                  <a:gd name="T103" fmla="*/ 409 h 1361"/>
                  <a:gd name="T104" fmla="*/ 297 w 1361"/>
                  <a:gd name="T105" fmla="*/ 436 h 1361"/>
                  <a:gd name="T106" fmla="*/ 260 w 1361"/>
                  <a:gd name="T107" fmla="*/ 527 h 1361"/>
                  <a:gd name="T108" fmla="*/ 229 w 1361"/>
                  <a:gd name="T109" fmla="*/ 617 h 1361"/>
                  <a:gd name="T110" fmla="*/ 212 w 1361"/>
                  <a:gd name="T111" fmla="*/ 737 h 1361"/>
                  <a:gd name="T112" fmla="*/ 235 w 1361"/>
                  <a:gd name="T113" fmla="*/ 750 h 1361"/>
                  <a:gd name="T114" fmla="*/ 275 w 1361"/>
                  <a:gd name="T115" fmla="*/ 878 h 1361"/>
                  <a:gd name="T116" fmla="*/ 297 w 1361"/>
                  <a:gd name="T117" fmla="*/ 935 h 1361"/>
                  <a:gd name="T118" fmla="*/ 409 w 1361"/>
                  <a:gd name="T119" fmla="*/ 1071 h 1361"/>
                  <a:gd name="T120" fmla="*/ 435 w 1361"/>
                  <a:gd name="T121" fmla="*/ 1064 h 1361"/>
                  <a:gd name="T122" fmla="*/ 526 w 1361"/>
                  <a:gd name="T123" fmla="*/ 1100 h 1361"/>
                  <a:gd name="T124" fmla="*/ 617 w 1361"/>
                  <a:gd name="T125" fmla="*/ 1131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1" h="1361">
                    <a:moveTo>
                      <a:pt x="765" y="1361"/>
                    </a:moveTo>
                    <a:lnTo>
                      <a:pt x="595" y="1361"/>
                    </a:lnTo>
                    <a:lnTo>
                      <a:pt x="595" y="1361"/>
                    </a:lnTo>
                    <a:lnTo>
                      <a:pt x="589" y="1360"/>
                    </a:lnTo>
                    <a:lnTo>
                      <a:pt x="584" y="1358"/>
                    </a:lnTo>
                    <a:lnTo>
                      <a:pt x="579" y="1356"/>
                    </a:lnTo>
                    <a:lnTo>
                      <a:pt x="575" y="1352"/>
                    </a:lnTo>
                    <a:lnTo>
                      <a:pt x="572" y="1348"/>
                    </a:lnTo>
                    <a:lnTo>
                      <a:pt x="569" y="1344"/>
                    </a:lnTo>
                    <a:lnTo>
                      <a:pt x="567" y="1338"/>
                    </a:lnTo>
                    <a:lnTo>
                      <a:pt x="567" y="1333"/>
                    </a:lnTo>
                    <a:lnTo>
                      <a:pt x="567" y="1170"/>
                    </a:lnTo>
                    <a:lnTo>
                      <a:pt x="567" y="1170"/>
                    </a:lnTo>
                    <a:lnTo>
                      <a:pt x="532" y="1161"/>
                    </a:lnTo>
                    <a:lnTo>
                      <a:pt x="498" y="1151"/>
                    </a:lnTo>
                    <a:lnTo>
                      <a:pt x="465" y="1140"/>
                    </a:lnTo>
                    <a:lnTo>
                      <a:pt x="449" y="1133"/>
                    </a:lnTo>
                    <a:lnTo>
                      <a:pt x="434" y="1127"/>
                    </a:lnTo>
                    <a:lnTo>
                      <a:pt x="319" y="1242"/>
                    </a:lnTo>
                    <a:lnTo>
                      <a:pt x="319" y="1242"/>
                    </a:lnTo>
                    <a:lnTo>
                      <a:pt x="315" y="1245"/>
                    </a:lnTo>
                    <a:lnTo>
                      <a:pt x="310" y="1248"/>
                    </a:lnTo>
                    <a:lnTo>
                      <a:pt x="305" y="1249"/>
                    </a:lnTo>
                    <a:lnTo>
                      <a:pt x="299" y="1250"/>
                    </a:lnTo>
                    <a:lnTo>
                      <a:pt x="294" y="1249"/>
                    </a:lnTo>
                    <a:lnTo>
                      <a:pt x="288" y="1248"/>
                    </a:lnTo>
                    <a:lnTo>
                      <a:pt x="284" y="1245"/>
                    </a:lnTo>
                    <a:lnTo>
                      <a:pt x="279" y="1242"/>
                    </a:lnTo>
                    <a:lnTo>
                      <a:pt x="118" y="1081"/>
                    </a:lnTo>
                    <a:lnTo>
                      <a:pt x="118" y="1081"/>
                    </a:lnTo>
                    <a:lnTo>
                      <a:pt x="115" y="1077"/>
                    </a:lnTo>
                    <a:lnTo>
                      <a:pt x="112" y="1072"/>
                    </a:lnTo>
                    <a:lnTo>
                      <a:pt x="111" y="1067"/>
                    </a:lnTo>
                    <a:lnTo>
                      <a:pt x="110" y="1061"/>
                    </a:lnTo>
                    <a:lnTo>
                      <a:pt x="110" y="1061"/>
                    </a:lnTo>
                    <a:lnTo>
                      <a:pt x="111" y="1056"/>
                    </a:lnTo>
                    <a:lnTo>
                      <a:pt x="112" y="1050"/>
                    </a:lnTo>
                    <a:lnTo>
                      <a:pt x="115" y="1046"/>
                    </a:lnTo>
                    <a:lnTo>
                      <a:pt x="118" y="1041"/>
                    </a:lnTo>
                    <a:lnTo>
                      <a:pt x="234" y="926"/>
                    </a:lnTo>
                    <a:lnTo>
                      <a:pt x="234" y="926"/>
                    </a:lnTo>
                    <a:lnTo>
                      <a:pt x="227" y="911"/>
                    </a:lnTo>
                    <a:lnTo>
                      <a:pt x="221" y="895"/>
                    </a:lnTo>
                    <a:lnTo>
                      <a:pt x="209" y="863"/>
                    </a:lnTo>
                    <a:lnTo>
                      <a:pt x="199" y="828"/>
                    </a:lnTo>
                    <a:lnTo>
                      <a:pt x="190" y="793"/>
                    </a:lnTo>
                    <a:lnTo>
                      <a:pt x="28" y="793"/>
                    </a:lnTo>
                    <a:lnTo>
                      <a:pt x="28" y="793"/>
                    </a:lnTo>
                    <a:lnTo>
                      <a:pt x="22" y="793"/>
                    </a:lnTo>
                    <a:lnTo>
                      <a:pt x="17" y="791"/>
                    </a:lnTo>
                    <a:lnTo>
                      <a:pt x="12" y="789"/>
                    </a:lnTo>
                    <a:lnTo>
                      <a:pt x="8" y="785"/>
                    </a:lnTo>
                    <a:lnTo>
                      <a:pt x="4" y="781"/>
                    </a:lnTo>
                    <a:lnTo>
                      <a:pt x="2" y="776"/>
                    </a:lnTo>
                    <a:lnTo>
                      <a:pt x="0" y="771"/>
                    </a:lnTo>
                    <a:lnTo>
                      <a:pt x="0" y="765"/>
                    </a:lnTo>
                    <a:lnTo>
                      <a:pt x="0" y="595"/>
                    </a:lnTo>
                    <a:lnTo>
                      <a:pt x="0" y="595"/>
                    </a:lnTo>
                    <a:lnTo>
                      <a:pt x="0" y="589"/>
                    </a:lnTo>
                    <a:lnTo>
                      <a:pt x="2" y="584"/>
                    </a:lnTo>
                    <a:lnTo>
                      <a:pt x="4" y="579"/>
                    </a:lnTo>
                    <a:lnTo>
                      <a:pt x="8" y="575"/>
                    </a:lnTo>
                    <a:lnTo>
                      <a:pt x="12" y="572"/>
                    </a:lnTo>
                    <a:lnTo>
                      <a:pt x="17" y="569"/>
                    </a:lnTo>
                    <a:lnTo>
                      <a:pt x="22" y="568"/>
                    </a:lnTo>
                    <a:lnTo>
                      <a:pt x="28" y="567"/>
                    </a:lnTo>
                    <a:lnTo>
                      <a:pt x="190" y="567"/>
                    </a:lnTo>
                    <a:lnTo>
                      <a:pt x="190" y="567"/>
                    </a:lnTo>
                    <a:lnTo>
                      <a:pt x="199" y="533"/>
                    </a:lnTo>
                    <a:lnTo>
                      <a:pt x="209" y="498"/>
                    </a:lnTo>
                    <a:lnTo>
                      <a:pt x="221" y="465"/>
                    </a:lnTo>
                    <a:lnTo>
                      <a:pt x="227" y="450"/>
                    </a:lnTo>
                    <a:lnTo>
                      <a:pt x="234" y="435"/>
                    </a:lnTo>
                    <a:lnTo>
                      <a:pt x="118" y="319"/>
                    </a:lnTo>
                    <a:lnTo>
                      <a:pt x="118" y="319"/>
                    </a:lnTo>
                    <a:lnTo>
                      <a:pt x="115" y="315"/>
                    </a:lnTo>
                    <a:lnTo>
                      <a:pt x="112" y="310"/>
                    </a:lnTo>
                    <a:lnTo>
                      <a:pt x="111" y="305"/>
                    </a:lnTo>
                    <a:lnTo>
                      <a:pt x="110" y="299"/>
                    </a:lnTo>
                    <a:lnTo>
                      <a:pt x="110" y="299"/>
                    </a:lnTo>
                    <a:lnTo>
                      <a:pt x="111" y="294"/>
                    </a:lnTo>
                    <a:lnTo>
                      <a:pt x="112" y="288"/>
                    </a:lnTo>
                    <a:lnTo>
                      <a:pt x="115" y="284"/>
                    </a:lnTo>
                    <a:lnTo>
                      <a:pt x="118" y="279"/>
                    </a:lnTo>
                    <a:lnTo>
                      <a:pt x="279" y="119"/>
                    </a:lnTo>
                    <a:lnTo>
                      <a:pt x="279" y="119"/>
                    </a:lnTo>
                    <a:lnTo>
                      <a:pt x="284" y="115"/>
                    </a:lnTo>
                    <a:lnTo>
                      <a:pt x="289" y="112"/>
                    </a:lnTo>
                    <a:lnTo>
                      <a:pt x="294" y="111"/>
                    </a:lnTo>
                    <a:lnTo>
                      <a:pt x="299" y="110"/>
                    </a:lnTo>
                    <a:lnTo>
                      <a:pt x="304" y="111"/>
                    </a:lnTo>
                    <a:lnTo>
                      <a:pt x="310" y="112"/>
                    </a:lnTo>
                    <a:lnTo>
                      <a:pt x="315" y="115"/>
                    </a:lnTo>
                    <a:lnTo>
                      <a:pt x="319" y="119"/>
                    </a:lnTo>
                    <a:lnTo>
                      <a:pt x="434" y="235"/>
                    </a:lnTo>
                    <a:lnTo>
                      <a:pt x="434" y="235"/>
                    </a:lnTo>
                    <a:lnTo>
                      <a:pt x="450" y="228"/>
                    </a:lnTo>
                    <a:lnTo>
                      <a:pt x="465" y="221"/>
                    </a:lnTo>
                    <a:lnTo>
                      <a:pt x="498" y="209"/>
                    </a:lnTo>
                    <a:lnTo>
                      <a:pt x="532" y="199"/>
                    </a:lnTo>
                    <a:lnTo>
                      <a:pt x="567" y="190"/>
                    </a:lnTo>
                    <a:lnTo>
                      <a:pt x="567" y="28"/>
                    </a:lnTo>
                    <a:lnTo>
                      <a:pt x="567" y="28"/>
                    </a:lnTo>
                    <a:lnTo>
                      <a:pt x="567" y="22"/>
                    </a:lnTo>
                    <a:lnTo>
                      <a:pt x="569" y="17"/>
                    </a:lnTo>
                    <a:lnTo>
                      <a:pt x="572" y="12"/>
                    </a:lnTo>
                    <a:lnTo>
                      <a:pt x="575" y="8"/>
                    </a:lnTo>
                    <a:lnTo>
                      <a:pt x="579" y="5"/>
                    </a:lnTo>
                    <a:lnTo>
                      <a:pt x="584" y="2"/>
                    </a:lnTo>
                    <a:lnTo>
                      <a:pt x="589" y="0"/>
                    </a:lnTo>
                    <a:lnTo>
                      <a:pt x="595" y="0"/>
                    </a:lnTo>
                    <a:lnTo>
                      <a:pt x="765" y="0"/>
                    </a:lnTo>
                    <a:lnTo>
                      <a:pt x="765" y="0"/>
                    </a:lnTo>
                    <a:lnTo>
                      <a:pt x="771" y="0"/>
                    </a:lnTo>
                    <a:lnTo>
                      <a:pt x="776" y="2"/>
                    </a:lnTo>
                    <a:lnTo>
                      <a:pt x="781" y="5"/>
                    </a:lnTo>
                    <a:lnTo>
                      <a:pt x="785" y="8"/>
                    </a:lnTo>
                    <a:lnTo>
                      <a:pt x="789" y="12"/>
                    </a:lnTo>
                    <a:lnTo>
                      <a:pt x="791" y="17"/>
                    </a:lnTo>
                    <a:lnTo>
                      <a:pt x="793" y="22"/>
                    </a:lnTo>
                    <a:lnTo>
                      <a:pt x="793" y="28"/>
                    </a:lnTo>
                    <a:lnTo>
                      <a:pt x="793" y="190"/>
                    </a:lnTo>
                    <a:lnTo>
                      <a:pt x="793" y="190"/>
                    </a:lnTo>
                    <a:lnTo>
                      <a:pt x="827" y="199"/>
                    </a:lnTo>
                    <a:lnTo>
                      <a:pt x="862" y="209"/>
                    </a:lnTo>
                    <a:lnTo>
                      <a:pt x="895" y="221"/>
                    </a:lnTo>
                    <a:lnTo>
                      <a:pt x="911" y="228"/>
                    </a:lnTo>
                    <a:lnTo>
                      <a:pt x="925" y="235"/>
                    </a:lnTo>
                    <a:lnTo>
                      <a:pt x="1040" y="119"/>
                    </a:lnTo>
                    <a:lnTo>
                      <a:pt x="1040" y="119"/>
                    </a:lnTo>
                    <a:lnTo>
                      <a:pt x="1046" y="115"/>
                    </a:lnTo>
                    <a:lnTo>
                      <a:pt x="1050" y="112"/>
                    </a:lnTo>
                    <a:lnTo>
                      <a:pt x="1056" y="111"/>
                    </a:lnTo>
                    <a:lnTo>
                      <a:pt x="1061" y="110"/>
                    </a:lnTo>
                    <a:lnTo>
                      <a:pt x="1066" y="111"/>
                    </a:lnTo>
                    <a:lnTo>
                      <a:pt x="1072" y="112"/>
                    </a:lnTo>
                    <a:lnTo>
                      <a:pt x="1076" y="115"/>
                    </a:lnTo>
                    <a:lnTo>
                      <a:pt x="1081" y="119"/>
                    </a:lnTo>
                    <a:lnTo>
                      <a:pt x="1241" y="279"/>
                    </a:lnTo>
                    <a:lnTo>
                      <a:pt x="1241" y="279"/>
                    </a:lnTo>
                    <a:lnTo>
                      <a:pt x="1244" y="284"/>
                    </a:lnTo>
                    <a:lnTo>
                      <a:pt x="1248" y="288"/>
                    </a:lnTo>
                    <a:lnTo>
                      <a:pt x="1249" y="294"/>
                    </a:lnTo>
                    <a:lnTo>
                      <a:pt x="1250" y="299"/>
                    </a:lnTo>
                    <a:lnTo>
                      <a:pt x="1250" y="299"/>
                    </a:lnTo>
                    <a:lnTo>
                      <a:pt x="1249" y="305"/>
                    </a:lnTo>
                    <a:lnTo>
                      <a:pt x="1248" y="310"/>
                    </a:lnTo>
                    <a:lnTo>
                      <a:pt x="1244" y="315"/>
                    </a:lnTo>
                    <a:lnTo>
                      <a:pt x="1241" y="319"/>
                    </a:lnTo>
                    <a:lnTo>
                      <a:pt x="1126" y="435"/>
                    </a:lnTo>
                    <a:lnTo>
                      <a:pt x="1126" y="435"/>
                    </a:lnTo>
                    <a:lnTo>
                      <a:pt x="1132" y="450"/>
                    </a:lnTo>
                    <a:lnTo>
                      <a:pt x="1139" y="465"/>
                    </a:lnTo>
                    <a:lnTo>
                      <a:pt x="1151" y="498"/>
                    </a:lnTo>
                    <a:lnTo>
                      <a:pt x="1161" y="533"/>
                    </a:lnTo>
                    <a:lnTo>
                      <a:pt x="1170" y="567"/>
                    </a:lnTo>
                    <a:lnTo>
                      <a:pt x="1331" y="567"/>
                    </a:lnTo>
                    <a:lnTo>
                      <a:pt x="1331" y="567"/>
                    </a:lnTo>
                    <a:lnTo>
                      <a:pt x="1337" y="568"/>
                    </a:lnTo>
                    <a:lnTo>
                      <a:pt x="1342" y="569"/>
                    </a:lnTo>
                    <a:lnTo>
                      <a:pt x="1348" y="572"/>
                    </a:lnTo>
                    <a:lnTo>
                      <a:pt x="1352" y="575"/>
                    </a:lnTo>
                    <a:lnTo>
                      <a:pt x="1356" y="579"/>
                    </a:lnTo>
                    <a:lnTo>
                      <a:pt x="1358" y="584"/>
                    </a:lnTo>
                    <a:lnTo>
                      <a:pt x="1360" y="589"/>
                    </a:lnTo>
                    <a:lnTo>
                      <a:pt x="1361" y="595"/>
                    </a:lnTo>
                    <a:lnTo>
                      <a:pt x="1361" y="765"/>
                    </a:lnTo>
                    <a:lnTo>
                      <a:pt x="1361" y="765"/>
                    </a:lnTo>
                    <a:lnTo>
                      <a:pt x="1360" y="771"/>
                    </a:lnTo>
                    <a:lnTo>
                      <a:pt x="1358" y="776"/>
                    </a:lnTo>
                    <a:lnTo>
                      <a:pt x="1356" y="781"/>
                    </a:lnTo>
                    <a:lnTo>
                      <a:pt x="1352" y="785"/>
                    </a:lnTo>
                    <a:lnTo>
                      <a:pt x="1348" y="789"/>
                    </a:lnTo>
                    <a:lnTo>
                      <a:pt x="1342" y="791"/>
                    </a:lnTo>
                    <a:lnTo>
                      <a:pt x="1337" y="793"/>
                    </a:lnTo>
                    <a:lnTo>
                      <a:pt x="1331" y="793"/>
                    </a:lnTo>
                    <a:lnTo>
                      <a:pt x="1170" y="793"/>
                    </a:lnTo>
                    <a:lnTo>
                      <a:pt x="1170" y="793"/>
                    </a:lnTo>
                    <a:lnTo>
                      <a:pt x="1161" y="828"/>
                    </a:lnTo>
                    <a:lnTo>
                      <a:pt x="1151" y="863"/>
                    </a:lnTo>
                    <a:lnTo>
                      <a:pt x="1138" y="895"/>
                    </a:lnTo>
                    <a:lnTo>
                      <a:pt x="1132" y="911"/>
                    </a:lnTo>
                    <a:lnTo>
                      <a:pt x="1126" y="926"/>
                    </a:lnTo>
                    <a:lnTo>
                      <a:pt x="1241" y="1041"/>
                    </a:lnTo>
                    <a:lnTo>
                      <a:pt x="1241" y="1041"/>
                    </a:lnTo>
                    <a:lnTo>
                      <a:pt x="1244" y="1046"/>
                    </a:lnTo>
                    <a:lnTo>
                      <a:pt x="1248" y="1051"/>
                    </a:lnTo>
                    <a:lnTo>
                      <a:pt x="1249" y="1056"/>
                    </a:lnTo>
                    <a:lnTo>
                      <a:pt x="1250" y="1061"/>
                    </a:lnTo>
                    <a:lnTo>
                      <a:pt x="1249" y="1067"/>
                    </a:lnTo>
                    <a:lnTo>
                      <a:pt x="1248" y="1072"/>
                    </a:lnTo>
                    <a:lnTo>
                      <a:pt x="1244" y="1077"/>
                    </a:lnTo>
                    <a:lnTo>
                      <a:pt x="1241" y="1081"/>
                    </a:lnTo>
                    <a:lnTo>
                      <a:pt x="1081" y="1242"/>
                    </a:lnTo>
                    <a:lnTo>
                      <a:pt x="1081" y="1242"/>
                    </a:lnTo>
                    <a:lnTo>
                      <a:pt x="1077" y="1245"/>
                    </a:lnTo>
                    <a:lnTo>
                      <a:pt x="1072" y="1248"/>
                    </a:lnTo>
                    <a:lnTo>
                      <a:pt x="1066" y="1249"/>
                    </a:lnTo>
                    <a:lnTo>
                      <a:pt x="1061" y="1250"/>
                    </a:lnTo>
                    <a:lnTo>
                      <a:pt x="1056" y="1249"/>
                    </a:lnTo>
                    <a:lnTo>
                      <a:pt x="1051" y="1248"/>
                    </a:lnTo>
                    <a:lnTo>
                      <a:pt x="1046" y="1245"/>
                    </a:lnTo>
                    <a:lnTo>
                      <a:pt x="1040" y="1242"/>
                    </a:lnTo>
                    <a:lnTo>
                      <a:pt x="925" y="1127"/>
                    </a:lnTo>
                    <a:lnTo>
                      <a:pt x="925" y="1127"/>
                    </a:lnTo>
                    <a:lnTo>
                      <a:pt x="911" y="1133"/>
                    </a:lnTo>
                    <a:lnTo>
                      <a:pt x="895" y="1140"/>
                    </a:lnTo>
                    <a:lnTo>
                      <a:pt x="862" y="1151"/>
                    </a:lnTo>
                    <a:lnTo>
                      <a:pt x="827" y="1161"/>
                    </a:lnTo>
                    <a:lnTo>
                      <a:pt x="793" y="1170"/>
                    </a:lnTo>
                    <a:lnTo>
                      <a:pt x="793" y="1333"/>
                    </a:lnTo>
                    <a:lnTo>
                      <a:pt x="793" y="1333"/>
                    </a:lnTo>
                    <a:lnTo>
                      <a:pt x="793" y="1338"/>
                    </a:lnTo>
                    <a:lnTo>
                      <a:pt x="791" y="1344"/>
                    </a:lnTo>
                    <a:lnTo>
                      <a:pt x="789" y="1348"/>
                    </a:lnTo>
                    <a:lnTo>
                      <a:pt x="785" y="1352"/>
                    </a:lnTo>
                    <a:lnTo>
                      <a:pt x="781" y="1356"/>
                    </a:lnTo>
                    <a:lnTo>
                      <a:pt x="776" y="1358"/>
                    </a:lnTo>
                    <a:lnTo>
                      <a:pt x="771" y="1360"/>
                    </a:lnTo>
                    <a:lnTo>
                      <a:pt x="765" y="1361"/>
                    </a:lnTo>
                    <a:lnTo>
                      <a:pt x="765" y="1361"/>
                    </a:lnTo>
                    <a:close/>
                    <a:moveTo>
                      <a:pt x="623" y="1304"/>
                    </a:moveTo>
                    <a:lnTo>
                      <a:pt x="736" y="1304"/>
                    </a:lnTo>
                    <a:lnTo>
                      <a:pt x="736" y="1148"/>
                    </a:lnTo>
                    <a:lnTo>
                      <a:pt x="736" y="1148"/>
                    </a:lnTo>
                    <a:lnTo>
                      <a:pt x="737" y="1144"/>
                    </a:lnTo>
                    <a:lnTo>
                      <a:pt x="738" y="1139"/>
                    </a:lnTo>
                    <a:lnTo>
                      <a:pt x="740" y="1135"/>
                    </a:lnTo>
                    <a:lnTo>
                      <a:pt x="742" y="1131"/>
                    </a:lnTo>
                    <a:lnTo>
                      <a:pt x="746" y="1128"/>
                    </a:lnTo>
                    <a:lnTo>
                      <a:pt x="750" y="1125"/>
                    </a:lnTo>
                    <a:lnTo>
                      <a:pt x="754" y="1123"/>
                    </a:lnTo>
                    <a:lnTo>
                      <a:pt x="759" y="1121"/>
                    </a:lnTo>
                    <a:lnTo>
                      <a:pt x="759" y="1121"/>
                    </a:lnTo>
                    <a:lnTo>
                      <a:pt x="790" y="1112"/>
                    </a:lnTo>
                    <a:lnTo>
                      <a:pt x="833" y="1100"/>
                    </a:lnTo>
                    <a:lnTo>
                      <a:pt x="856" y="1093"/>
                    </a:lnTo>
                    <a:lnTo>
                      <a:pt x="878" y="1085"/>
                    </a:lnTo>
                    <a:lnTo>
                      <a:pt x="898" y="1076"/>
                    </a:lnTo>
                    <a:lnTo>
                      <a:pt x="916" y="1067"/>
                    </a:lnTo>
                    <a:lnTo>
                      <a:pt x="916" y="1067"/>
                    </a:lnTo>
                    <a:lnTo>
                      <a:pt x="920" y="1065"/>
                    </a:lnTo>
                    <a:lnTo>
                      <a:pt x="924" y="1064"/>
                    </a:lnTo>
                    <a:lnTo>
                      <a:pt x="929" y="1063"/>
                    </a:lnTo>
                    <a:lnTo>
                      <a:pt x="933" y="1063"/>
                    </a:lnTo>
                    <a:lnTo>
                      <a:pt x="938" y="1064"/>
                    </a:lnTo>
                    <a:lnTo>
                      <a:pt x="942" y="1066"/>
                    </a:lnTo>
                    <a:lnTo>
                      <a:pt x="947" y="1068"/>
                    </a:lnTo>
                    <a:lnTo>
                      <a:pt x="951" y="1071"/>
                    </a:lnTo>
                    <a:lnTo>
                      <a:pt x="1061" y="1181"/>
                    </a:lnTo>
                    <a:lnTo>
                      <a:pt x="1181" y="1061"/>
                    </a:lnTo>
                    <a:lnTo>
                      <a:pt x="1071" y="951"/>
                    </a:lnTo>
                    <a:lnTo>
                      <a:pt x="1071" y="951"/>
                    </a:lnTo>
                    <a:lnTo>
                      <a:pt x="1068" y="947"/>
                    </a:lnTo>
                    <a:lnTo>
                      <a:pt x="1066" y="943"/>
                    </a:lnTo>
                    <a:lnTo>
                      <a:pt x="1064" y="939"/>
                    </a:lnTo>
                    <a:lnTo>
                      <a:pt x="1063" y="935"/>
                    </a:lnTo>
                    <a:lnTo>
                      <a:pt x="1063" y="930"/>
                    </a:lnTo>
                    <a:lnTo>
                      <a:pt x="1064" y="925"/>
                    </a:lnTo>
                    <a:lnTo>
                      <a:pt x="1065" y="921"/>
                    </a:lnTo>
                    <a:lnTo>
                      <a:pt x="1067" y="916"/>
                    </a:lnTo>
                    <a:lnTo>
                      <a:pt x="1067" y="916"/>
                    </a:lnTo>
                    <a:lnTo>
                      <a:pt x="1076" y="898"/>
                    </a:lnTo>
                    <a:lnTo>
                      <a:pt x="1085" y="878"/>
                    </a:lnTo>
                    <a:lnTo>
                      <a:pt x="1093" y="856"/>
                    </a:lnTo>
                    <a:lnTo>
                      <a:pt x="1100" y="834"/>
                    </a:lnTo>
                    <a:lnTo>
                      <a:pt x="1112" y="791"/>
                    </a:lnTo>
                    <a:lnTo>
                      <a:pt x="1120" y="759"/>
                    </a:lnTo>
                    <a:lnTo>
                      <a:pt x="1120" y="759"/>
                    </a:lnTo>
                    <a:lnTo>
                      <a:pt x="1122" y="754"/>
                    </a:lnTo>
                    <a:lnTo>
                      <a:pt x="1124" y="750"/>
                    </a:lnTo>
                    <a:lnTo>
                      <a:pt x="1127" y="746"/>
                    </a:lnTo>
                    <a:lnTo>
                      <a:pt x="1130" y="743"/>
                    </a:lnTo>
                    <a:lnTo>
                      <a:pt x="1134" y="741"/>
                    </a:lnTo>
                    <a:lnTo>
                      <a:pt x="1138" y="739"/>
                    </a:lnTo>
                    <a:lnTo>
                      <a:pt x="1143" y="738"/>
                    </a:lnTo>
                    <a:lnTo>
                      <a:pt x="1148" y="737"/>
                    </a:lnTo>
                    <a:lnTo>
                      <a:pt x="1303" y="737"/>
                    </a:lnTo>
                    <a:lnTo>
                      <a:pt x="1303" y="624"/>
                    </a:lnTo>
                    <a:lnTo>
                      <a:pt x="1148" y="624"/>
                    </a:lnTo>
                    <a:lnTo>
                      <a:pt x="1148" y="624"/>
                    </a:lnTo>
                    <a:lnTo>
                      <a:pt x="1142" y="624"/>
                    </a:lnTo>
                    <a:lnTo>
                      <a:pt x="1138" y="622"/>
                    </a:lnTo>
                    <a:lnTo>
                      <a:pt x="1134" y="620"/>
                    </a:lnTo>
                    <a:lnTo>
                      <a:pt x="1130" y="617"/>
                    </a:lnTo>
                    <a:lnTo>
                      <a:pt x="1127" y="614"/>
                    </a:lnTo>
                    <a:lnTo>
                      <a:pt x="1124" y="610"/>
                    </a:lnTo>
                    <a:lnTo>
                      <a:pt x="1122" y="606"/>
                    </a:lnTo>
                    <a:lnTo>
                      <a:pt x="1120" y="602"/>
                    </a:lnTo>
                    <a:lnTo>
                      <a:pt x="1120" y="602"/>
                    </a:lnTo>
                    <a:lnTo>
                      <a:pt x="1112" y="570"/>
                    </a:lnTo>
                    <a:lnTo>
                      <a:pt x="1100" y="528"/>
                    </a:lnTo>
                    <a:lnTo>
                      <a:pt x="1093" y="504"/>
                    </a:lnTo>
                    <a:lnTo>
                      <a:pt x="1085" y="482"/>
                    </a:lnTo>
                    <a:lnTo>
                      <a:pt x="1076" y="462"/>
                    </a:lnTo>
                    <a:lnTo>
                      <a:pt x="1067" y="445"/>
                    </a:lnTo>
                    <a:lnTo>
                      <a:pt x="1067" y="445"/>
                    </a:lnTo>
                    <a:lnTo>
                      <a:pt x="1065" y="440"/>
                    </a:lnTo>
                    <a:lnTo>
                      <a:pt x="1064" y="436"/>
                    </a:lnTo>
                    <a:lnTo>
                      <a:pt x="1063" y="431"/>
                    </a:lnTo>
                    <a:lnTo>
                      <a:pt x="1063" y="427"/>
                    </a:lnTo>
                    <a:lnTo>
                      <a:pt x="1064" y="421"/>
                    </a:lnTo>
                    <a:lnTo>
                      <a:pt x="1066" y="417"/>
                    </a:lnTo>
                    <a:lnTo>
                      <a:pt x="1068" y="413"/>
                    </a:lnTo>
                    <a:lnTo>
                      <a:pt x="1071" y="409"/>
                    </a:lnTo>
                    <a:lnTo>
                      <a:pt x="1181" y="299"/>
                    </a:lnTo>
                    <a:lnTo>
                      <a:pt x="1061" y="179"/>
                    </a:lnTo>
                    <a:lnTo>
                      <a:pt x="951" y="289"/>
                    </a:lnTo>
                    <a:lnTo>
                      <a:pt x="951" y="289"/>
                    </a:lnTo>
                    <a:lnTo>
                      <a:pt x="947" y="292"/>
                    </a:lnTo>
                    <a:lnTo>
                      <a:pt x="942" y="295"/>
                    </a:lnTo>
                    <a:lnTo>
                      <a:pt x="938" y="296"/>
                    </a:lnTo>
                    <a:lnTo>
                      <a:pt x="933" y="297"/>
                    </a:lnTo>
                    <a:lnTo>
                      <a:pt x="929" y="297"/>
                    </a:lnTo>
                    <a:lnTo>
                      <a:pt x="924" y="297"/>
                    </a:lnTo>
                    <a:lnTo>
                      <a:pt x="920" y="295"/>
                    </a:lnTo>
                    <a:lnTo>
                      <a:pt x="916" y="293"/>
                    </a:lnTo>
                    <a:lnTo>
                      <a:pt x="916" y="293"/>
                    </a:lnTo>
                    <a:lnTo>
                      <a:pt x="900" y="285"/>
                    </a:lnTo>
                    <a:lnTo>
                      <a:pt x="882" y="277"/>
                    </a:lnTo>
                    <a:lnTo>
                      <a:pt x="863" y="270"/>
                    </a:lnTo>
                    <a:lnTo>
                      <a:pt x="841" y="263"/>
                    </a:lnTo>
                    <a:lnTo>
                      <a:pt x="798" y="250"/>
                    </a:lnTo>
                    <a:lnTo>
                      <a:pt x="759" y="240"/>
                    </a:lnTo>
                    <a:lnTo>
                      <a:pt x="759" y="240"/>
                    </a:lnTo>
                    <a:lnTo>
                      <a:pt x="754" y="239"/>
                    </a:lnTo>
                    <a:lnTo>
                      <a:pt x="750" y="237"/>
                    </a:lnTo>
                    <a:lnTo>
                      <a:pt x="746" y="234"/>
                    </a:lnTo>
                    <a:lnTo>
                      <a:pt x="742" y="230"/>
                    </a:lnTo>
                    <a:lnTo>
                      <a:pt x="740" y="226"/>
                    </a:lnTo>
                    <a:lnTo>
                      <a:pt x="738" y="221"/>
                    </a:lnTo>
                    <a:lnTo>
                      <a:pt x="737" y="217"/>
                    </a:lnTo>
                    <a:lnTo>
                      <a:pt x="736" y="212"/>
                    </a:lnTo>
                    <a:lnTo>
                      <a:pt x="736" y="57"/>
                    </a:lnTo>
                    <a:lnTo>
                      <a:pt x="623" y="57"/>
                    </a:lnTo>
                    <a:lnTo>
                      <a:pt x="623" y="212"/>
                    </a:lnTo>
                    <a:lnTo>
                      <a:pt x="623" y="212"/>
                    </a:lnTo>
                    <a:lnTo>
                      <a:pt x="623" y="217"/>
                    </a:lnTo>
                    <a:lnTo>
                      <a:pt x="621" y="221"/>
                    </a:lnTo>
                    <a:lnTo>
                      <a:pt x="620" y="226"/>
                    </a:lnTo>
                    <a:lnTo>
                      <a:pt x="617" y="230"/>
                    </a:lnTo>
                    <a:lnTo>
                      <a:pt x="614" y="234"/>
                    </a:lnTo>
                    <a:lnTo>
                      <a:pt x="610" y="237"/>
                    </a:lnTo>
                    <a:lnTo>
                      <a:pt x="606" y="239"/>
                    </a:lnTo>
                    <a:lnTo>
                      <a:pt x="601" y="240"/>
                    </a:lnTo>
                    <a:lnTo>
                      <a:pt x="601" y="240"/>
                    </a:lnTo>
                    <a:lnTo>
                      <a:pt x="570" y="248"/>
                    </a:lnTo>
                    <a:lnTo>
                      <a:pt x="526" y="260"/>
                    </a:lnTo>
                    <a:lnTo>
                      <a:pt x="504" y="267"/>
                    </a:lnTo>
                    <a:lnTo>
                      <a:pt x="482" y="275"/>
                    </a:lnTo>
                    <a:lnTo>
                      <a:pt x="462" y="284"/>
                    </a:lnTo>
                    <a:lnTo>
                      <a:pt x="445" y="293"/>
                    </a:lnTo>
                    <a:lnTo>
                      <a:pt x="445" y="293"/>
                    </a:lnTo>
                    <a:lnTo>
                      <a:pt x="439" y="295"/>
                    </a:lnTo>
                    <a:lnTo>
                      <a:pt x="435" y="297"/>
                    </a:lnTo>
                    <a:lnTo>
                      <a:pt x="430" y="297"/>
                    </a:lnTo>
                    <a:lnTo>
                      <a:pt x="426" y="297"/>
                    </a:lnTo>
                    <a:lnTo>
                      <a:pt x="421" y="296"/>
                    </a:lnTo>
                    <a:lnTo>
                      <a:pt x="417" y="295"/>
                    </a:lnTo>
                    <a:lnTo>
                      <a:pt x="413" y="292"/>
                    </a:lnTo>
                    <a:lnTo>
                      <a:pt x="409" y="289"/>
                    </a:lnTo>
                    <a:lnTo>
                      <a:pt x="299" y="179"/>
                    </a:lnTo>
                    <a:lnTo>
                      <a:pt x="179" y="299"/>
                    </a:lnTo>
                    <a:lnTo>
                      <a:pt x="289" y="409"/>
                    </a:lnTo>
                    <a:lnTo>
                      <a:pt x="289" y="409"/>
                    </a:lnTo>
                    <a:lnTo>
                      <a:pt x="292" y="413"/>
                    </a:lnTo>
                    <a:lnTo>
                      <a:pt x="295" y="417"/>
                    </a:lnTo>
                    <a:lnTo>
                      <a:pt x="296" y="421"/>
                    </a:lnTo>
                    <a:lnTo>
                      <a:pt x="297" y="427"/>
                    </a:lnTo>
                    <a:lnTo>
                      <a:pt x="297" y="431"/>
                    </a:lnTo>
                    <a:lnTo>
                      <a:pt x="297" y="436"/>
                    </a:lnTo>
                    <a:lnTo>
                      <a:pt x="295" y="440"/>
                    </a:lnTo>
                    <a:lnTo>
                      <a:pt x="293" y="445"/>
                    </a:lnTo>
                    <a:lnTo>
                      <a:pt x="293" y="445"/>
                    </a:lnTo>
                    <a:lnTo>
                      <a:pt x="284" y="462"/>
                    </a:lnTo>
                    <a:lnTo>
                      <a:pt x="275" y="482"/>
                    </a:lnTo>
                    <a:lnTo>
                      <a:pt x="267" y="504"/>
                    </a:lnTo>
                    <a:lnTo>
                      <a:pt x="260" y="527"/>
                    </a:lnTo>
                    <a:lnTo>
                      <a:pt x="248" y="570"/>
                    </a:lnTo>
                    <a:lnTo>
                      <a:pt x="239" y="602"/>
                    </a:lnTo>
                    <a:lnTo>
                      <a:pt x="239" y="602"/>
                    </a:lnTo>
                    <a:lnTo>
                      <a:pt x="238" y="606"/>
                    </a:lnTo>
                    <a:lnTo>
                      <a:pt x="235" y="610"/>
                    </a:lnTo>
                    <a:lnTo>
                      <a:pt x="233" y="614"/>
                    </a:lnTo>
                    <a:lnTo>
                      <a:pt x="229" y="617"/>
                    </a:lnTo>
                    <a:lnTo>
                      <a:pt x="225" y="620"/>
                    </a:lnTo>
                    <a:lnTo>
                      <a:pt x="221" y="622"/>
                    </a:lnTo>
                    <a:lnTo>
                      <a:pt x="217" y="624"/>
                    </a:lnTo>
                    <a:lnTo>
                      <a:pt x="212" y="624"/>
                    </a:lnTo>
                    <a:lnTo>
                      <a:pt x="57" y="624"/>
                    </a:lnTo>
                    <a:lnTo>
                      <a:pt x="57" y="737"/>
                    </a:lnTo>
                    <a:lnTo>
                      <a:pt x="212" y="737"/>
                    </a:lnTo>
                    <a:lnTo>
                      <a:pt x="212" y="737"/>
                    </a:lnTo>
                    <a:lnTo>
                      <a:pt x="217" y="738"/>
                    </a:lnTo>
                    <a:lnTo>
                      <a:pt x="221" y="739"/>
                    </a:lnTo>
                    <a:lnTo>
                      <a:pt x="225" y="741"/>
                    </a:lnTo>
                    <a:lnTo>
                      <a:pt x="229" y="743"/>
                    </a:lnTo>
                    <a:lnTo>
                      <a:pt x="233" y="746"/>
                    </a:lnTo>
                    <a:lnTo>
                      <a:pt x="235" y="750"/>
                    </a:lnTo>
                    <a:lnTo>
                      <a:pt x="238" y="754"/>
                    </a:lnTo>
                    <a:lnTo>
                      <a:pt x="239" y="759"/>
                    </a:lnTo>
                    <a:lnTo>
                      <a:pt x="239" y="759"/>
                    </a:lnTo>
                    <a:lnTo>
                      <a:pt x="248" y="791"/>
                    </a:lnTo>
                    <a:lnTo>
                      <a:pt x="260" y="834"/>
                    </a:lnTo>
                    <a:lnTo>
                      <a:pt x="267" y="856"/>
                    </a:lnTo>
                    <a:lnTo>
                      <a:pt x="275" y="878"/>
                    </a:lnTo>
                    <a:lnTo>
                      <a:pt x="284" y="898"/>
                    </a:lnTo>
                    <a:lnTo>
                      <a:pt x="293" y="916"/>
                    </a:lnTo>
                    <a:lnTo>
                      <a:pt x="293" y="916"/>
                    </a:lnTo>
                    <a:lnTo>
                      <a:pt x="295" y="921"/>
                    </a:lnTo>
                    <a:lnTo>
                      <a:pt x="297" y="925"/>
                    </a:lnTo>
                    <a:lnTo>
                      <a:pt x="297" y="930"/>
                    </a:lnTo>
                    <a:lnTo>
                      <a:pt x="297" y="935"/>
                    </a:lnTo>
                    <a:lnTo>
                      <a:pt x="296" y="939"/>
                    </a:lnTo>
                    <a:lnTo>
                      <a:pt x="295" y="943"/>
                    </a:lnTo>
                    <a:lnTo>
                      <a:pt x="292" y="947"/>
                    </a:lnTo>
                    <a:lnTo>
                      <a:pt x="289" y="951"/>
                    </a:lnTo>
                    <a:lnTo>
                      <a:pt x="179" y="1061"/>
                    </a:lnTo>
                    <a:lnTo>
                      <a:pt x="299" y="1181"/>
                    </a:lnTo>
                    <a:lnTo>
                      <a:pt x="409" y="1071"/>
                    </a:lnTo>
                    <a:lnTo>
                      <a:pt x="409" y="1071"/>
                    </a:lnTo>
                    <a:lnTo>
                      <a:pt x="413" y="1068"/>
                    </a:lnTo>
                    <a:lnTo>
                      <a:pt x="417" y="1066"/>
                    </a:lnTo>
                    <a:lnTo>
                      <a:pt x="421" y="1064"/>
                    </a:lnTo>
                    <a:lnTo>
                      <a:pt x="426" y="1063"/>
                    </a:lnTo>
                    <a:lnTo>
                      <a:pt x="430" y="1063"/>
                    </a:lnTo>
                    <a:lnTo>
                      <a:pt x="435" y="1064"/>
                    </a:lnTo>
                    <a:lnTo>
                      <a:pt x="439" y="1065"/>
                    </a:lnTo>
                    <a:lnTo>
                      <a:pt x="445" y="1067"/>
                    </a:lnTo>
                    <a:lnTo>
                      <a:pt x="445" y="1067"/>
                    </a:lnTo>
                    <a:lnTo>
                      <a:pt x="462" y="1076"/>
                    </a:lnTo>
                    <a:lnTo>
                      <a:pt x="482" y="1085"/>
                    </a:lnTo>
                    <a:lnTo>
                      <a:pt x="504" y="1093"/>
                    </a:lnTo>
                    <a:lnTo>
                      <a:pt x="526" y="1100"/>
                    </a:lnTo>
                    <a:lnTo>
                      <a:pt x="570" y="1112"/>
                    </a:lnTo>
                    <a:lnTo>
                      <a:pt x="602" y="1121"/>
                    </a:lnTo>
                    <a:lnTo>
                      <a:pt x="602" y="1121"/>
                    </a:lnTo>
                    <a:lnTo>
                      <a:pt x="606" y="1123"/>
                    </a:lnTo>
                    <a:lnTo>
                      <a:pt x="610" y="1125"/>
                    </a:lnTo>
                    <a:lnTo>
                      <a:pt x="614" y="1128"/>
                    </a:lnTo>
                    <a:lnTo>
                      <a:pt x="617" y="1131"/>
                    </a:lnTo>
                    <a:lnTo>
                      <a:pt x="620" y="1135"/>
                    </a:lnTo>
                    <a:lnTo>
                      <a:pt x="621" y="1139"/>
                    </a:lnTo>
                    <a:lnTo>
                      <a:pt x="623" y="1144"/>
                    </a:lnTo>
                    <a:lnTo>
                      <a:pt x="623" y="1148"/>
                    </a:lnTo>
                    <a:lnTo>
                      <a:pt x="623" y="130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55" name="Freeform 17">
                <a:extLst>
                  <a:ext uri="{FF2B5EF4-FFF2-40B4-BE49-F238E27FC236}">
                    <a16:creationId xmlns:a16="http://schemas.microsoft.com/office/drawing/2014/main" id="{C5DEF441-1DBB-1D6E-40CE-4B080BFCC686}"/>
                  </a:ext>
                </a:extLst>
              </p:cNvPr>
              <p:cNvSpPr>
                <a:spLocks noEditPoints="1"/>
              </p:cNvSpPr>
              <p:nvPr/>
            </p:nvSpPr>
            <p:spPr bwMode="auto">
              <a:xfrm>
                <a:off x="4221163" y="4073526"/>
                <a:ext cx="150813" cy="150813"/>
              </a:xfrm>
              <a:custGeom>
                <a:avLst/>
                <a:gdLst>
                  <a:gd name="T0" fmla="*/ 255 w 568"/>
                  <a:gd name="T1" fmla="*/ 565 h 567"/>
                  <a:gd name="T2" fmla="*/ 200 w 568"/>
                  <a:gd name="T3" fmla="*/ 554 h 567"/>
                  <a:gd name="T4" fmla="*/ 149 w 568"/>
                  <a:gd name="T5" fmla="*/ 533 h 567"/>
                  <a:gd name="T6" fmla="*/ 104 w 568"/>
                  <a:gd name="T7" fmla="*/ 502 h 567"/>
                  <a:gd name="T8" fmla="*/ 66 w 568"/>
                  <a:gd name="T9" fmla="*/ 464 h 567"/>
                  <a:gd name="T10" fmla="*/ 34 w 568"/>
                  <a:gd name="T11" fmla="*/ 418 h 567"/>
                  <a:gd name="T12" fmla="*/ 13 w 568"/>
                  <a:gd name="T13" fmla="*/ 368 h 567"/>
                  <a:gd name="T14" fmla="*/ 2 w 568"/>
                  <a:gd name="T15" fmla="*/ 312 h 567"/>
                  <a:gd name="T16" fmla="*/ 1 w 568"/>
                  <a:gd name="T17" fmla="*/ 269 h 567"/>
                  <a:gd name="T18" fmla="*/ 9 w 568"/>
                  <a:gd name="T19" fmla="*/ 212 h 567"/>
                  <a:gd name="T20" fmla="*/ 28 w 568"/>
                  <a:gd name="T21" fmla="*/ 161 h 567"/>
                  <a:gd name="T22" fmla="*/ 57 w 568"/>
                  <a:gd name="T23" fmla="*/ 113 h 567"/>
                  <a:gd name="T24" fmla="*/ 94 w 568"/>
                  <a:gd name="T25" fmla="*/ 74 h 567"/>
                  <a:gd name="T26" fmla="*/ 137 w 568"/>
                  <a:gd name="T27" fmla="*/ 41 h 567"/>
                  <a:gd name="T28" fmla="*/ 187 w 568"/>
                  <a:gd name="T29" fmla="*/ 17 h 567"/>
                  <a:gd name="T30" fmla="*/ 240 w 568"/>
                  <a:gd name="T31" fmla="*/ 3 h 567"/>
                  <a:gd name="T32" fmla="*/ 284 w 568"/>
                  <a:gd name="T33" fmla="*/ 0 h 567"/>
                  <a:gd name="T34" fmla="*/ 341 w 568"/>
                  <a:gd name="T35" fmla="*/ 5 h 567"/>
                  <a:gd name="T36" fmla="*/ 394 w 568"/>
                  <a:gd name="T37" fmla="*/ 22 h 567"/>
                  <a:gd name="T38" fmla="*/ 442 w 568"/>
                  <a:gd name="T39" fmla="*/ 49 h 567"/>
                  <a:gd name="T40" fmla="*/ 484 w 568"/>
                  <a:gd name="T41" fmla="*/ 83 h 567"/>
                  <a:gd name="T42" fmla="*/ 519 w 568"/>
                  <a:gd name="T43" fmla="*/ 124 h 567"/>
                  <a:gd name="T44" fmla="*/ 545 w 568"/>
                  <a:gd name="T45" fmla="*/ 173 h 567"/>
                  <a:gd name="T46" fmla="*/ 562 w 568"/>
                  <a:gd name="T47" fmla="*/ 227 h 567"/>
                  <a:gd name="T48" fmla="*/ 568 w 568"/>
                  <a:gd name="T49" fmla="*/ 283 h 567"/>
                  <a:gd name="T50" fmla="*/ 564 w 568"/>
                  <a:gd name="T51" fmla="*/ 327 h 567"/>
                  <a:gd name="T52" fmla="*/ 551 w 568"/>
                  <a:gd name="T53" fmla="*/ 381 h 567"/>
                  <a:gd name="T54" fmla="*/ 526 w 568"/>
                  <a:gd name="T55" fmla="*/ 431 h 567"/>
                  <a:gd name="T56" fmla="*/ 494 w 568"/>
                  <a:gd name="T57" fmla="*/ 474 h 567"/>
                  <a:gd name="T58" fmla="*/ 454 w 568"/>
                  <a:gd name="T59" fmla="*/ 510 h 567"/>
                  <a:gd name="T60" fmla="*/ 407 w 568"/>
                  <a:gd name="T61" fmla="*/ 539 h 567"/>
                  <a:gd name="T62" fmla="*/ 355 w 568"/>
                  <a:gd name="T63" fmla="*/ 558 h 567"/>
                  <a:gd name="T64" fmla="*/ 299 w 568"/>
                  <a:gd name="T65" fmla="*/ 566 h 567"/>
                  <a:gd name="T66" fmla="*/ 284 w 568"/>
                  <a:gd name="T67" fmla="*/ 57 h 567"/>
                  <a:gd name="T68" fmla="*/ 196 w 568"/>
                  <a:gd name="T69" fmla="*/ 74 h 567"/>
                  <a:gd name="T70" fmla="*/ 123 w 568"/>
                  <a:gd name="T71" fmla="*/ 123 h 567"/>
                  <a:gd name="T72" fmla="*/ 75 w 568"/>
                  <a:gd name="T73" fmla="*/ 195 h 567"/>
                  <a:gd name="T74" fmla="*/ 58 w 568"/>
                  <a:gd name="T75" fmla="*/ 283 h 567"/>
                  <a:gd name="T76" fmla="*/ 68 w 568"/>
                  <a:gd name="T77" fmla="*/ 351 h 567"/>
                  <a:gd name="T78" fmla="*/ 109 w 568"/>
                  <a:gd name="T79" fmla="*/ 428 h 567"/>
                  <a:gd name="T80" fmla="*/ 176 w 568"/>
                  <a:gd name="T81" fmla="*/ 483 h 567"/>
                  <a:gd name="T82" fmla="*/ 261 w 568"/>
                  <a:gd name="T83" fmla="*/ 509 h 567"/>
                  <a:gd name="T84" fmla="*/ 329 w 568"/>
                  <a:gd name="T85" fmla="*/ 505 h 567"/>
                  <a:gd name="T86" fmla="*/ 411 w 568"/>
                  <a:gd name="T87" fmla="*/ 471 h 567"/>
                  <a:gd name="T88" fmla="*/ 472 w 568"/>
                  <a:gd name="T89" fmla="*/ 410 h 567"/>
                  <a:gd name="T90" fmla="*/ 506 w 568"/>
                  <a:gd name="T91" fmla="*/ 329 h 567"/>
                  <a:gd name="T92" fmla="*/ 509 w 568"/>
                  <a:gd name="T93" fmla="*/ 260 h 567"/>
                  <a:gd name="T94" fmla="*/ 483 w 568"/>
                  <a:gd name="T95" fmla="*/ 175 h 567"/>
                  <a:gd name="T96" fmla="*/ 428 w 568"/>
                  <a:gd name="T97" fmla="*/ 108 h 567"/>
                  <a:gd name="T98" fmla="*/ 352 w 568"/>
                  <a:gd name="T99" fmla="*/ 67 h 567"/>
                  <a:gd name="T100" fmla="*/ 284 w 568"/>
                  <a:gd name="T101" fmla="*/ 57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8" h="567">
                    <a:moveTo>
                      <a:pt x="284" y="567"/>
                    </a:moveTo>
                    <a:lnTo>
                      <a:pt x="284" y="567"/>
                    </a:lnTo>
                    <a:lnTo>
                      <a:pt x="270" y="566"/>
                    </a:lnTo>
                    <a:lnTo>
                      <a:pt x="255" y="565"/>
                    </a:lnTo>
                    <a:lnTo>
                      <a:pt x="240" y="564"/>
                    </a:lnTo>
                    <a:lnTo>
                      <a:pt x="227" y="561"/>
                    </a:lnTo>
                    <a:lnTo>
                      <a:pt x="213" y="558"/>
                    </a:lnTo>
                    <a:lnTo>
                      <a:pt x="200" y="554"/>
                    </a:lnTo>
                    <a:lnTo>
                      <a:pt x="187" y="550"/>
                    </a:lnTo>
                    <a:lnTo>
                      <a:pt x="174" y="545"/>
                    </a:lnTo>
                    <a:lnTo>
                      <a:pt x="162" y="539"/>
                    </a:lnTo>
                    <a:lnTo>
                      <a:pt x="149" y="533"/>
                    </a:lnTo>
                    <a:lnTo>
                      <a:pt x="137" y="526"/>
                    </a:lnTo>
                    <a:lnTo>
                      <a:pt x="125" y="518"/>
                    </a:lnTo>
                    <a:lnTo>
                      <a:pt x="114" y="510"/>
                    </a:lnTo>
                    <a:lnTo>
                      <a:pt x="104" y="502"/>
                    </a:lnTo>
                    <a:lnTo>
                      <a:pt x="94" y="493"/>
                    </a:lnTo>
                    <a:lnTo>
                      <a:pt x="84" y="484"/>
                    </a:lnTo>
                    <a:lnTo>
                      <a:pt x="74" y="474"/>
                    </a:lnTo>
                    <a:lnTo>
                      <a:pt x="66" y="464"/>
                    </a:lnTo>
                    <a:lnTo>
                      <a:pt x="57" y="453"/>
                    </a:lnTo>
                    <a:lnTo>
                      <a:pt x="49" y="442"/>
                    </a:lnTo>
                    <a:lnTo>
                      <a:pt x="41" y="431"/>
                    </a:lnTo>
                    <a:lnTo>
                      <a:pt x="34" y="418"/>
                    </a:lnTo>
                    <a:lnTo>
                      <a:pt x="28" y="406"/>
                    </a:lnTo>
                    <a:lnTo>
                      <a:pt x="23" y="393"/>
                    </a:lnTo>
                    <a:lnTo>
                      <a:pt x="18" y="381"/>
                    </a:lnTo>
                    <a:lnTo>
                      <a:pt x="13" y="368"/>
                    </a:lnTo>
                    <a:lnTo>
                      <a:pt x="9" y="354"/>
                    </a:lnTo>
                    <a:lnTo>
                      <a:pt x="6" y="341"/>
                    </a:lnTo>
                    <a:lnTo>
                      <a:pt x="4" y="327"/>
                    </a:lnTo>
                    <a:lnTo>
                      <a:pt x="2" y="312"/>
                    </a:lnTo>
                    <a:lnTo>
                      <a:pt x="1" y="298"/>
                    </a:lnTo>
                    <a:lnTo>
                      <a:pt x="0" y="283"/>
                    </a:lnTo>
                    <a:lnTo>
                      <a:pt x="0" y="283"/>
                    </a:lnTo>
                    <a:lnTo>
                      <a:pt x="1" y="269"/>
                    </a:lnTo>
                    <a:lnTo>
                      <a:pt x="2" y="255"/>
                    </a:lnTo>
                    <a:lnTo>
                      <a:pt x="4" y="241"/>
                    </a:lnTo>
                    <a:lnTo>
                      <a:pt x="6" y="227"/>
                    </a:lnTo>
                    <a:lnTo>
                      <a:pt x="9" y="212"/>
                    </a:lnTo>
                    <a:lnTo>
                      <a:pt x="13" y="199"/>
                    </a:lnTo>
                    <a:lnTo>
                      <a:pt x="18" y="186"/>
                    </a:lnTo>
                    <a:lnTo>
                      <a:pt x="23" y="173"/>
                    </a:lnTo>
                    <a:lnTo>
                      <a:pt x="28" y="161"/>
                    </a:lnTo>
                    <a:lnTo>
                      <a:pt x="34" y="149"/>
                    </a:lnTo>
                    <a:lnTo>
                      <a:pt x="41" y="137"/>
                    </a:lnTo>
                    <a:lnTo>
                      <a:pt x="49" y="124"/>
                    </a:lnTo>
                    <a:lnTo>
                      <a:pt x="57" y="113"/>
                    </a:lnTo>
                    <a:lnTo>
                      <a:pt x="66" y="103"/>
                    </a:lnTo>
                    <a:lnTo>
                      <a:pt x="74" y="93"/>
                    </a:lnTo>
                    <a:lnTo>
                      <a:pt x="84" y="83"/>
                    </a:lnTo>
                    <a:lnTo>
                      <a:pt x="94" y="74"/>
                    </a:lnTo>
                    <a:lnTo>
                      <a:pt x="104" y="65"/>
                    </a:lnTo>
                    <a:lnTo>
                      <a:pt x="114" y="56"/>
                    </a:lnTo>
                    <a:lnTo>
                      <a:pt x="125" y="49"/>
                    </a:lnTo>
                    <a:lnTo>
                      <a:pt x="137" y="41"/>
                    </a:lnTo>
                    <a:lnTo>
                      <a:pt x="149" y="34"/>
                    </a:lnTo>
                    <a:lnTo>
                      <a:pt x="162" y="28"/>
                    </a:lnTo>
                    <a:lnTo>
                      <a:pt x="174" y="22"/>
                    </a:lnTo>
                    <a:lnTo>
                      <a:pt x="187" y="17"/>
                    </a:lnTo>
                    <a:lnTo>
                      <a:pt x="200" y="12"/>
                    </a:lnTo>
                    <a:lnTo>
                      <a:pt x="213" y="8"/>
                    </a:lnTo>
                    <a:lnTo>
                      <a:pt x="227" y="5"/>
                    </a:lnTo>
                    <a:lnTo>
                      <a:pt x="240" y="3"/>
                    </a:lnTo>
                    <a:lnTo>
                      <a:pt x="255" y="1"/>
                    </a:lnTo>
                    <a:lnTo>
                      <a:pt x="270" y="0"/>
                    </a:lnTo>
                    <a:lnTo>
                      <a:pt x="284" y="0"/>
                    </a:lnTo>
                    <a:lnTo>
                      <a:pt x="284" y="0"/>
                    </a:lnTo>
                    <a:lnTo>
                      <a:pt x="299" y="0"/>
                    </a:lnTo>
                    <a:lnTo>
                      <a:pt x="313" y="1"/>
                    </a:lnTo>
                    <a:lnTo>
                      <a:pt x="327" y="3"/>
                    </a:lnTo>
                    <a:lnTo>
                      <a:pt x="341" y="5"/>
                    </a:lnTo>
                    <a:lnTo>
                      <a:pt x="355" y="8"/>
                    </a:lnTo>
                    <a:lnTo>
                      <a:pt x="368" y="12"/>
                    </a:lnTo>
                    <a:lnTo>
                      <a:pt x="381" y="17"/>
                    </a:lnTo>
                    <a:lnTo>
                      <a:pt x="394" y="22"/>
                    </a:lnTo>
                    <a:lnTo>
                      <a:pt x="407" y="28"/>
                    </a:lnTo>
                    <a:lnTo>
                      <a:pt x="419" y="34"/>
                    </a:lnTo>
                    <a:lnTo>
                      <a:pt x="430" y="41"/>
                    </a:lnTo>
                    <a:lnTo>
                      <a:pt x="442" y="49"/>
                    </a:lnTo>
                    <a:lnTo>
                      <a:pt x="454" y="56"/>
                    </a:lnTo>
                    <a:lnTo>
                      <a:pt x="464" y="65"/>
                    </a:lnTo>
                    <a:lnTo>
                      <a:pt x="475" y="74"/>
                    </a:lnTo>
                    <a:lnTo>
                      <a:pt x="484" y="83"/>
                    </a:lnTo>
                    <a:lnTo>
                      <a:pt x="494" y="93"/>
                    </a:lnTo>
                    <a:lnTo>
                      <a:pt x="503" y="103"/>
                    </a:lnTo>
                    <a:lnTo>
                      <a:pt x="511" y="113"/>
                    </a:lnTo>
                    <a:lnTo>
                      <a:pt x="519" y="124"/>
                    </a:lnTo>
                    <a:lnTo>
                      <a:pt x="526" y="137"/>
                    </a:lnTo>
                    <a:lnTo>
                      <a:pt x="533" y="149"/>
                    </a:lnTo>
                    <a:lnTo>
                      <a:pt x="539" y="161"/>
                    </a:lnTo>
                    <a:lnTo>
                      <a:pt x="545" y="173"/>
                    </a:lnTo>
                    <a:lnTo>
                      <a:pt x="551" y="186"/>
                    </a:lnTo>
                    <a:lnTo>
                      <a:pt x="555" y="199"/>
                    </a:lnTo>
                    <a:lnTo>
                      <a:pt x="559" y="212"/>
                    </a:lnTo>
                    <a:lnTo>
                      <a:pt x="562" y="227"/>
                    </a:lnTo>
                    <a:lnTo>
                      <a:pt x="564" y="241"/>
                    </a:lnTo>
                    <a:lnTo>
                      <a:pt x="566" y="255"/>
                    </a:lnTo>
                    <a:lnTo>
                      <a:pt x="567" y="269"/>
                    </a:lnTo>
                    <a:lnTo>
                      <a:pt x="568" y="283"/>
                    </a:lnTo>
                    <a:lnTo>
                      <a:pt x="568" y="283"/>
                    </a:lnTo>
                    <a:lnTo>
                      <a:pt x="567" y="298"/>
                    </a:lnTo>
                    <a:lnTo>
                      <a:pt x="566" y="312"/>
                    </a:lnTo>
                    <a:lnTo>
                      <a:pt x="564" y="327"/>
                    </a:lnTo>
                    <a:lnTo>
                      <a:pt x="562" y="341"/>
                    </a:lnTo>
                    <a:lnTo>
                      <a:pt x="559" y="354"/>
                    </a:lnTo>
                    <a:lnTo>
                      <a:pt x="555" y="368"/>
                    </a:lnTo>
                    <a:lnTo>
                      <a:pt x="551" y="381"/>
                    </a:lnTo>
                    <a:lnTo>
                      <a:pt x="545" y="393"/>
                    </a:lnTo>
                    <a:lnTo>
                      <a:pt x="539" y="406"/>
                    </a:lnTo>
                    <a:lnTo>
                      <a:pt x="533" y="418"/>
                    </a:lnTo>
                    <a:lnTo>
                      <a:pt x="526" y="431"/>
                    </a:lnTo>
                    <a:lnTo>
                      <a:pt x="519" y="442"/>
                    </a:lnTo>
                    <a:lnTo>
                      <a:pt x="511" y="453"/>
                    </a:lnTo>
                    <a:lnTo>
                      <a:pt x="503" y="464"/>
                    </a:lnTo>
                    <a:lnTo>
                      <a:pt x="494" y="474"/>
                    </a:lnTo>
                    <a:lnTo>
                      <a:pt x="484" y="484"/>
                    </a:lnTo>
                    <a:lnTo>
                      <a:pt x="475" y="493"/>
                    </a:lnTo>
                    <a:lnTo>
                      <a:pt x="464" y="502"/>
                    </a:lnTo>
                    <a:lnTo>
                      <a:pt x="454" y="510"/>
                    </a:lnTo>
                    <a:lnTo>
                      <a:pt x="442" y="518"/>
                    </a:lnTo>
                    <a:lnTo>
                      <a:pt x="430" y="526"/>
                    </a:lnTo>
                    <a:lnTo>
                      <a:pt x="419" y="533"/>
                    </a:lnTo>
                    <a:lnTo>
                      <a:pt x="407" y="539"/>
                    </a:lnTo>
                    <a:lnTo>
                      <a:pt x="394" y="545"/>
                    </a:lnTo>
                    <a:lnTo>
                      <a:pt x="381" y="550"/>
                    </a:lnTo>
                    <a:lnTo>
                      <a:pt x="368" y="554"/>
                    </a:lnTo>
                    <a:lnTo>
                      <a:pt x="355" y="558"/>
                    </a:lnTo>
                    <a:lnTo>
                      <a:pt x="341" y="561"/>
                    </a:lnTo>
                    <a:lnTo>
                      <a:pt x="327" y="564"/>
                    </a:lnTo>
                    <a:lnTo>
                      <a:pt x="313" y="565"/>
                    </a:lnTo>
                    <a:lnTo>
                      <a:pt x="299" y="566"/>
                    </a:lnTo>
                    <a:lnTo>
                      <a:pt x="284" y="567"/>
                    </a:lnTo>
                    <a:lnTo>
                      <a:pt x="284" y="567"/>
                    </a:lnTo>
                    <a:close/>
                    <a:moveTo>
                      <a:pt x="284" y="57"/>
                    </a:moveTo>
                    <a:lnTo>
                      <a:pt x="284" y="57"/>
                    </a:lnTo>
                    <a:lnTo>
                      <a:pt x="261" y="58"/>
                    </a:lnTo>
                    <a:lnTo>
                      <a:pt x="238" y="61"/>
                    </a:lnTo>
                    <a:lnTo>
                      <a:pt x="216" y="67"/>
                    </a:lnTo>
                    <a:lnTo>
                      <a:pt x="196" y="74"/>
                    </a:lnTo>
                    <a:lnTo>
                      <a:pt x="176" y="84"/>
                    </a:lnTo>
                    <a:lnTo>
                      <a:pt x="158" y="95"/>
                    </a:lnTo>
                    <a:lnTo>
                      <a:pt x="139" y="108"/>
                    </a:lnTo>
                    <a:lnTo>
                      <a:pt x="123" y="123"/>
                    </a:lnTo>
                    <a:lnTo>
                      <a:pt x="109" y="139"/>
                    </a:lnTo>
                    <a:lnTo>
                      <a:pt x="96" y="157"/>
                    </a:lnTo>
                    <a:lnTo>
                      <a:pt x="85" y="175"/>
                    </a:lnTo>
                    <a:lnTo>
                      <a:pt x="75" y="195"/>
                    </a:lnTo>
                    <a:lnTo>
                      <a:pt x="68" y="216"/>
                    </a:lnTo>
                    <a:lnTo>
                      <a:pt x="62" y="238"/>
                    </a:lnTo>
                    <a:lnTo>
                      <a:pt x="59" y="260"/>
                    </a:lnTo>
                    <a:lnTo>
                      <a:pt x="58" y="283"/>
                    </a:lnTo>
                    <a:lnTo>
                      <a:pt x="58" y="283"/>
                    </a:lnTo>
                    <a:lnTo>
                      <a:pt x="59" y="306"/>
                    </a:lnTo>
                    <a:lnTo>
                      <a:pt x="62" y="329"/>
                    </a:lnTo>
                    <a:lnTo>
                      <a:pt x="68" y="351"/>
                    </a:lnTo>
                    <a:lnTo>
                      <a:pt x="75" y="371"/>
                    </a:lnTo>
                    <a:lnTo>
                      <a:pt x="85" y="391"/>
                    </a:lnTo>
                    <a:lnTo>
                      <a:pt x="96" y="410"/>
                    </a:lnTo>
                    <a:lnTo>
                      <a:pt x="109" y="428"/>
                    </a:lnTo>
                    <a:lnTo>
                      <a:pt x="123" y="444"/>
                    </a:lnTo>
                    <a:lnTo>
                      <a:pt x="139" y="458"/>
                    </a:lnTo>
                    <a:lnTo>
                      <a:pt x="158" y="471"/>
                    </a:lnTo>
                    <a:lnTo>
                      <a:pt x="176" y="483"/>
                    </a:lnTo>
                    <a:lnTo>
                      <a:pt x="196" y="492"/>
                    </a:lnTo>
                    <a:lnTo>
                      <a:pt x="216" y="500"/>
                    </a:lnTo>
                    <a:lnTo>
                      <a:pt x="238" y="505"/>
                    </a:lnTo>
                    <a:lnTo>
                      <a:pt x="261" y="509"/>
                    </a:lnTo>
                    <a:lnTo>
                      <a:pt x="284" y="510"/>
                    </a:lnTo>
                    <a:lnTo>
                      <a:pt x="284" y="510"/>
                    </a:lnTo>
                    <a:lnTo>
                      <a:pt x="307" y="509"/>
                    </a:lnTo>
                    <a:lnTo>
                      <a:pt x="329" y="505"/>
                    </a:lnTo>
                    <a:lnTo>
                      <a:pt x="352" y="500"/>
                    </a:lnTo>
                    <a:lnTo>
                      <a:pt x="372" y="492"/>
                    </a:lnTo>
                    <a:lnTo>
                      <a:pt x="392" y="483"/>
                    </a:lnTo>
                    <a:lnTo>
                      <a:pt x="411" y="471"/>
                    </a:lnTo>
                    <a:lnTo>
                      <a:pt x="428" y="458"/>
                    </a:lnTo>
                    <a:lnTo>
                      <a:pt x="444" y="444"/>
                    </a:lnTo>
                    <a:lnTo>
                      <a:pt x="459" y="428"/>
                    </a:lnTo>
                    <a:lnTo>
                      <a:pt x="472" y="410"/>
                    </a:lnTo>
                    <a:lnTo>
                      <a:pt x="483" y="391"/>
                    </a:lnTo>
                    <a:lnTo>
                      <a:pt x="493" y="371"/>
                    </a:lnTo>
                    <a:lnTo>
                      <a:pt x="500" y="351"/>
                    </a:lnTo>
                    <a:lnTo>
                      <a:pt x="506" y="329"/>
                    </a:lnTo>
                    <a:lnTo>
                      <a:pt x="509" y="306"/>
                    </a:lnTo>
                    <a:lnTo>
                      <a:pt x="511" y="283"/>
                    </a:lnTo>
                    <a:lnTo>
                      <a:pt x="511" y="283"/>
                    </a:lnTo>
                    <a:lnTo>
                      <a:pt x="509" y="260"/>
                    </a:lnTo>
                    <a:lnTo>
                      <a:pt x="506" y="238"/>
                    </a:lnTo>
                    <a:lnTo>
                      <a:pt x="500" y="216"/>
                    </a:lnTo>
                    <a:lnTo>
                      <a:pt x="493" y="195"/>
                    </a:lnTo>
                    <a:lnTo>
                      <a:pt x="483" y="175"/>
                    </a:lnTo>
                    <a:lnTo>
                      <a:pt x="472" y="157"/>
                    </a:lnTo>
                    <a:lnTo>
                      <a:pt x="459" y="139"/>
                    </a:lnTo>
                    <a:lnTo>
                      <a:pt x="444" y="123"/>
                    </a:lnTo>
                    <a:lnTo>
                      <a:pt x="428" y="108"/>
                    </a:lnTo>
                    <a:lnTo>
                      <a:pt x="411" y="95"/>
                    </a:lnTo>
                    <a:lnTo>
                      <a:pt x="392" y="84"/>
                    </a:lnTo>
                    <a:lnTo>
                      <a:pt x="372" y="74"/>
                    </a:lnTo>
                    <a:lnTo>
                      <a:pt x="352" y="67"/>
                    </a:lnTo>
                    <a:lnTo>
                      <a:pt x="329" y="61"/>
                    </a:lnTo>
                    <a:lnTo>
                      <a:pt x="307" y="58"/>
                    </a:lnTo>
                    <a:lnTo>
                      <a:pt x="284" y="57"/>
                    </a:lnTo>
                    <a:lnTo>
                      <a:pt x="284" y="5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grpSp>
        <p:nvGrpSpPr>
          <p:cNvPr id="159" name="Group 158">
            <a:extLst>
              <a:ext uri="{FF2B5EF4-FFF2-40B4-BE49-F238E27FC236}">
                <a16:creationId xmlns:a16="http://schemas.microsoft.com/office/drawing/2014/main" id="{4A323E98-29EC-A36B-97D3-2732F395CEAE}"/>
              </a:ext>
            </a:extLst>
          </p:cNvPr>
          <p:cNvGrpSpPr/>
          <p:nvPr/>
        </p:nvGrpSpPr>
        <p:grpSpPr>
          <a:xfrm>
            <a:off x="4957180" y="4706418"/>
            <a:ext cx="437865" cy="447638"/>
            <a:chOff x="4854575" y="2884488"/>
            <a:chExt cx="355601" cy="363538"/>
          </a:xfrm>
          <a:solidFill>
            <a:schemeClr val="bg1"/>
          </a:solidFill>
        </p:grpSpPr>
        <p:sp>
          <p:nvSpPr>
            <p:cNvPr id="160" name="Freeform 10">
              <a:extLst>
                <a:ext uri="{FF2B5EF4-FFF2-40B4-BE49-F238E27FC236}">
                  <a16:creationId xmlns:a16="http://schemas.microsoft.com/office/drawing/2014/main" id="{E991DD92-6285-52D2-5567-23BD1F9449C5}"/>
                </a:ext>
              </a:extLst>
            </p:cNvPr>
            <p:cNvSpPr>
              <a:spLocks/>
            </p:cNvSpPr>
            <p:nvPr/>
          </p:nvSpPr>
          <p:spPr bwMode="auto">
            <a:xfrm>
              <a:off x="4854575" y="2884488"/>
              <a:ext cx="257175" cy="333375"/>
            </a:xfrm>
            <a:custGeom>
              <a:avLst/>
              <a:gdLst>
                <a:gd name="T0" fmla="*/ 114 w 972"/>
                <a:gd name="T1" fmla="*/ 1258 h 1258"/>
                <a:gd name="T2" fmla="*/ 103 w 972"/>
                <a:gd name="T3" fmla="*/ 1258 h 1258"/>
                <a:gd name="T4" fmla="*/ 81 w 972"/>
                <a:gd name="T5" fmla="*/ 1253 h 1258"/>
                <a:gd name="T6" fmla="*/ 59 w 972"/>
                <a:gd name="T7" fmla="*/ 1243 h 1258"/>
                <a:gd name="T8" fmla="*/ 41 w 972"/>
                <a:gd name="T9" fmla="*/ 1231 h 1258"/>
                <a:gd name="T10" fmla="*/ 26 w 972"/>
                <a:gd name="T11" fmla="*/ 1216 h 1258"/>
                <a:gd name="T12" fmla="*/ 14 w 972"/>
                <a:gd name="T13" fmla="*/ 1198 h 1258"/>
                <a:gd name="T14" fmla="*/ 5 w 972"/>
                <a:gd name="T15" fmla="*/ 1177 h 1258"/>
                <a:gd name="T16" fmla="*/ 1 w 972"/>
                <a:gd name="T17" fmla="*/ 1155 h 1258"/>
                <a:gd name="T18" fmla="*/ 0 w 972"/>
                <a:gd name="T19" fmla="*/ 115 h 1258"/>
                <a:gd name="T20" fmla="*/ 1 w 972"/>
                <a:gd name="T21" fmla="*/ 103 h 1258"/>
                <a:gd name="T22" fmla="*/ 5 w 972"/>
                <a:gd name="T23" fmla="*/ 81 h 1258"/>
                <a:gd name="T24" fmla="*/ 14 w 972"/>
                <a:gd name="T25" fmla="*/ 61 h 1258"/>
                <a:gd name="T26" fmla="*/ 26 w 972"/>
                <a:gd name="T27" fmla="*/ 42 h 1258"/>
                <a:gd name="T28" fmla="*/ 41 w 972"/>
                <a:gd name="T29" fmla="*/ 26 h 1258"/>
                <a:gd name="T30" fmla="*/ 59 w 972"/>
                <a:gd name="T31" fmla="*/ 14 h 1258"/>
                <a:gd name="T32" fmla="*/ 81 w 972"/>
                <a:gd name="T33" fmla="*/ 5 h 1258"/>
                <a:gd name="T34" fmla="*/ 103 w 972"/>
                <a:gd name="T35" fmla="*/ 1 h 1258"/>
                <a:gd name="T36" fmla="*/ 857 w 972"/>
                <a:gd name="T37" fmla="*/ 0 h 1258"/>
                <a:gd name="T38" fmla="*/ 870 w 972"/>
                <a:gd name="T39" fmla="*/ 1 h 1258"/>
                <a:gd name="T40" fmla="*/ 892 w 972"/>
                <a:gd name="T41" fmla="*/ 5 h 1258"/>
                <a:gd name="T42" fmla="*/ 912 w 972"/>
                <a:gd name="T43" fmla="*/ 14 h 1258"/>
                <a:gd name="T44" fmla="*/ 930 w 972"/>
                <a:gd name="T45" fmla="*/ 26 h 1258"/>
                <a:gd name="T46" fmla="*/ 946 w 972"/>
                <a:gd name="T47" fmla="*/ 42 h 1258"/>
                <a:gd name="T48" fmla="*/ 958 w 972"/>
                <a:gd name="T49" fmla="*/ 61 h 1258"/>
                <a:gd name="T50" fmla="*/ 966 w 972"/>
                <a:gd name="T51" fmla="*/ 81 h 1258"/>
                <a:gd name="T52" fmla="*/ 972 w 972"/>
                <a:gd name="T53" fmla="*/ 103 h 1258"/>
                <a:gd name="T54" fmla="*/ 972 w 972"/>
                <a:gd name="T55" fmla="*/ 887 h 1258"/>
                <a:gd name="T56" fmla="*/ 915 w 972"/>
                <a:gd name="T57" fmla="*/ 115 h 1258"/>
                <a:gd name="T58" fmla="*/ 914 w 972"/>
                <a:gd name="T59" fmla="*/ 103 h 1258"/>
                <a:gd name="T60" fmla="*/ 905 w 972"/>
                <a:gd name="T61" fmla="*/ 83 h 1258"/>
                <a:gd name="T62" fmla="*/ 890 w 972"/>
                <a:gd name="T63" fmla="*/ 68 h 1258"/>
                <a:gd name="T64" fmla="*/ 870 w 972"/>
                <a:gd name="T65" fmla="*/ 59 h 1258"/>
                <a:gd name="T66" fmla="*/ 114 w 972"/>
                <a:gd name="T67" fmla="*/ 58 h 1258"/>
                <a:gd name="T68" fmla="*/ 103 w 972"/>
                <a:gd name="T69" fmla="*/ 59 h 1258"/>
                <a:gd name="T70" fmla="*/ 83 w 972"/>
                <a:gd name="T71" fmla="*/ 68 h 1258"/>
                <a:gd name="T72" fmla="*/ 67 w 972"/>
                <a:gd name="T73" fmla="*/ 83 h 1258"/>
                <a:gd name="T74" fmla="*/ 58 w 972"/>
                <a:gd name="T75" fmla="*/ 103 h 1258"/>
                <a:gd name="T76" fmla="*/ 57 w 972"/>
                <a:gd name="T77" fmla="*/ 1144 h 1258"/>
                <a:gd name="T78" fmla="*/ 58 w 972"/>
                <a:gd name="T79" fmla="*/ 1155 h 1258"/>
                <a:gd name="T80" fmla="*/ 67 w 972"/>
                <a:gd name="T81" fmla="*/ 1175 h 1258"/>
                <a:gd name="T82" fmla="*/ 83 w 972"/>
                <a:gd name="T83" fmla="*/ 1191 h 1258"/>
                <a:gd name="T84" fmla="*/ 103 w 972"/>
                <a:gd name="T85" fmla="*/ 1199 h 1258"/>
                <a:gd name="T86" fmla="*/ 950 w 972"/>
                <a:gd name="T87" fmla="*/ 120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72" h="1258">
                  <a:moveTo>
                    <a:pt x="950" y="1258"/>
                  </a:moveTo>
                  <a:lnTo>
                    <a:pt x="114" y="1258"/>
                  </a:lnTo>
                  <a:lnTo>
                    <a:pt x="114" y="1258"/>
                  </a:lnTo>
                  <a:lnTo>
                    <a:pt x="103" y="1258"/>
                  </a:lnTo>
                  <a:lnTo>
                    <a:pt x="91" y="1256"/>
                  </a:lnTo>
                  <a:lnTo>
                    <a:pt x="81" y="1253"/>
                  </a:lnTo>
                  <a:lnTo>
                    <a:pt x="70" y="1249"/>
                  </a:lnTo>
                  <a:lnTo>
                    <a:pt x="59" y="1243"/>
                  </a:lnTo>
                  <a:lnTo>
                    <a:pt x="50" y="1238"/>
                  </a:lnTo>
                  <a:lnTo>
                    <a:pt x="41" y="1231"/>
                  </a:lnTo>
                  <a:lnTo>
                    <a:pt x="33" y="1224"/>
                  </a:lnTo>
                  <a:lnTo>
                    <a:pt x="26" y="1216"/>
                  </a:lnTo>
                  <a:lnTo>
                    <a:pt x="19" y="1207"/>
                  </a:lnTo>
                  <a:lnTo>
                    <a:pt x="14" y="1198"/>
                  </a:lnTo>
                  <a:lnTo>
                    <a:pt x="9" y="1188"/>
                  </a:lnTo>
                  <a:lnTo>
                    <a:pt x="5" y="1177"/>
                  </a:lnTo>
                  <a:lnTo>
                    <a:pt x="2" y="1167"/>
                  </a:lnTo>
                  <a:lnTo>
                    <a:pt x="1" y="1155"/>
                  </a:lnTo>
                  <a:lnTo>
                    <a:pt x="0" y="1144"/>
                  </a:lnTo>
                  <a:lnTo>
                    <a:pt x="0" y="115"/>
                  </a:lnTo>
                  <a:lnTo>
                    <a:pt x="0" y="115"/>
                  </a:lnTo>
                  <a:lnTo>
                    <a:pt x="1" y="103"/>
                  </a:lnTo>
                  <a:lnTo>
                    <a:pt x="2" y="92"/>
                  </a:lnTo>
                  <a:lnTo>
                    <a:pt x="5" y="81"/>
                  </a:lnTo>
                  <a:lnTo>
                    <a:pt x="9" y="71"/>
                  </a:lnTo>
                  <a:lnTo>
                    <a:pt x="14" y="61"/>
                  </a:lnTo>
                  <a:lnTo>
                    <a:pt x="19" y="50"/>
                  </a:lnTo>
                  <a:lnTo>
                    <a:pt x="26" y="42"/>
                  </a:lnTo>
                  <a:lnTo>
                    <a:pt x="33" y="34"/>
                  </a:lnTo>
                  <a:lnTo>
                    <a:pt x="41" y="26"/>
                  </a:lnTo>
                  <a:lnTo>
                    <a:pt x="50" y="20"/>
                  </a:lnTo>
                  <a:lnTo>
                    <a:pt x="59" y="14"/>
                  </a:lnTo>
                  <a:lnTo>
                    <a:pt x="70" y="9"/>
                  </a:lnTo>
                  <a:lnTo>
                    <a:pt x="81" y="5"/>
                  </a:lnTo>
                  <a:lnTo>
                    <a:pt x="91" y="3"/>
                  </a:lnTo>
                  <a:lnTo>
                    <a:pt x="103" y="1"/>
                  </a:lnTo>
                  <a:lnTo>
                    <a:pt x="114" y="0"/>
                  </a:lnTo>
                  <a:lnTo>
                    <a:pt x="857" y="0"/>
                  </a:lnTo>
                  <a:lnTo>
                    <a:pt x="857" y="0"/>
                  </a:lnTo>
                  <a:lnTo>
                    <a:pt x="870" y="1"/>
                  </a:lnTo>
                  <a:lnTo>
                    <a:pt x="881" y="3"/>
                  </a:lnTo>
                  <a:lnTo>
                    <a:pt x="892" y="5"/>
                  </a:lnTo>
                  <a:lnTo>
                    <a:pt x="902" y="9"/>
                  </a:lnTo>
                  <a:lnTo>
                    <a:pt x="912" y="14"/>
                  </a:lnTo>
                  <a:lnTo>
                    <a:pt x="922" y="20"/>
                  </a:lnTo>
                  <a:lnTo>
                    <a:pt x="930" y="26"/>
                  </a:lnTo>
                  <a:lnTo>
                    <a:pt x="938" y="34"/>
                  </a:lnTo>
                  <a:lnTo>
                    <a:pt x="946" y="42"/>
                  </a:lnTo>
                  <a:lnTo>
                    <a:pt x="952" y="50"/>
                  </a:lnTo>
                  <a:lnTo>
                    <a:pt x="958" y="61"/>
                  </a:lnTo>
                  <a:lnTo>
                    <a:pt x="963" y="71"/>
                  </a:lnTo>
                  <a:lnTo>
                    <a:pt x="966" y="81"/>
                  </a:lnTo>
                  <a:lnTo>
                    <a:pt x="970" y="92"/>
                  </a:lnTo>
                  <a:lnTo>
                    <a:pt x="972" y="103"/>
                  </a:lnTo>
                  <a:lnTo>
                    <a:pt x="972" y="115"/>
                  </a:lnTo>
                  <a:lnTo>
                    <a:pt x="972" y="887"/>
                  </a:lnTo>
                  <a:lnTo>
                    <a:pt x="915" y="887"/>
                  </a:lnTo>
                  <a:lnTo>
                    <a:pt x="915" y="115"/>
                  </a:lnTo>
                  <a:lnTo>
                    <a:pt x="915" y="115"/>
                  </a:lnTo>
                  <a:lnTo>
                    <a:pt x="914" y="103"/>
                  </a:lnTo>
                  <a:lnTo>
                    <a:pt x="910" y="93"/>
                  </a:lnTo>
                  <a:lnTo>
                    <a:pt x="905" y="83"/>
                  </a:lnTo>
                  <a:lnTo>
                    <a:pt x="898" y="75"/>
                  </a:lnTo>
                  <a:lnTo>
                    <a:pt x="890" y="68"/>
                  </a:lnTo>
                  <a:lnTo>
                    <a:pt x="880" y="62"/>
                  </a:lnTo>
                  <a:lnTo>
                    <a:pt x="870" y="59"/>
                  </a:lnTo>
                  <a:lnTo>
                    <a:pt x="857" y="58"/>
                  </a:lnTo>
                  <a:lnTo>
                    <a:pt x="114" y="58"/>
                  </a:lnTo>
                  <a:lnTo>
                    <a:pt x="114" y="58"/>
                  </a:lnTo>
                  <a:lnTo>
                    <a:pt x="103" y="59"/>
                  </a:lnTo>
                  <a:lnTo>
                    <a:pt x="92" y="62"/>
                  </a:lnTo>
                  <a:lnTo>
                    <a:pt x="83" y="68"/>
                  </a:lnTo>
                  <a:lnTo>
                    <a:pt x="74" y="75"/>
                  </a:lnTo>
                  <a:lnTo>
                    <a:pt x="67" y="83"/>
                  </a:lnTo>
                  <a:lnTo>
                    <a:pt x="61" y="93"/>
                  </a:lnTo>
                  <a:lnTo>
                    <a:pt x="58" y="103"/>
                  </a:lnTo>
                  <a:lnTo>
                    <a:pt x="57" y="115"/>
                  </a:lnTo>
                  <a:lnTo>
                    <a:pt x="57" y="1144"/>
                  </a:lnTo>
                  <a:lnTo>
                    <a:pt x="57" y="1144"/>
                  </a:lnTo>
                  <a:lnTo>
                    <a:pt x="58" y="1155"/>
                  </a:lnTo>
                  <a:lnTo>
                    <a:pt x="61" y="1166"/>
                  </a:lnTo>
                  <a:lnTo>
                    <a:pt x="67" y="1175"/>
                  </a:lnTo>
                  <a:lnTo>
                    <a:pt x="74" y="1184"/>
                  </a:lnTo>
                  <a:lnTo>
                    <a:pt x="83" y="1191"/>
                  </a:lnTo>
                  <a:lnTo>
                    <a:pt x="92" y="1196"/>
                  </a:lnTo>
                  <a:lnTo>
                    <a:pt x="103" y="1199"/>
                  </a:lnTo>
                  <a:lnTo>
                    <a:pt x="114" y="1201"/>
                  </a:lnTo>
                  <a:lnTo>
                    <a:pt x="950" y="1201"/>
                  </a:lnTo>
                  <a:lnTo>
                    <a:pt x="950" y="12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61" name="Freeform 11">
              <a:extLst>
                <a:ext uri="{FF2B5EF4-FFF2-40B4-BE49-F238E27FC236}">
                  <a16:creationId xmlns:a16="http://schemas.microsoft.com/office/drawing/2014/main" id="{AC796DC6-3742-1D11-1469-93D1E143E301}"/>
                </a:ext>
              </a:extLst>
            </p:cNvPr>
            <p:cNvSpPr>
              <a:spLocks/>
            </p:cNvSpPr>
            <p:nvPr/>
          </p:nvSpPr>
          <p:spPr bwMode="auto">
            <a:xfrm>
              <a:off x="4886325" y="2914651"/>
              <a:ext cx="203200" cy="242888"/>
            </a:xfrm>
            <a:custGeom>
              <a:avLst/>
              <a:gdLst>
                <a:gd name="T0" fmla="*/ 29 w 769"/>
                <a:gd name="T1" fmla="*/ 915 h 915"/>
                <a:gd name="T2" fmla="*/ 23 w 769"/>
                <a:gd name="T3" fmla="*/ 913 h 915"/>
                <a:gd name="T4" fmla="*/ 13 w 769"/>
                <a:gd name="T5" fmla="*/ 909 h 915"/>
                <a:gd name="T6" fmla="*/ 5 w 769"/>
                <a:gd name="T7" fmla="*/ 901 h 915"/>
                <a:gd name="T8" fmla="*/ 1 w 769"/>
                <a:gd name="T9" fmla="*/ 891 h 915"/>
                <a:gd name="T10" fmla="*/ 0 w 769"/>
                <a:gd name="T11" fmla="*/ 28 h 915"/>
                <a:gd name="T12" fmla="*/ 1 w 769"/>
                <a:gd name="T13" fmla="*/ 22 h 915"/>
                <a:gd name="T14" fmla="*/ 5 w 769"/>
                <a:gd name="T15" fmla="*/ 12 h 915"/>
                <a:gd name="T16" fmla="*/ 13 w 769"/>
                <a:gd name="T17" fmla="*/ 4 h 915"/>
                <a:gd name="T18" fmla="*/ 23 w 769"/>
                <a:gd name="T19" fmla="*/ 0 h 915"/>
                <a:gd name="T20" fmla="*/ 715 w 769"/>
                <a:gd name="T21" fmla="*/ 0 h 915"/>
                <a:gd name="T22" fmla="*/ 721 w 769"/>
                <a:gd name="T23" fmla="*/ 0 h 915"/>
                <a:gd name="T24" fmla="*/ 731 w 769"/>
                <a:gd name="T25" fmla="*/ 4 h 915"/>
                <a:gd name="T26" fmla="*/ 738 w 769"/>
                <a:gd name="T27" fmla="*/ 12 h 915"/>
                <a:gd name="T28" fmla="*/ 743 w 769"/>
                <a:gd name="T29" fmla="*/ 22 h 915"/>
                <a:gd name="T30" fmla="*/ 743 w 769"/>
                <a:gd name="T31" fmla="*/ 681 h 915"/>
                <a:gd name="T32" fmla="*/ 743 w 769"/>
                <a:gd name="T33" fmla="*/ 687 h 915"/>
                <a:gd name="T34" fmla="*/ 738 w 769"/>
                <a:gd name="T35" fmla="*/ 698 h 915"/>
                <a:gd name="T36" fmla="*/ 731 w 769"/>
                <a:gd name="T37" fmla="*/ 706 h 915"/>
                <a:gd name="T38" fmla="*/ 721 w 769"/>
                <a:gd name="T39" fmla="*/ 710 h 915"/>
                <a:gd name="T40" fmla="*/ 715 w 769"/>
                <a:gd name="T41" fmla="*/ 711 h 915"/>
                <a:gd name="T42" fmla="*/ 704 w 769"/>
                <a:gd name="T43" fmla="*/ 709 h 915"/>
                <a:gd name="T44" fmla="*/ 695 w 769"/>
                <a:gd name="T45" fmla="*/ 703 h 915"/>
                <a:gd name="T46" fmla="*/ 689 w 769"/>
                <a:gd name="T47" fmla="*/ 693 h 915"/>
                <a:gd name="T48" fmla="*/ 687 w 769"/>
                <a:gd name="T49" fmla="*/ 681 h 915"/>
                <a:gd name="T50" fmla="*/ 58 w 769"/>
                <a:gd name="T51" fmla="*/ 57 h 915"/>
                <a:gd name="T52" fmla="*/ 740 w 769"/>
                <a:gd name="T53" fmla="*/ 857 h 915"/>
                <a:gd name="T54" fmla="*/ 745 w 769"/>
                <a:gd name="T55" fmla="*/ 857 h 915"/>
                <a:gd name="T56" fmla="*/ 757 w 769"/>
                <a:gd name="T57" fmla="*/ 862 h 915"/>
                <a:gd name="T58" fmla="*/ 764 w 769"/>
                <a:gd name="T59" fmla="*/ 869 h 915"/>
                <a:gd name="T60" fmla="*/ 768 w 769"/>
                <a:gd name="T61" fmla="*/ 879 h 915"/>
                <a:gd name="T62" fmla="*/ 769 w 769"/>
                <a:gd name="T63" fmla="*/ 885 h 915"/>
                <a:gd name="T64" fmla="*/ 767 w 769"/>
                <a:gd name="T65" fmla="*/ 896 h 915"/>
                <a:gd name="T66" fmla="*/ 761 w 769"/>
                <a:gd name="T67" fmla="*/ 905 h 915"/>
                <a:gd name="T68" fmla="*/ 751 w 769"/>
                <a:gd name="T69" fmla="*/ 911 h 915"/>
                <a:gd name="T70" fmla="*/ 740 w 769"/>
                <a:gd name="T71"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9" h="915">
                  <a:moveTo>
                    <a:pt x="740" y="915"/>
                  </a:moveTo>
                  <a:lnTo>
                    <a:pt x="29" y="915"/>
                  </a:lnTo>
                  <a:lnTo>
                    <a:pt x="29" y="915"/>
                  </a:lnTo>
                  <a:lnTo>
                    <a:pt x="23" y="913"/>
                  </a:lnTo>
                  <a:lnTo>
                    <a:pt x="17" y="911"/>
                  </a:lnTo>
                  <a:lnTo>
                    <a:pt x="13" y="909"/>
                  </a:lnTo>
                  <a:lnTo>
                    <a:pt x="8" y="905"/>
                  </a:lnTo>
                  <a:lnTo>
                    <a:pt x="5" y="901"/>
                  </a:lnTo>
                  <a:lnTo>
                    <a:pt x="2" y="896"/>
                  </a:lnTo>
                  <a:lnTo>
                    <a:pt x="1" y="891"/>
                  </a:lnTo>
                  <a:lnTo>
                    <a:pt x="0" y="885"/>
                  </a:lnTo>
                  <a:lnTo>
                    <a:pt x="0" y="28"/>
                  </a:lnTo>
                  <a:lnTo>
                    <a:pt x="0" y="28"/>
                  </a:lnTo>
                  <a:lnTo>
                    <a:pt x="1" y="22"/>
                  </a:lnTo>
                  <a:lnTo>
                    <a:pt x="2" y="17"/>
                  </a:lnTo>
                  <a:lnTo>
                    <a:pt x="5" y="12"/>
                  </a:lnTo>
                  <a:lnTo>
                    <a:pt x="8" y="8"/>
                  </a:lnTo>
                  <a:lnTo>
                    <a:pt x="13" y="4"/>
                  </a:lnTo>
                  <a:lnTo>
                    <a:pt x="17" y="2"/>
                  </a:lnTo>
                  <a:lnTo>
                    <a:pt x="23" y="0"/>
                  </a:lnTo>
                  <a:lnTo>
                    <a:pt x="29" y="0"/>
                  </a:lnTo>
                  <a:lnTo>
                    <a:pt x="715" y="0"/>
                  </a:lnTo>
                  <a:lnTo>
                    <a:pt x="715" y="0"/>
                  </a:lnTo>
                  <a:lnTo>
                    <a:pt x="721" y="0"/>
                  </a:lnTo>
                  <a:lnTo>
                    <a:pt x="726" y="2"/>
                  </a:lnTo>
                  <a:lnTo>
                    <a:pt x="731" y="4"/>
                  </a:lnTo>
                  <a:lnTo>
                    <a:pt x="735" y="8"/>
                  </a:lnTo>
                  <a:lnTo>
                    <a:pt x="738" y="12"/>
                  </a:lnTo>
                  <a:lnTo>
                    <a:pt x="741" y="17"/>
                  </a:lnTo>
                  <a:lnTo>
                    <a:pt x="743" y="22"/>
                  </a:lnTo>
                  <a:lnTo>
                    <a:pt x="743" y="28"/>
                  </a:lnTo>
                  <a:lnTo>
                    <a:pt x="743" y="681"/>
                  </a:lnTo>
                  <a:lnTo>
                    <a:pt x="743" y="681"/>
                  </a:lnTo>
                  <a:lnTo>
                    <a:pt x="743" y="687"/>
                  </a:lnTo>
                  <a:lnTo>
                    <a:pt x="741" y="693"/>
                  </a:lnTo>
                  <a:lnTo>
                    <a:pt x="738" y="698"/>
                  </a:lnTo>
                  <a:lnTo>
                    <a:pt x="735" y="703"/>
                  </a:lnTo>
                  <a:lnTo>
                    <a:pt x="731" y="706"/>
                  </a:lnTo>
                  <a:lnTo>
                    <a:pt x="726" y="709"/>
                  </a:lnTo>
                  <a:lnTo>
                    <a:pt x="721" y="710"/>
                  </a:lnTo>
                  <a:lnTo>
                    <a:pt x="715" y="711"/>
                  </a:lnTo>
                  <a:lnTo>
                    <a:pt x="715" y="711"/>
                  </a:lnTo>
                  <a:lnTo>
                    <a:pt x="709" y="710"/>
                  </a:lnTo>
                  <a:lnTo>
                    <a:pt x="704" y="709"/>
                  </a:lnTo>
                  <a:lnTo>
                    <a:pt x="699" y="706"/>
                  </a:lnTo>
                  <a:lnTo>
                    <a:pt x="695" y="703"/>
                  </a:lnTo>
                  <a:lnTo>
                    <a:pt x="691" y="698"/>
                  </a:lnTo>
                  <a:lnTo>
                    <a:pt x="689" y="693"/>
                  </a:lnTo>
                  <a:lnTo>
                    <a:pt x="687" y="687"/>
                  </a:lnTo>
                  <a:lnTo>
                    <a:pt x="687" y="681"/>
                  </a:lnTo>
                  <a:lnTo>
                    <a:pt x="687" y="57"/>
                  </a:lnTo>
                  <a:lnTo>
                    <a:pt x="58" y="57"/>
                  </a:lnTo>
                  <a:lnTo>
                    <a:pt x="58" y="857"/>
                  </a:lnTo>
                  <a:lnTo>
                    <a:pt x="740" y="857"/>
                  </a:lnTo>
                  <a:lnTo>
                    <a:pt x="740" y="857"/>
                  </a:lnTo>
                  <a:lnTo>
                    <a:pt x="745" y="857"/>
                  </a:lnTo>
                  <a:lnTo>
                    <a:pt x="751" y="859"/>
                  </a:lnTo>
                  <a:lnTo>
                    <a:pt x="757" y="862"/>
                  </a:lnTo>
                  <a:lnTo>
                    <a:pt x="761" y="865"/>
                  </a:lnTo>
                  <a:lnTo>
                    <a:pt x="764" y="869"/>
                  </a:lnTo>
                  <a:lnTo>
                    <a:pt x="767" y="874"/>
                  </a:lnTo>
                  <a:lnTo>
                    <a:pt x="768" y="879"/>
                  </a:lnTo>
                  <a:lnTo>
                    <a:pt x="769" y="885"/>
                  </a:lnTo>
                  <a:lnTo>
                    <a:pt x="769" y="885"/>
                  </a:lnTo>
                  <a:lnTo>
                    <a:pt x="768" y="891"/>
                  </a:lnTo>
                  <a:lnTo>
                    <a:pt x="767" y="896"/>
                  </a:lnTo>
                  <a:lnTo>
                    <a:pt x="764" y="901"/>
                  </a:lnTo>
                  <a:lnTo>
                    <a:pt x="761" y="905"/>
                  </a:lnTo>
                  <a:lnTo>
                    <a:pt x="757" y="909"/>
                  </a:lnTo>
                  <a:lnTo>
                    <a:pt x="751" y="911"/>
                  </a:lnTo>
                  <a:lnTo>
                    <a:pt x="745" y="913"/>
                  </a:lnTo>
                  <a:lnTo>
                    <a:pt x="740" y="915"/>
                  </a:lnTo>
                  <a:lnTo>
                    <a:pt x="740" y="9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62" name="Freeform 12">
              <a:extLst>
                <a:ext uri="{FF2B5EF4-FFF2-40B4-BE49-F238E27FC236}">
                  <a16:creationId xmlns:a16="http://schemas.microsoft.com/office/drawing/2014/main" id="{82EBE763-4829-5022-37F4-287D483E455A}"/>
                </a:ext>
              </a:extLst>
            </p:cNvPr>
            <p:cNvSpPr>
              <a:spLocks/>
            </p:cNvSpPr>
            <p:nvPr/>
          </p:nvSpPr>
          <p:spPr bwMode="auto">
            <a:xfrm>
              <a:off x="5097463" y="3028951"/>
              <a:ext cx="112713" cy="219075"/>
            </a:xfrm>
            <a:custGeom>
              <a:avLst/>
              <a:gdLst>
                <a:gd name="T0" fmla="*/ 400 w 428"/>
                <a:gd name="T1" fmla="*/ 829 h 829"/>
                <a:gd name="T2" fmla="*/ 388 w 428"/>
                <a:gd name="T3" fmla="*/ 826 h 829"/>
                <a:gd name="T4" fmla="*/ 378 w 428"/>
                <a:gd name="T5" fmla="*/ 818 h 829"/>
                <a:gd name="T6" fmla="*/ 206 w 428"/>
                <a:gd name="T7" fmla="*/ 588 h 829"/>
                <a:gd name="T8" fmla="*/ 201 w 428"/>
                <a:gd name="T9" fmla="*/ 580 h 829"/>
                <a:gd name="T10" fmla="*/ 200 w 428"/>
                <a:gd name="T11" fmla="*/ 571 h 829"/>
                <a:gd name="T12" fmla="*/ 200 w 428"/>
                <a:gd name="T13" fmla="*/ 311 h 829"/>
                <a:gd name="T14" fmla="*/ 196 w 428"/>
                <a:gd name="T15" fmla="*/ 279 h 829"/>
                <a:gd name="T16" fmla="*/ 184 w 428"/>
                <a:gd name="T17" fmla="*/ 245 h 829"/>
                <a:gd name="T18" fmla="*/ 166 w 428"/>
                <a:gd name="T19" fmla="*/ 213 h 829"/>
                <a:gd name="T20" fmla="*/ 142 w 428"/>
                <a:gd name="T21" fmla="*/ 180 h 829"/>
                <a:gd name="T22" fmla="*/ 113 w 428"/>
                <a:gd name="T23" fmla="*/ 147 h 829"/>
                <a:gd name="T24" fmla="*/ 81 w 428"/>
                <a:gd name="T25" fmla="*/ 115 h 829"/>
                <a:gd name="T26" fmla="*/ 10 w 428"/>
                <a:gd name="T27" fmla="*/ 50 h 829"/>
                <a:gd name="T28" fmla="*/ 6 w 428"/>
                <a:gd name="T29" fmla="*/ 46 h 829"/>
                <a:gd name="T30" fmla="*/ 1 w 428"/>
                <a:gd name="T31" fmla="*/ 36 h 829"/>
                <a:gd name="T32" fmla="*/ 0 w 428"/>
                <a:gd name="T33" fmla="*/ 25 h 829"/>
                <a:gd name="T34" fmla="*/ 3 w 428"/>
                <a:gd name="T35" fmla="*/ 15 h 829"/>
                <a:gd name="T36" fmla="*/ 7 w 428"/>
                <a:gd name="T37" fmla="*/ 10 h 829"/>
                <a:gd name="T38" fmla="*/ 15 w 428"/>
                <a:gd name="T39" fmla="*/ 3 h 829"/>
                <a:gd name="T40" fmla="*/ 26 w 428"/>
                <a:gd name="T41" fmla="*/ 0 h 829"/>
                <a:gd name="T42" fmla="*/ 37 w 428"/>
                <a:gd name="T43" fmla="*/ 2 h 829"/>
                <a:gd name="T44" fmla="*/ 47 w 428"/>
                <a:gd name="T45" fmla="*/ 7 h 829"/>
                <a:gd name="T46" fmla="*/ 92 w 428"/>
                <a:gd name="T47" fmla="*/ 46 h 829"/>
                <a:gd name="T48" fmla="*/ 133 w 428"/>
                <a:gd name="T49" fmla="*/ 86 h 829"/>
                <a:gd name="T50" fmla="*/ 169 w 428"/>
                <a:gd name="T51" fmla="*/ 123 h 829"/>
                <a:gd name="T52" fmla="*/ 199 w 428"/>
                <a:gd name="T53" fmla="*/ 160 h 829"/>
                <a:gd name="T54" fmla="*/ 224 w 428"/>
                <a:gd name="T55" fmla="*/ 198 h 829"/>
                <a:gd name="T56" fmla="*/ 242 w 428"/>
                <a:gd name="T57" fmla="*/ 235 h 829"/>
                <a:gd name="T58" fmla="*/ 253 w 428"/>
                <a:gd name="T59" fmla="*/ 273 h 829"/>
                <a:gd name="T60" fmla="*/ 258 w 428"/>
                <a:gd name="T61" fmla="*/ 311 h 829"/>
                <a:gd name="T62" fmla="*/ 423 w 428"/>
                <a:gd name="T63" fmla="*/ 783 h 829"/>
                <a:gd name="T64" fmla="*/ 426 w 428"/>
                <a:gd name="T65" fmla="*/ 788 h 829"/>
                <a:gd name="T66" fmla="*/ 428 w 428"/>
                <a:gd name="T67" fmla="*/ 798 h 829"/>
                <a:gd name="T68" fmla="*/ 427 w 428"/>
                <a:gd name="T69" fmla="*/ 809 h 829"/>
                <a:gd name="T70" fmla="*/ 421 w 428"/>
                <a:gd name="T71" fmla="*/ 820 h 829"/>
                <a:gd name="T72" fmla="*/ 417 w 428"/>
                <a:gd name="T73" fmla="*/ 824 h 829"/>
                <a:gd name="T74" fmla="*/ 409 w 428"/>
                <a:gd name="T75" fmla="*/ 828 h 829"/>
                <a:gd name="T76" fmla="*/ 400 w 428"/>
                <a:gd name="T77" fmla="*/ 829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8" h="829">
                  <a:moveTo>
                    <a:pt x="400" y="829"/>
                  </a:moveTo>
                  <a:lnTo>
                    <a:pt x="400" y="829"/>
                  </a:lnTo>
                  <a:lnTo>
                    <a:pt x="394" y="828"/>
                  </a:lnTo>
                  <a:lnTo>
                    <a:pt x="388" y="826"/>
                  </a:lnTo>
                  <a:lnTo>
                    <a:pt x="382" y="823"/>
                  </a:lnTo>
                  <a:lnTo>
                    <a:pt x="378" y="818"/>
                  </a:lnTo>
                  <a:lnTo>
                    <a:pt x="206" y="588"/>
                  </a:lnTo>
                  <a:lnTo>
                    <a:pt x="206" y="588"/>
                  </a:lnTo>
                  <a:lnTo>
                    <a:pt x="203" y="585"/>
                  </a:lnTo>
                  <a:lnTo>
                    <a:pt x="201" y="580"/>
                  </a:lnTo>
                  <a:lnTo>
                    <a:pt x="200" y="576"/>
                  </a:lnTo>
                  <a:lnTo>
                    <a:pt x="200" y="571"/>
                  </a:lnTo>
                  <a:lnTo>
                    <a:pt x="200" y="311"/>
                  </a:lnTo>
                  <a:lnTo>
                    <a:pt x="200" y="311"/>
                  </a:lnTo>
                  <a:lnTo>
                    <a:pt x="199" y="295"/>
                  </a:lnTo>
                  <a:lnTo>
                    <a:pt x="196" y="279"/>
                  </a:lnTo>
                  <a:lnTo>
                    <a:pt x="191" y="262"/>
                  </a:lnTo>
                  <a:lnTo>
                    <a:pt x="184" y="245"/>
                  </a:lnTo>
                  <a:lnTo>
                    <a:pt x="176" y="229"/>
                  </a:lnTo>
                  <a:lnTo>
                    <a:pt x="166" y="213"/>
                  </a:lnTo>
                  <a:lnTo>
                    <a:pt x="155" y="197"/>
                  </a:lnTo>
                  <a:lnTo>
                    <a:pt x="142" y="180"/>
                  </a:lnTo>
                  <a:lnTo>
                    <a:pt x="128" y="164"/>
                  </a:lnTo>
                  <a:lnTo>
                    <a:pt x="113" y="147"/>
                  </a:lnTo>
                  <a:lnTo>
                    <a:pt x="98" y="131"/>
                  </a:lnTo>
                  <a:lnTo>
                    <a:pt x="81" y="115"/>
                  </a:lnTo>
                  <a:lnTo>
                    <a:pt x="46" y="83"/>
                  </a:lnTo>
                  <a:lnTo>
                    <a:pt x="10" y="50"/>
                  </a:lnTo>
                  <a:lnTo>
                    <a:pt x="10" y="50"/>
                  </a:lnTo>
                  <a:lnTo>
                    <a:pt x="6" y="46"/>
                  </a:lnTo>
                  <a:lnTo>
                    <a:pt x="3" y="41"/>
                  </a:lnTo>
                  <a:lnTo>
                    <a:pt x="1" y="36"/>
                  </a:lnTo>
                  <a:lnTo>
                    <a:pt x="0" y="31"/>
                  </a:lnTo>
                  <a:lnTo>
                    <a:pt x="0" y="25"/>
                  </a:lnTo>
                  <a:lnTo>
                    <a:pt x="1" y="20"/>
                  </a:lnTo>
                  <a:lnTo>
                    <a:pt x="3" y="15"/>
                  </a:lnTo>
                  <a:lnTo>
                    <a:pt x="7" y="10"/>
                  </a:lnTo>
                  <a:lnTo>
                    <a:pt x="7" y="10"/>
                  </a:lnTo>
                  <a:lnTo>
                    <a:pt x="11" y="6"/>
                  </a:lnTo>
                  <a:lnTo>
                    <a:pt x="15" y="3"/>
                  </a:lnTo>
                  <a:lnTo>
                    <a:pt x="21" y="1"/>
                  </a:lnTo>
                  <a:lnTo>
                    <a:pt x="26" y="0"/>
                  </a:lnTo>
                  <a:lnTo>
                    <a:pt x="31" y="0"/>
                  </a:lnTo>
                  <a:lnTo>
                    <a:pt x="37" y="2"/>
                  </a:lnTo>
                  <a:lnTo>
                    <a:pt x="42" y="4"/>
                  </a:lnTo>
                  <a:lnTo>
                    <a:pt x="47" y="7"/>
                  </a:lnTo>
                  <a:lnTo>
                    <a:pt x="47" y="7"/>
                  </a:lnTo>
                  <a:lnTo>
                    <a:pt x="92" y="46"/>
                  </a:lnTo>
                  <a:lnTo>
                    <a:pt x="113" y="67"/>
                  </a:lnTo>
                  <a:lnTo>
                    <a:pt x="133" y="86"/>
                  </a:lnTo>
                  <a:lnTo>
                    <a:pt x="151" y="104"/>
                  </a:lnTo>
                  <a:lnTo>
                    <a:pt x="169" y="123"/>
                  </a:lnTo>
                  <a:lnTo>
                    <a:pt x="185" y="142"/>
                  </a:lnTo>
                  <a:lnTo>
                    <a:pt x="199" y="160"/>
                  </a:lnTo>
                  <a:lnTo>
                    <a:pt x="212" y="179"/>
                  </a:lnTo>
                  <a:lnTo>
                    <a:pt x="224" y="198"/>
                  </a:lnTo>
                  <a:lnTo>
                    <a:pt x="234" y="216"/>
                  </a:lnTo>
                  <a:lnTo>
                    <a:pt x="242" y="235"/>
                  </a:lnTo>
                  <a:lnTo>
                    <a:pt x="248" y="253"/>
                  </a:lnTo>
                  <a:lnTo>
                    <a:pt x="253" y="273"/>
                  </a:lnTo>
                  <a:lnTo>
                    <a:pt x="257" y="292"/>
                  </a:lnTo>
                  <a:lnTo>
                    <a:pt x="258" y="311"/>
                  </a:lnTo>
                  <a:lnTo>
                    <a:pt x="258" y="562"/>
                  </a:lnTo>
                  <a:lnTo>
                    <a:pt x="423" y="783"/>
                  </a:lnTo>
                  <a:lnTo>
                    <a:pt x="423" y="783"/>
                  </a:lnTo>
                  <a:lnTo>
                    <a:pt x="426" y="788"/>
                  </a:lnTo>
                  <a:lnTo>
                    <a:pt x="428" y="793"/>
                  </a:lnTo>
                  <a:lnTo>
                    <a:pt x="428" y="798"/>
                  </a:lnTo>
                  <a:lnTo>
                    <a:pt x="428" y="804"/>
                  </a:lnTo>
                  <a:lnTo>
                    <a:pt x="427" y="809"/>
                  </a:lnTo>
                  <a:lnTo>
                    <a:pt x="425" y="815"/>
                  </a:lnTo>
                  <a:lnTo>
                    <a:pt x="421" y="820"/>
                  </a:lnTo>
                  <a:lnTo>
                    <a:pt x="417" y="824"/>
                  </a:lnTo>
                  <a:lnTo>
                    <a:pt x="417" y="824"/>
                  </a:lnTo>
                  <a:lnTo>
                    <a:pt x="413" y="826"/>
                  </a:lnTo>
                  <a:lnTo>
                    <a:pt x="409" y="828"/>
                  </a:lnTo>
                  <a:lnTo>
                    <a:pt x="405" y="829"/>
                  </a:lnTo>
                  <a:lnTo>
                    <a:pt x="400" y="829"/>
                  </a:lnTo>
                  <a:lnTo>
                    <a:pt x="400" y="8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63" name="Freeform 13">
              <a:extLst>
                <a:ext uri="{FF2B5EF4-FFF2-40B4-BE49-F238E27FC236}">
                  <a16:creationId xmlns:a16="http://schemas.microsoft.com/office/drawing/2014/main" id="{36FF2D25-5DAC-E3B4-C0E8-8307EC6F80CC}"/>
                </a:ext>
              </a:extLst>
            </p:cNvPr>
            <p:cNvSpPr>
              <a:spLocks/>
            </p:cNvSpPr>
            <p:nvPr/>
          </p:nvSpPr>
          <p:spPr bwMode="auto">
            <a:xfrm>
              <a:off x="5051425" y="3087688"/>
              <a:ext cx="84138" cy="160338"/>
            </a:xfrm>
            <a:custGeom>
              <a:avLst/>
              <a:gdLst>
                <a:gd name="T0" fmla="*/ 287 w 315"/>
                <a:gd name="T1" fmla="*/ 604 h 604"/>
                <a:gd name="T2" fmla="*/ 275 w 315"/>
                <a:gd name="T3" fmla="*/ 602 h 604"/>
                <a:gd name="T4" fmla="*/ 265 w 315"/>
                <a:gd name="T5" fmla="*/ 594 h 604"/>
                <a:gd name="T6" fmla="*/ 238 w 315"/>
                <a:gd name="T7" fmla="*/ 557 h 604"/>
                <a:gd name="T8" fmla="*/ 197 w 315"/>
                <a:gd name="T9" fmla="*/ 499 h 604"/>
                <a:gd name="T10" fmla="*/ 168 w 315"/>
                <a:gd name="T11" fmla="*/ 449 h 604"/>
                <a:gd name="T12" fmla="*/ 154 w 315"/>
                <a:gd name="T13" fmla="*/ 417 h 604"/>
                <a:gd name="T14" fmla="*/ 146 w 315"/>
                <a:gd name="T15" fmla="*/ 388 h 604"/>
                <a:gd name="T16" fmla="*/ 145 w 315"/>
                <a:gd name="T17" fmla="*/ 327 h 604"/>
                <a:gd name="T18" fmla="*/ 20 w 315"/>
                <a:gd name="T19" fmla="*/ 148 h 604"/>
                <a:gd name="T20" fmla="*/ 13 w 315"/>
                <a:gd name="T21" fmla="*/ 139 h 604"/>
                <a:gd name="T22" fmla="*/ 7 w 315"/>
                <a:gd name="T23" fmla="*/ 126 h 604"/>
                <a:gd name="T24" fmla="*/ 2 w 315"/>
                <a:gd name="T25" fmla="*/ 110 h 604"/>
                <a:gd name="T26" fmla="*/ 0 w 315"/>
                <a:gd name="T27" fmla="*/ 93 h 604"/>
                <a:gd name="T28" fmla="*/ 1 w 315"/>
                <a:gd name="T29" fmla="*/ 76 h 604"/>
                <a:gd name="T30" fmla="*/ 5 w 315"/>
                <a:gd name="T31" fmla="*/ 58 h 604"/>
                <a:gd name="T32" fmla="*/ 12 w 315"/>
                <a:gd name="T33" fmla="*/ 41 h 604"/>
                <a:gd name="T34" fmla="*/ 23 w 315"/>
                <a:gd name="T35" fmla="*/ 26 h 604"/>
                <a:gd name="T36" fmla="*/ 31 w 315"/>
                <a:gd name="T37" fmla="*/ 20 h 604"/>
                <a:gd name="T38" fmla="*/ 46 w 315"/>
                <a:gd name="T39" fmla="*/ 10 h 604"/>
                <a:gd name="T40" fmla="*/ 62 w 315"/>
                <a:gd name="T41" fmla="*/ 4 h 604"/>
                <a:gd name="T42" fmla="*/ 78 w 315"/>
                <a:gd name="T43" fmla="*/ 1 h 604"/>
                <a:gd name="T44" fmla="*/ 95 w 315"/>
                <a:gd name="T45" fmla="*/ 1 h 604"/>
                <a:gd name="T46" fmla="*/ 112 w 315"/>
                <a:gd name="T47" fmla="*/ 4 h 604"/>
                <a:gd name="T48" fmla="*/ 129 w 315"/>
                <a:gd name="T49" fmla="*/ 10 h 604"/>
                <a:gd name="T50" fmla="*/ 144 w 315"/>
                <a:gd name="T51" fmla="*/ 20 h 604"/>
                <a:gd name="T52" fmla="*/ 279 w 315"/>
                <a:gd name="T53" fmla="*/ 156 h 604"/>
                <a:gd name="T54" fmla="*/ 282 w 315"/>
                <a:gd name="T55" fmla="*/ 160 h 604"/>
                <a:gd name="T56" fmla="*/ 287 w 315"/>
                <a:gd name="T57" fmla="*/ 170 h 604"/>
                <a:gd name="T58" fmla="*/ 287 w 315"/>
                <a:gd name="T59" fmla="*/ 181 h 604"/>
                <a:gd name="T60" fmla="*/ 282 w 315"/>
                <a:gd name="T61" fmla="*/ 191 h 604"/>
                <a:gd name="T62" fmla="*/ 279 w 315"/>
                <a:gd name="T63" fmla="*/ 196 h 604"/>
                <a:gd name="T64" fmla="*/ 269 w 315"/>
                <a:gd name="T65" fmla="*/ 202 h 604"/>
                <a:gd name="T66" fmla="*/ 259 w 315"/>
                <a:gd name="T67" fmla="*/ 204 h 604"/>
                <a:gd name="T68" fmla="*/ 248 w 315"/>
                <a:gd name="T69" fmla="*/ 202 h 604"/>
                <a:gd name="T70" fmla="*/ 239 w 315"/>
                <a:gd name="T71" fmla="*/ 196 h 604"/>
                <a:gd name="T72" fmla="*/ 109 w 315"/>
                <a:gd name="T73" fmla="*/ 67 h 604"/>
                <a:gd name="T74" fmla="*/ 99 w 315"/>
                <a:gd name="T75" fmla="*/ 60 h 604"/>
                <a:gd name="T76" fmla="*/ 87 w 315"/>
                <a:gd name="T77" fmla="*/ 58 h 604"/>
                <a:gd name="T78" fmla="*/ 75 w 315"/>
                <a:gd name="T79" fmla="*/ 60 h 604"/>
                <a:gd name="T80" fmla="*/ 64 w 315"/>
                <a:gd name="T81" fmla="*/ 67 h 604"/>
                <a:gd name="T82" fmla="*/ 61 w 315"/>
                <a:gd name="T83" fmla="*/ 72 h 604"/>
                <a:gd name="T84" fmla="*/ 59 w 315"/>
                <a:gd name="T85" fmla="*/ 84 h 604"/>
                <a:gd name="T86" fmla="*/ 60 w 315"/>
                <a:gd name="T87" fmla="*/ 98 h 604"/>
                <a:gd name="T88" fmla="*/ 63 w 315"/>
                <a:gd name="T89" fmla="*/ 109 h 604"/>
                <a:gd name="T90" fmla="*/ 196 w 315"/>
                <a:gd name="T91" fmla="*/ 302 h 604"/>
                <a:gd name="T92" fmla="*/ 198 w 315"/>
                <a:gd name="T93" fmla="*/ 306 h 604"/>
                <a:gd name="T94" fmla="*/ 201 w 315"/>
                <a:gd name="T95" fmla="*/ 314 h 604"/>
                <a:gd name="T96" fmla="*/ 201 w 315"/>
                <a:gd name="T97" fmla="*/ 376 h 604"/>
                <a:gd name="T98" fmla="*/ 202 w 315"/>
                <a:gd name="T99" fmla="*/ 382 h 604"/>
                <a:gd name="T100" fmla="*/ 207 w 315"/>
                <a:gd name="T101" fmla="*/ 398 h 604"/>
                <a:gd name="T102" fmla="*/ 221 w 315"/>
                <a:gd name="T103" fmla="*/ 429 h 604"/>
                <a:gd name="T104" fmla="*/ 253 w 315"/>
                <a:gd name="T105" fmla="*/ 479 h 604"/>
                <a:gd name="T106" fmla="*/ 290 w 315"/>
                <a:gd name="T107" fmla="*/ 532 h 604"/>
                <a:gd name="T108" fmla="*/ 309 w 315"/>
                <a:gd name="T109" fmla="*/ 557 h 604"/>
                <a:gd name="T110" fmla="*/ 314 w 315"/>
                <a:gd name="T111" fmla="*/ 567 h 604"/>
                <a:gd name="T112" fmla="*/ 315 w 315"/>
                <a:gd name="T113" fmla="*/ 578 h 604"/>
                <a:gd name="T114" fmla="*/ 312 w 315"/>
                <a:gd name="T115" fmla="*/ 589 h 604"/>
                <a:gd name="T116" fmla="*/ 305 w 315"/>
                <a:gd name="T117" fmla="*/ 598 h 604"/>
                <a:gd name="T118" fmla="*/ 301 w 315"/>
                <a:gd name="T119" fmla="*/ 601 h 604"/>
                <a:gd name="T120" fmla="*/ 292 w 315"/>
                <a:gd name="T121" fmla="*/ 604 h 604"/>
                <a:gd name="T122" fmla="*/ 287 w 315"/>
                <a:gd name="T123"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5" h="604">
                  <a:moveTo>
                    <a:pt x="287" y="604"/>
                  </a:moveTo>
                  <a:lnTo>
                    <a:pt x="287" y="604"/>
                  </a:lnTo>
                  <a:lnTo>
                    <a:pt x="281" y="604"/>
                  </a:lnTo>
                  <a:lnTo>
                    <a:pt x="275" y="602"/>
                  </a:lnTo>
                  <a:lnTo>
                    <a:pt x="270" y="598"/>
                  </a:lnTo>
                  <a:lnTo>
                    <a:pt x="265" y="594"/>
                  </a:lnTo>
                  <a:lnTo>
                    <a:pt x="265" y="594"/>
                  </a:lnTo>
                  <a:lnTo>
                    <a:pt x="238" y="557"/>
                  </a:lnTo>
                  <a:lnTo>
                    <a:pt x="217" y="530"/>
                  </a:lnTo>
                  <a:lnTo>
                    <a:pt x="197" y="499"/>
                  </a:lnTo>
                  <a:lnTo>
                    <a:pt x="177" y="465"/>
                  </a:lnTo>
                  <a:lnTo>
                    <a:pt x="168" y="449"/>
                  </a:lnTo>
                  <a:lnTo>
                    <a:pt x="160" y="433"/>
                  </a:lnTo>
                  <a:lnTo>
                    <a:pt x="154" y="417"/>
                  </a:lnTo>
                  <a:lnTo>
                    <a:pt x="149" y="402"/>
                  </a:lnTo>
                  <a:lnTo>
                    <a:pt x="146" y="388"/>
                  </a:lnTo>
                  <a:lnTo>
                    <a:pt x="145" y="376"/>
                  </a:lnTo>
                  <a:lnTo>
                    <a:pt x="145" y="327"/>
                  </a:lnTo>
                  <a:lnTo>
                    <a:pt x="20" y="148"/>
                  </a:lnTo>
                  <a:lnTo>
                    <a:pt x="20" y="148"/>
                  </a:lnTo>
                  <a:lnTo>
                    <a:pt x="16" y="144"/>
                  </a:lnTo>
                  <a:lnTo>
                    <a:pt x="13" y="139"/>
                  </a:lnTo>
                  <a:lnTo>
                    <a:pt x="10" y="132"/>
                  </a:lnTo>
                  <a:lnTo>
                    <a:pt x="7" y="126"/>
                  </a:lnTo>
                  <a:lnTo>
                    <a:pt x="4" y="118"/>
                  </a:lnTo>
                  <a:lnTo>
                    <a:pt x="2" y="110"/>
                  </a:lnTo>
                  <a:lnTo>
                    <a:pt x="1" y="102"/>
                  </a:lnTo>
                  <a:lnTo>
                    <a:pt x="0" y="93"/>
                  </a:lnTo>
                  <a:lnTo>
                    <a:pt x="0" y="85"/>
                  </a:lnTo>
                  <a:lnTo>
                    <a:pt x="1" y="76"/>
                  </a:lnTo>
                  <a:lnTo>
                    <a:pt x="3" y="67"/>
                  </a:lnTo>
                  <a:lnTo>
                    <a:pt x="5" y="58"/>
                  </a:lnTo>
                  <a:lnTo>
                    <a:pt x="8" y="50"/>
                  </a:lnTo>
                  <a:lnTo>
                    <a:pt x="12" y="41"/>
                  </a:lnTo>
                  <a:lnTo>
                    <a:pt x="17" y="33"/>
                  </a:lnTo>
                  <a:lnTo>
                    <a:pt x="23" y="26"/>
                  </a:lnTo>
                  <a:lnTo>
                    <a:pt x="23" y="26"/>
                  </a:lnTo>
                  <a:lnTo>
                    <a:pt x="31" y="20"/>
                  </a:lnTo>
                  <a:lnTo>
                    <a:pt x="38" y="15"/>
                  </a:lnTo>
                  <a:lnTo>
                    <a:pt x="46" y="10"/>
                  </a:lnTo>
                  <a:lnTo>
                    <a:pt x="54" y="7"/>
                  </a:lnTo>
                  <a:lnTo>
                    <a:pt x="62" y="4"/>
                  </a:lnTo>
                  <a:lnTo>
                    <a:pt x="70" y="2"/>
                  </a:lnTo>
                  <a:lnTo>
                    <a:pt x="78" y="1"/>
                  </a:lnTo>
                  <a:lnTo>
                    <a:pt x="87" y="0"/>
                  </a:lnTo>
                  <a:lnTo>
                    <a:pt x="95" y="1"/>
                  </a:lnTo>
                  <a:lnTo>
                    <a:pt x="104" y="2"/>
                  </a:lnTo>
                  <a:lnTo>
                    <a:pt x="112" y="4"/>
                  </a:lnTo>
                  <a:lnTo>
                    <a:pt x="120" y="7"/>
                  </a:lnTo>
                  <a:lnTo>
                    <a:pt x="129" y="10"/>
                  </a:lnTo>
                  <a:lnTo>
                    <a:pt x="137" y="15"/>
                  </a:lnTo>
                  <a:lnTo>
                    <a:pt x="144" y="20"/>
                  </a:lnTo>
                  <a:lnTo>
                    <a:pt x="150" y="26"/>
                  </a:lnTo>
                  <a:lnTo>
                    <a:pt x="279" y="156"/>
                  </a:lnTo>
                  <a:lnTo>
                    <a:pt x="279" y="156"/>
                  </a:lnTo>
                  <a:lnTo>
                    <a:pt x="282" y="160"/>
                  </a:lnTo>
                  <a:lnTo>
                    <a:pt x="285" y="165"/>
                  </a:lnTo>
                  <a:lnTo>
                    <a:pt x="287" y="170"/>
                  </a:lnTo>
                  <a:lnTo>
                    <a:pt x="287" y="176"/>
                  </a:lnTo>
                  <a:lnTo>
                    <a:pt x="287" y="181"/>
                  </a:lnTo>
                  <a:lnTo>
                    <a:pt x="285" y="186"/>
                  </a:lnTo>
                  <a:lnTo>
                    <a:pt x="282" y="191"/>
                  </a:lnTo>
                  <a:lnTo>
                    <a:pt x="279" y="196"/>
                  </a:lnTo>
                  <a:lnTo>
                    <a:pt x="279" y="196"/>
                  </a:lnTo>
                  <a:lnTo>
                    <a:pt x="274" y="199"/>
                  </a:lnTo>
                  <a:lnTo>
                    <a:pt x="269" y="202"/>
                  </a:lnTo>
                  <a:lnTo>
                    <a:pt x="264" y="203"/>
                  </a:lnTo>
                  <a:lnTo>
                    <a:pt x="259" y="204"/>
                  </a:lnTo>
                  <a:lnTo>
                    <a:pt x="253" y="203"/>
                  </a:lnTo>
                  <a:lnTo>
                    <a:pt x="248" y="202"/>
                  </a:lnTo>
                  <a:lnTo>
                    <a:pt x="243" y="199"/>
                  </a:lnTo>
                  <a:lnTo>
                    <a:pt x="239" y="196"/>
                  </a:lnTo>
                  <a:lnTo>
                    <a:pt x="109" y="67"/>
                  </a:lnTo>
                  <a:lnTo>
                    <a:pt x="109" y="67"/>
                  </a:lnTo>
                  <a:lnTo>
                    <a:pt x="104" y="63"/>
                  </a:lnTo>
                  <a:lnTo>
                    <a:pt x="99" y="60"/>
                  </a:lnTo>
                  <a:lnTo>
                    <a:pt x="93" y="58"/>
                  </a:lnTo>
                  <a:lnTo>
                    <a:pt x="87" y="58"/>
                  </a:lnTo>
                  <a:lnTo>
                    <a:pt x="81" y="58"/>
                  </a:lnTo>
                  <a:lnTo>
                    <a:pt x="75" y="60"/>
                  </a:lnTo>
                  <a:lnTo>
                    <a:pt x="69" y="63"/>
                  </a:lnTo>
                  <a:lnTo>
                    <a:pt x="64" y="67"/>
                  </a:lnTo>
                  <a:lnTo>
                    <a:pt x="64" y="67"/>
                  </a:lnTo>
                  <a:lnTo>
                    <a:pt x="61" y="72"/>
                  </a:lnTo>
                  <a:lnTo>
                    <a:pt x="59" y="78"/>
                  </a:lnTo>
                  <a:lnTo>
                    <a:pt x="59" y="84"/>
                  </a:lnTo>
                  <a:lnTo>
                    <a:pt x="59" y="91"/>
                  </a:lnTo>
                  <a:lnTo>
                    <a:pt x="60" y="98"/>
                  </a:lnTo>
                  <a:lnTo>
                    <a:pt x="61" y="104"/>
                  </a:lnTo>
                  <a:lnTo>
                    <a:pt x="63" y="109"/>
                  </a:lnTo>
                  <a:lnTo>
                    <a:pt x="65" y="112"/>
                  </a:lnTo>
                  <a:lnTo>
                    <a:pt x="196" y="302"/>
                  </a:lnTo>
                  <a:lnTo>
                    <a:pt x="196" y="302"/>
                  </a:lnTo>
                  <a:lnTo>
                    <a:pt x="198" y="306"/>
                  </a:lnTo>
                  <a:lnTo>
                    <a:pt x="200" y="310"/>
                  </a:lnTo>
                  <a:lnTo>
                    <a:pt x="201" y="314"/>
                  </a:lnTo>
                  <a:lnTo>
                    <a:pt x="201" y="318"/>
                  </a:lnTo>
                  <a:lnTo>
                    <a:pt x="201" y="376"/>
                  </a:lnTo>
                  <a:lnTo>
                    <a:pt x="201" y="376"/>
                  </a:lnTo>
                  <a:lnTo>
                    <a:pt x="202" y="382"/>
                  </a:lnTo>
                  <a:lnTo>
                    <a:pt x="204" y="389"/>
                  </a:lnTo>
                  <a:lnTo>
                    <a:pt x="207" y="398"/>
                  </a:lnTo>
                  <a:lnTo>
                    <a:pt x="211" y="407"/>
                  </a:lnTo>
                  <a:lnTo>
                    <a:pt x="221" y="429"/>
                  </a:lnTo>
                  <a:lnTo>
                    <a:pt x="236" y="453"/>
                  </a:lnTo>
                  <a:lnTo>
                    <a:pt x="253" y="479"/>
                  </a:lnTo>
                  <a:lnTo>
                    <a:pt x="271" y="506"/>
                  </a:lnTo>
                  <a:lnTo>
                    <a:pt x="290" y="532"/>
                  </a:lnTo>
                  <a:lnTo>
                    <a:pt x="309" y="557"/>
                  </a:lnTo>
                  <a:lnTo>
                    <a:pt x="309" y="557"/>
                  </a:lnTo>
                  <a:lnTo>
                    <a:pt x="312" y="562"/>
                  </a:lnTo>
                  <a:lnTo>
                    <a:pt x="314" y="567"/>
                  </a:lnTo>
                  <a:lnTo>
                    <a:pt x="315" y="573"/>
                  </a:lnTo>
                  <a:lnTo>
                    <a:pt x="315" y="578"/>
                  </a:lnTo>
                  <a:lnTo>
                    <a:pt x="314" y="583"/>
                  </a:lnTo>
                  <a:lnTo>
                    <a:pt x="312" y="589"/>
                  </a:lnTo>
                  <a:lnTo>
                    <a:pt x="309" y="594"/>
                  </a:lnTo>
                  <a:lnTo>
                    <a:pt x="305" y="598"/>
                  </a:lnTo>
                  <a:lnTo>
                    <a:pt x="305" y="598"/>
                  </a:lnTo>
                  <a:lnTo>
                    <a:pt x="301" y="601"/>
                  </a:lnTo>
                  <a:lnTo>
                    <a:pt x="296" y="603"/>
                  </a:lnTo>
                  <a:lnTo>
                    <a:pt x="292" y="604"/>
                  </a:lnTo>
                  <a:lnTo>
                    <a:pt x="287" y="604"/>
                  </a:lnTo>
                  <a:lnTo>
                    <a:pt x="287" y="6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64" name="Rectangle 14">
              <a:extLst>
                <a:ext uri="{FF2B5EF4-FFF2-40B4-BE49-F238E27FC236}">
                  <a16:creationId xmlns:a16="http://schemas.microsoft.com/office/drawing/2014/main" id="{9DF52686-D66E-383B-FDE7-2324EC1FCE60}"/>
                </a:ext>
              </a:extLst>
            </p:cNvPr>
            <p:cNvSpPr>
              <a:spLocks noChangeArrowheads="1"/>
            </p:cNvSpPr>
            <p:nvPr/>
          </p:nvSpPr>
          <p:spPr bwMode="auto">
            <a:xfrm>
              <a:off x="4946650" y="3171826"/>
              <a:ext cx="58738"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65" name="Freeform 15">
              <a:extLst>
                <a:ext uri="{FF2B5EF4-FFF2-40B4-BE49-F238E27FC236}">
                  <a16:creationId xmlns:a16="http://schemas.microsoft.com/office/drawing/2014/main" id="{3B0D07CD-59C0-8B91-D478-214D76EB9A3C}"/>
                </a:ext>
              </a:extLst>
            </p:cNvPr>
            <p:cNvSpPr>
              <a:spLocks/>
            </p:cNvSpPr>
            <p:nvPr/>
          </p:nvSpPr>
          <p:spPr bwMode="auto">
            <a:xfrm>
              <a:off x="4916488" y="3171826"/>
              <a:ext cx="14288" cy="15875"/>
            </a:xfrm>
            <a:custGeom>
              <a:avLst/>
              <a:gdLst>
                <a:gd name="T0" fmla="*/ 29 w 58"/>
                <a:gd name="T1" fmla="*/ 0 h 58"/>
                <a:gd name="T2" fmla="*/ 29 w 58"/>
                <a:gd name="T3" fmla="*/ 0 h 58"/>
                <a:gd name="T4" fmla="*/ 23 w 58"/>
                <a:gd name="T5" fmla="*/ 1 h 58"/>
                <a:gd name="T6" fmla="*/ 18 w 58"/>
                <a:gd name="T7" fmla="*/ 2 h 58"/>
                <a:gd name="T8" fmla="*/ 13 w 58"/>
                <a:gd name="T9" fmla="*/ 5 h 58"/>
                <a:gd name="T10" fmla="*/ 9 w 58"/>
                <a:gd name="T11" fmla="*/ 8 h 58"/>
                <a:gd name="T12" fmla="*/ 5 w 58"/>
                <a:gd name="T13" fmla="*/ 13 h 58"/>
                <a:gd name="T14" fmla="*/ 3 w 58"/>
                <a:gd name="T15" fmla="*/ 17 h 58"/>
                <a:gd name="T16" fmla="*/ 1 w 58"/>
                <a:gd name="T17" fmla="*/ 23 h 58"/>
                <a:gd name="T18" fmla="*/ 0 w 58"/>
                <a:gd name="T19" fmla="*/ 28 h 58"/>
                <a:gd name="T20" fmla="*/ 0 w 58"/>
                <a:gd name="T21" fmla="*/ 28 h 58"/>
                <a:gd name="T22" fmla="*/ 1 w 58"/>
                <a:gd name="T23" fmla="*/ 34 h 58"/>
                <a:gd name="T24" fmla="*/ 3 w 58"/>
                <a:gd name="T25" fmla="*/ 39 h 58"/>
                <a:gd name="T26" fmla="*/ 5 w 58"/>
                <a:gd name="T27" fmla="*/ 44 h 58"/>
                <a:gd name="T28" fmla="*/ 9 w 58"/>
                <a:gd name="T29" fmla="*/ 48 h 58"/>
                <a:gd name="T30" fmla="*/ 13 w 58"/>
                <a:gd name="T31" fmla="*/ 53 h 58"/>
                <a:gd name="T32" fmla="*/ 18 w 58"/>
                <a:gd name="T33" fmla="*/ 56 h 58"/>
                <a:gd name="T34" fmla="*/ 23 w 58"/>
                <a:gd name="T35" fmla="*/ 57 h 58"/>
                <a:gd name="T36" fmla="*/ 29 w 58"/>
                <a:gd name="T37" fmla="*/ 58 h 58"/>
                <a:gd name="T38" fmla="*/ 29 w 58"/>
                <a:gd name="T39" fmla="*/ 58 h 58"/>
                <a:gd name="T40" fmla="*/ 34 w 58"/>
                <a:gd name="T41" fmla="*/ 57 h 58"/>
                <a:gd name="T42" fmla="*/ 41 w 58"/>
                <a:gd name="T43" fmla="*/ 56 h 58"/>
                <a:gd name="T44" fmla="*/ 46 w 58"/>
                <a:gd name="T45" fmla="*/ 53 h 58"/>
                <a:gd name="T46" fmla="*/ 50 w 58"/>
                <a:gd name="T47" fmla="*/ 48 h 58"/>
                <a:gd name="T48" fmla="*/ 53 w 58"/>
                <a:gd name="T49" fmla="*/ 44 h 58"/>
                <a:gd name="T50" fmla="*/ 56 w 58"/>
                <a:gd name="T51" fmla="*/ 39 h 58"/>
                <a:gd name="T52" fmla="*/ 57 w 58"/>
                <a:gd name="T53" fmla="*/ 34 h 58"/>
                <a:gd name="T54" fmla="*/ 58 w 58"/>
                <a:gd name="T55" fmla="*/ 28 h 58"/>
                <a:gd name="T56" fmla="*/ 58 w 58"/>
                <a:gd name="T57" fmla="*/ 28 h 58"/>
                <a:gd name="T58" fmla="*/ 57 w 58"/>
                <a:gd name="T59" fmla="*/ 23 h 58"/>
                <a:gd name="T60" fmla="*/ 56 w 58"/>
                <a:gd name="T61" fmla="*/ 17 h 58"/>
                <a:gd name="T62" fmla="*/ 53 w 58"/>
                <a:gd name="T63" fmla="*/ 13 h 58"/>
                <a:gd name="T64" fmla="*/ 50 w 58"/>
                <a:gd name="T65" fmla="*/ 8 h 58"/>
                <a:gd name="T66" fmla="*/ 46 w 58"/>
                <a:gd name="T67" fmla="*/ 5 h 58"/>
                <a:gd name="T68" fmla="*/ 41 w 58"/>
                <a:gd name="T69" fmla="*/ 2 h 58"/>
                <a:gd name="T70" fmla="*/ 34 w 58"/>
                <a:gd name="T71" fmla="*/ 1 h 58"/>
                <a:gd name="T72" fmla="*/ 29 w 58"/>
                <a:gd name="T73" fmla="*/ 0 h 58"/>
                <a:gd name="T74" fmla="*/ 29 w 58"/>
                <a:gd name="T7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8">
                  <a:moveTo>
                    <a:pt x="29" y="0"/>
                  </a:moveTo>
                  <a:lnTo>
                    <a:pt x="29" y="0"/>
                  </a:lnTo>
                  <a:lnTo>
                    <a:pt x="23" y="1"/>
                  </a:lnTo>
                  <a:lnTo>
                    <a:pt x="18" y="2"/>
                  </a:lnTo>
                  <a:lnTo>
                    <a:pt x="13" y="5"/>
                  </a:lnTo>
                  <a:lnTo>
                    <a:pt x="9" y="8"/>
                  </a:lnTo>
                  <a:lnTo>
                    <a:pt x="5" y="13"/>
                  </a:lnTo>
                  <a:lnTo>
                    <a:pt x="3" y="17"/>
                  </a:lnTo>
                  <a:lnTo>
                    <a:pt x="1" y="23"/>
                  </a:lnTo>
                  <a:lnTo>
                    <a:pt x="0" y="28"/>
                  </a:lnTo>
                  <a:lnTo>
                    <a:pt x="0" y="28"/>
                  </a:lnTo>
                  <a:lnTo>
                    <a:pt x="1" y="34"/>
                  </a:lnTo>
                  <a:lnTo>
                    <a:pt x="3" y="39"/>
                  </a:lnTo>
                  <a:lnTo>
                    <a:pt x="5" y="44"/>
                  </a:lnTo>
                  <a:lnTo>
                    <a:pt x="9" y="48"/>
                  </a:lnTo>
                  <a:lnTo>
                    <a:pt x="13" y="53"/>
                  </a:lnTo>
                  <a:lnTo>
                    <a:pt x="18" y="56"/>
                  </a:lnTo>
                  <a:lnTo>
                    <a:pt x="23" y="57"/>
                  </a:lnTo>
                  <a:lnTo>
                    <a:pt x="29" y="58"/>
                  </a:lnTo>
                  <a:lnTo>
                    <a:pt x="29" y="58"/>
                  </a:lnTo>
                  <a:lnTo>
                    <a:pt x="34" y="57"/>
                  </a:lnTo>
                  <a:lnTo>
                    <a:pt x="41" y="56"/>
                  </a:lnTo>
                  <a:lnTo>
                    <a:pt x="46" y="53"/>
                  </a:lnTo>
                  <a:lnTo>
                    <a:pt x="50" y="48"/>
                  </a:lnTo>
                  <a:lnTo>
                    <a:pt x="53" y="44"/>
                  </a:lnTo>
                  <a:lnTo>
                    <a:pt x="56" y="39"/>
                  </a:lnTo>
                  <a:lnTo>
                    <a:pt x="57" y="34"/>
                  </a:lnTo>
                  <a:lnTo>
                    <a:pt x="58" y="28"/>
                  </a:lnTo>
                  <a:lnTo>
                    <a:pt x="58" y="28"/>
                  </a:lnTo>
                  <a:lnTo>
                    <a:pt x="57" y="23"/>
                  </a:lnTo>
                  <a:lnTo>
                    <a:pt x="56" y="17"/>
                  </a:lnTo>
                  <a:lnTo>
                    <a:pt x="53" y="13"/>
                  </a:lnTo>
                  <a:lnTo>
                    <a:pt x="50" y="8"/>
                  </a:lnTo>
                  <a:lnTo>
                    <a:pt x="46" y="5"/>
                  </a:lnTo>
                  <a:lnTo>
                    <a:pt x="41" y="2"/>
                  </a:lnTo>
                  <a:lnTo>
                    <a:pt x="34" y="1"/>
                  </a:lnTo>
                  <a:lnTo>
                    <a:pt x="29"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66" name="Freeform 16">
              <a:extLst>
                <a:ext uri="{FF2B5EF4-FFF2-40B4-BE49-F238E27FC236}">
                  <a16:creationId xmlns:a16="http://schemas.microsoft.com/office/drawing/2014/main" id="{F26909CC-2A3C-A933-C97B-95EE899D6643}"/>
                </a:ext>
              </a:extLst>
            </p:cNvPr>
            <p:cNvSpPr>
              <a:spLocks/>
            </p:cNvSpPr>
            <p:nvPr/>
          </p:nvSpPr>
          <p:spPr bwMode="auto">
            <a:xfrm>
              <a:off x="5021263" y="3171826"/>
              <a:ext cx="15875" cy="15875"/>
            </a:xfrm>
            <a:custGeom>
              <a:avLst/>
              <a:gdLst>
                <a:gd name="T0" fmla="*/ 28 w 57"/>
                <a:gd name="T1" fmla="*/ 0 h 58"/>
                <a:gd name="T2" fmla="*/ 28 w 57"/>
                <a:gd name="T3" fmla="*/ 0 h 58"/>
                <a:gd name="T4" fmla="*/ 22 w 57"/>
                <a:gd name="T5" fmla="*/ 1 h 58"/>
                <a:gd name="T6" fmla="*/ 17 w 57"/>
                <a:gd name="T7" fmla="*/ 2 h 58"/>
                <a:gd name="T8" fmla="*/ 12 w 57"/>
                <a:gd name="T9" fmla="*/ 5 h 58"/>
                <a:gd name="T10" fmla="*/ 8 w 57"/>
                <a:gd name="T11" fmla="*/ 8 h 58"/>
                <a:gd name="T12" fmla="*/ 5 w 57"/>
                <a:gd name="T13" fmla="*/ 13 h 58"/>
                <a:gd name="T14" fmla="*/ 2 w 57"/>
                <a:gd name="T15" fmla="*/ 17 h 58"/>
                <a:gd name="T16" fmla="*/ 0 w 57"/>
                <a:gd name="T17" fmla="*/ 23 h 58"/>
                <a:gd name="T18" fmla="*/ 0 w 57"/>
                <a:gd name="T19" fmla="*/ 28 h 58"/>
                <a:gd name="T20" fmla="*/ 0 w 57"/>
                <a:gd name="T21" fmla="*/ 28 h 58"/>
                <a:gd name="T22" fmla="*/ 0 w 57"/>
                <a:gd name="T23" fmla="*/ 34 h 58"/>
                <a:gd name="T24" fmla="*/ 2 w 57"/>
                <a:gd name="T25" fmla="*/ 39 h 58"/>
                <a:gd name="T26" fmla="*/ 5 w 57"/>
                <a:gd name="T27" fmla="*/ 44 h 58"/>
                <a:gd name="T28" fmla="*/ 8 w 57"/>
                <a:gd name="T29" fmla="*/ 48 h 58"/>
                <a:gd name="T30" fmla="*/ 12 w 57"/>
                <a:gd name="T31" fmla="*/ 53 h 58"/>
                <a:gd name="T32" fmla="*/ 17 w 57"/>
                <a:gd name="T33" fmla="*/ 56 h 58"/>
                <a:gd name="T34" fmla="*/ 22 w 57"/>
                <a:gd name="T35" fmla="*/ 57 h 58"/>
                <a:gd name="T36" fmla="*/ 28 w 57"/>
                <a:gd name="T37" fmla="*/ 58 h 58"/>
                <a:gd name="T38" fmla="*/ 28 w 57"/>
                <a:gd name="T39" fmla="*/ 58 h 58"/>
                <a:gd name="T40" fmla="*/ 34 w 57"/>
                <a:gd name="T41" fmla="*/ 57 h 58"/>
                <a:gd name="T42" fmla="*/ 40 w 57"/>
                <a:gd name="T43" fmla="*/ 56 h 58"/>
                <a:gd name="T44" fmla="*/ 45 w 57"/>
                <a:gd name="T45" fmla="*/ 53 h 58"/>
                <a:gd name="T46" fmla="*/ 49 w 57"/>
                <a:gd name="T47" fmla="*/ 48 h 58"/>
                <a:gd name="T48" fmla="*/ 53 w 57"/>
                <a:gd name="T49" fmla="*/ 44 h 58"/>
                <a:gd name="T50" fmla="*/ 55 w 57"/>
                <a:gd name="T51" fmla="*/ 39 h 58"/>
                <a:gd name="T52" fmla="*/ 57 w 57"/>
                <a:gd name="T53" fmla="*/ 34 h 58"/>
                <a:gd name="T54" fmla="*/ 57 w 57"/>
                <a:gd name="T55" fmla="*/ 28 h 58"/>
                <a:gd name="T56" fmla="*/ 57 w 57"/>
                <a:gd name="T57" fmla="*/ 28 h 58"/>
                <a:gd name="T58" fmla="*/ 57 w 57"/>
                <a:gd name="T59" fmla="*/ 23 h 58"/>
                <a:gd name="T60" fmla="*/ 55 w 57"/>
                <a:gd name="T61" fmla="*/ 17 h 58"/>
                <a:gd name="T62" fmla="*/ 53 w 57"/>
                <a:gd name="T63" fmla="*/ 13 h 58"/>
                <a:gd name="T64" fmla="*/ 49 w 57"/>
                <a:gd name="T65" fmla="*/ 8 h 58"/>
                <a:gd name="T66" fmla="*/ 45 w 57"/>
                <a:gd name="T67" fmla="*/ 5 h 58"/>
                <a:gd name="T68" fmla="*/ 40 w 57"/>
                <a:gd name="T69" fmla="*/ 2 h 58"/>
                <a:gd name="T70" fmla="*/ 34 w 57"/>
                <a:gd name="T71" fmla="*/ 1 h 58"/>
                <a:gd name="T72" fmla="*/ 28 w 57"/>
                <a:gd name="T73" fmla="*/ 0 h 58"/>
                <a:gd name="T74" fmla="*/ 28 w 57"/>
                <a:gd name="T7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 h="58">
                  <a:moveTo>
                    <a:pt x="28" y="0"/>
                  </a:moveTo>
                  <a:lnTo>
                    <a:pt x="28" y="0"/>
                  </a:lnTo>
                  <a:lnTo>
                    <a:pt x="22" y="1"/>
                  </a:lnTo>
                  <a:lnTo>
                    <a:pt x="17" y="2"/>
                  </a:lnTo>
                  <a:lnTo>
                    <a:pt x="12" y="5"/>
                  </a:lnTo>
                  <a:lnTo>
                    <a:pt x="8" y="8"/>
                  </a:lnTo>
                  <a:lnTo>
                    <a:pt x="5" y="13"/>
                  </a:lnTo>
                  <a:lnTo>
                    <a:pt x="2" y="17"/>
                  </a:lnTo>
                  <a:lnTo>
                    <a:pt x="0" y="23"/>
                  </a:lnTo>
                  <a:lnTo>
                    <a:pt x="0" y="28"/>
                  </a:lnTo>
                  <a:lnTo>
                    <a:pt x="0" y="28"/>
                  </a:lnTo>
                  <a:lnTo>
                    <a:pt x="0" y="34"/>
                  </a:lnTo>
                  <a:lnTo>
                    <a:pt x="2" y="39"/>
                  </a:lnTo>
                  <a:lnTo>
                    <a:pt x="5" y="44"/>
                  </a:lnTo>
                  <a:lnTo>
                    <a:pt x="8" y="48"/>
                  </a:lnTo>
                  <a:lnTo>
                    <a:pt x="12" y="53"/>
                  </a:lnTo>
                  <a:lnTo>
                    <a:pt x="17" y="56"/>
                  </a:lnTo>
                  <a:lnTo>
                    <a:pt x="22" y="57"/>
                  </a:lnTo>
                  <a:lnTo>
                    <a:pt x="28" y="58"/>
                  </a:lnTo>
                  <a:lnTo>
                    <a:pt x="28" y="58"/>
                  </a:lnTo>
                  <a:lnTo>
                    <a:pt x="34" y="57"/>
                  </a:lnTo>
                  <a:lnTo>
                    <a:pt x="40" y="56"/>
                  </a:lnTo>
                  <a:lnTo>
                    <a:pt x="45" y="53"/>
                  </a:lnTo>
                  <a:lnTo>
                    <a:pt x="49" y="48"/>
                  </a:lnTo>
                  <a:lnTo>
                    <a:pt x="53" y="44"/>
                  </a:lnTo>
                  <a:lnTo>
                    <a:pt x="55" y="39"/>
                  </a:lnTo>
                  <a:lnTo>
                    <a:pt x="57" y="34"/>
                  </a:lnTo>
                  <a:lnTo>
                    <a:pt x="57" y="28"/>
                  </a:lnTo>
                  <a:lnTo>
                    <a:pt x="57" y="28"/>
                  </a:lnTo>
                  <a:lnTo>
                    <a:pt x="57" y="23"/>
                  </a:lnTo>
                  <a:lnTo>
                    <a:pt x="55" y="17"/>
                  </a:lnTo>
                  <a:lnTo>
                    <a:pt x="53" y="13"/>
                  </a:lnTo>
                  <a:lnTo>
                    <a:pt x="49" y="8"/>
                  </a:lnTo>
                  <a:lnTo>
                    <a:pt x="45" y="5"/>
                  </a:lnTo>
                  <a:lnTo>
                    <a:pt x="40" y="2"/>
                  </a:lnTo>
                  <a:lnTo>
                    <a:pt x="34" y="1"/>
                  </a:lnTo>
                  <a:lnTo>
                    <a:pt x="28"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67" name="Rectangle 17">
              <a:extLst>
                <a:ext uri="{FF2B5EF4-FFF2-40B4-BE49-F238E27FC236}">
                  <a16:creationId xmlns:a16="http://schemas.microsoft.com/office/drawing/2014/main" id="{AF5B363E-6ACE-860C-EDD8-22B754A8D3E9}"/>
                </a:ext>
              </a:extLst>
            </p:cNvPr>
            <p:cNvSpPr>
              <a:spLocks noChangeArrowheads="1"/>
            </p:cNvSpPr>
            <p:nvPr/>
          </p:nvSpPr>
          <p:spPr bwMode="auto">
            <a:xfrm>
              <a:off x="4930775" y="3081338"/>
              <a:ext cx="1063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68" name="Rectangle 18">
              <a:extLst>
                <a:ext uri="{FF2B5EF4-FFF2-40B4-BE49-F238E27FC236}">
                  <a16:creationId xmlns:a16="http://schemas.microsoft.com/office/drawing/2014/main" id="{8874EB22-60B1-0D4E-094A-7F9FF1596AC8}"/>
                </a:ext>
              </a:extLst>
            </p:cNvPr>
            <p:cNvSpPr>
              <a:spLocks noChangeArrowheads="1"/>
            </p:cNvSpPr>
            <p:nvPr/>
          </p:nvSpPr>
          <p:spPr bwMode="auto">
            <a:xfrm>
              <a:off x="4930775" y="3051176"/>
              <a:ext cx="1063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69" name="Rectangle 19">
              <a:extLst>
                <a:ext uri="{FF2B5EF4-FFF2-40B4-BE49-F238E27FC236}">
                  <a16:creationId xmlns:a16="http://schemas.microsoft.com/office/drawing/2014/main" id="{AEDF5E1F-54E1-7436-E29A-E4FD1A900548}"/>
                </a:ext>
              </a:extLst>
            </p:cNvPr>
            <p:cNvSpPr>
              <a:spLocks noChangeArrowheads="1"/>
            </p:cNvSpPr>
            <p:nvPr/>
          </p:nvSpPr>
          <p:spPr bwMode="auto">
            <a:xfrm>
              <a:off x="4930775" y="3021013"/>
              <a:ext cx="1063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70" name="Rectangle 20">
              <a:extLst>
                <a:ext uri="{FF2B5EF4-FFF2-40B4-BE49-F238E27FC236}">
                  <a16:creationId xmlns:a16="http://schemas.microsoft.com/office/drawing/2014/main" id="{96329BCB-9AD5-2E4B-2448-378C731C325E}"/>
                </a:ext>
              </a:extLst>
            </p:cNvPr>
            <p:cNvSpPr>
              <a:spLocks noChangeArrowheads="1"/>
            </p:cNvSpPr>
            <p:nvPr/>
          </p:nvSpPr>
          <p:spPr bwMode="auto">
            <a:xfrm>
              <a:off x="4930775" y="2990851"/>
              <a:ext cx="1063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71" name="Rectangle 21">
              <a:extLst>
                <a:ext uri="{FF2B5EF4-FFF2-40B4-BE49-F238E27FC236}">
                  <a16:creationId xmlns:a16="http://schemas.microsoft.com/office/drawing/2014/main" id="{C6125375-1C81-8C1E-4398-4CA2193930DC}"/>
                </a:ext>
              </a:extLst>
            </p:cNvPr>
            <p:cNvSpPr>
              <a:spLocks noChangeArrowheads="1"/>
            </p:cNvSpPr>
            <p:nvPr/>
          </p:nvSpPr>
          <p:spPr bwMode="auto">
            <a:xfrm>
              <a:off x="4930775" y="2960688"/>
              <a:ext cx="60325"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pic>
        <p:nvPicPr>
          <p:cNvPr id="172" name="Graphic 171">
            <a:extLst>
              <a:ext uri="{FF2B5EF4-FFF2-40B4-BE49-F238E27FC236}">
                <a16:creationId xmlns:a16="http://schemas.microsoft.com/office/drawing/2014/main" id="{6C015A02-F40C-C147-DA4E-433D5B1CC24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94631" y="2381311"/>
            <a:ext cx="524760" cy="524760"/>
          </a:xfrm>
          <a:prstGeom prst="rect">
            <a:avLst/>
          </a:prstGeom>
        </p:spPr>
      </p:pic>
      <p:sp>
        <p:nvSpPr>
          <p:cNvPr id="173" name="Oval 172">
            <a:extLst>
              <a:ext uri="{FF2B5EF4-FFF2-40B4-BE49-F238E27FC236}">
                <a16:creationId xmlns:a16="http://schemas.microsoft.com/office/drawing/2014/main" id="{DF49E955-DEB8-CA44-76F9-DC19B3197A46}"/>
              </a:ext>
            </a:extLst>
          </p:cNvPr>
          <p:cNvSpPr/>
          <p:nvPr/>
        </p:nvSpPr>
        <p:spPr>
          <a:xfrm>
            <a:off x="5542895" y="3018811"/>
            <a:ext cx="1689676" cy="16896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pic>
        <p:nvPicPr>
          <p:cNvPr id="174" name="Graphic 173">
            <a:extLst>
              <a:ext uri="{FF2B5EF4-FFF2-40B4-BE49-F238E27FC236}">
                <a16:creationId xmlns:a16="http://schemas.microsoft.com/office/drawing/2014/main" id="{9DFA66A9-4B7E-A169-F660-7C293CC1389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508" y="3426424"/>
            <a:ext cx="874450" cy="874450"/>
          </a:xfrm>
          <a:prstGeom prst="rect">
            <a:avLst/>
          </a:prstGeom>
        </p:spPr>
      </p:pic>
    </p:spTree>
    <p:extLst>
      <p:ext uri="{BB962C8B-B14F-4D97-AF65-F5344CB8AC3E}">
        <p14:creationId xmlns:p14="http://schemas.microsoft.com/office/powerpoint/2010/main" val="2513951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49B04-4F95-8489-AF63-7C255E829C36}"/>
              </a:ext>
            </a:extLst>
          </p:cNvPr>
          <p:cNvSpPr>
            <a:spLocks noGrp="1"/>
          </p:cNvSpPr>
          <p:nvPr>
            <p:ph type="title"/>
          </p:nvPr>
        </p:nvSpPr>
        <p:spPr/>
        <p:txBody>
          <a:bodyPr/>
          <a:lstStyle/>
          <a:p>
            <a:r>
              <a:rPr lang="en-US" dirty="0"/>
              <a:t>UAE–Belém work </a:t>
            </a:r>
            <a:r>
              <a:rPr lang="en-US" dirty="0" err="1"/>
              <a:t>programme</a:t>
            </a:r>
            <a:r>
              <a:rPr lang="en-US" dirty="0"/>
              <a:t> on indicators – timeline</a:t>
            </a:r>
          </a:p>
        </p:txBody>
      </p:sp>
      <p:sp>
        <p:nvSpPr>
          <p:cNvPr id="3" name="Content Placeholder 2">
            <a:extLst>
              <a:ext uri="{FF2B5EF4-FFF2-40B4-BE49-F238E27FC236}">
                <a16:creationId xmlns:a16="http://schemas.microsoft.com/office/drawing/2014/main" id="{241B48B8-7B6D-2064-9916-ACEFCC7C741C}"/>
              </a:ext>
            </a:extLst>
          </p:cNvPr>
          <p:cNvSpPr>
            <a:spLocks noGrp="1"/>
          </p:cNvSpPr>
          <p:nvPr>
            <p:ph idx="1"/>
          </p:nvPr>
        </p:nvSpPr>
        <p:spPr/>
        <p:txBody>
          <a:bodyPr>
            <a:normAutofit/>
          </a:bodyPr>
          <a:lstStyle/>
          <a:p>
            <a:r>
              <a:rPr lang="en-US" sz="2400" dirty="0"/>
              <a:t>CMA 5 established the UAE-Belém work </a:t>
            </a:r>
            <a:r>
              <a:rPr lang="en-US" sz="2400" dirty="0" err="1"/>
              <a:t>programme</a:t>
            </a:r>
            <a:r>
              <a:rPr lang="en-US" sz="2400" dirty="0"/>
              <a:t> on indicators, under the guidance of the SB Chairs</a:t>
            </a:r>
          </a:p>
          <a:p>
            <a:pPr marL="0" indent="0">
              <a:buNone/>
            </a:pPr>
            <a:endParaRPr lang="en-US" sz="2400" dirty="0"/>
          </a:p>
          <a:p>
            <a:r>
              <a:rPr lang="en-US" sz="2400" dirty="0"/>
              <a:t>78 technical experts were convened to lead the work</a:t>
            </a:r>
          </a:p>
          <a:p>
            <a:pPr marL="0" indent="0">
              <a:buNone/>
            </a:pPr>
            <a:endParaRPr lang="en-US" sz="2400" dirty="0"/>
          </a:p>
          <a:p>
            <a:r>
              <a:rPr lang="en-US" sz="2400" dirty="0"/>
              <a:t>Initial list of over 9000 indicators, reduced to 490, with an expert list of 100 published in September 2025</a:t>
            </a:r>
          </a:p>
          <a:p>
            <a:pPr lvl="1"/>
            <a:r>
              <a:rPr lang="en-US" sz="2000" dirty="0"/>
              <a:t>Parties provided guidance and criteria for this process during SB 60, CMA 6 and SB 62</a:t>
            </a:r>
          </a:p>
          <a:p>
            <a:pPr marL="457200" lvl="1" indent="0">
              <a:buNone/>
            </a:pPr>
            <a:endParaRPr lang="en-US" sz="2000" dirty="0"/>
          </a:p>
          <a:p>
            <a:r>
              <a:rPr lang="en-US" sz="2400" b="1" dirty="0">
                <a:highlight>
                  <a:srgbClr val="C0C0C0"/>
                </a:highlight>
              </a:rPr>
              <a:t>Parties provided views on the indicators during SB 63/CMA 7, and adopted a list of 59 indicators in Belém</a:t>
            </a:r>
          </a:p>
        </p:txBody>
      </p:sp>
      <p:sp>
        <p:nvSpPr>
          <p:cNvPr id="4" name="Slide Number Placeholder 3">
            <a:extLst>
              <a:ext uri="{FF2B5EF4-FFF2-40B4-BE49-F238E27FC236}">
                <a16:creationId xmlns:a16="http://schemas.microsoft.com/office/drawing/2014/main" id="{A4115C74-22E6-0F53-54DA-2D18A36DFAEB}"/>
              </a:ext>
            </a:extLst>
          </p:cNvPr>
          <p:cNvSpPr>
            <a:spLocks noGrp="1"/>
          </p:cNvSpPr>
          <p:nvPr>
            <p:ph type="sldNum" sz="quarter" idx="12"/>
          </p:nvPr>
        </p:nvSpPr>
        <p:spPr/>
        <p:txBody>
          <a:bodyPr/>
          <a:lstStyle/>
          <a:p>
            <a:fld id="{6BD9EE9C-3A9A-458B-8C8B-545D7DF0CA2D}" type="slidenum">
              <a:rPr lang="en-ID" smtClean="0"/>
              <a:pPr/>
              <a:t>12</a:t>
            </a:fld>
            <a:endParaRPr lang="en-ID"/>
          </a:p>
        </p:txBody>
      </p:sp>
    </p:spTree>
    <p:extLst>
      <p:ext uri="{BB962C8B-B14F-4D97-AF65-F5344CB8AC3E}">
        <p14:creationId xmlns:p14="http://schemas.microsoft.com/office/powerpoint/2010/main" val="17146528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1D457-90FD-3071-C9DA-ACBCFE17923D}"/>
              </a:ext>
            </a:extLst>
          </p:cNvPr>
          <p:cNvSpPr>
            <a:spLocks noGrp="1"/>
          </p:cNvSpPr>
          <p:nvPr>
            <p:ph type="title"/>
          </p:nvPr>
        </p:nvSpPr>
        <p:spPr>
          <a:xfrm>
            <a:off x="1010652" y="447337"/>
            <a:ext cx="10847670" cy="430887"/>
          </a:xfrm>
        </p:spPr>
        <p:txBody>
          <a:bodyPr wrap="square" anchor="ctr">
            <a:normAutofit/>
          </a:bodyPr>
          <a:lstStyle/>
          <a:p>
            <a:r>
              <a:rPr lang="en-US"/>
              <a:t>Indicators (</a:t>
            </a:r>
            <a:r>
              <a:rPr lang="en-US" err="1"/>
              <a:t>Belém</a:t>
            </a:r>
            <a:r>
              <a:rPr lang="en-US"/>
              <a:t> Adaptation Indicators)</a:t>
            </a:r>
          </a:p>
        </p:txBody>
      </p:sp>
      <p:sp>
        <p:nvSpPr>
          <p:cNvPr id="4" name="Slide Number Placeholder 3">
            <a:extLst>
              <a:ext uri="{FF2B5EF4-FFF2-40B4-BE49-F238E27FC236}">
                <a16:creationId xmlns:a16="http://schemas.microsoft.com/office/drawing/2014/main" id="{2F723D33-8A20-6C19-0F2C-81EA630BD212}"/>
              </a:ext>
            </a:extLst>
          </p:cNvPr>
          <p:cNvSpPr>
            <a:spLocks noGrp="1"/>
          </p:cNvSpPr>
          <p:nvPr>
            <p:ph type="sldNum" sz="quarter" idx="12"/>
          </p:nvPr>
        </p:nvSpPr>
        <p:spPr>
          <a:xfrm>
            <a:off x="228600" y="6208241"/>
            <a:ext cx="273844" cy="153888"/>
          </a:xfrm>
        </p:spPr>
        <p:txBody>
          <a:bodyPr>
            <a:normAutofit/>
          </a:bodyPr>
          <a:lstStyle/>
          <a:p>
            <a:pPr>
              <a:spcAft>
                <a:spcPts val="600"/>
              </a:spcAft>
            </a:pPr>
            <a:fld id="{6BD9EE9C-3A9A-458B-8C8B-545D7DF0CA2D}" type="slidenum">
              <a:rPr lang="en-ID" smtClean="0"/>
              <a:pPr>
                <a:spcAft>
                  <a:spcPts val="600"/>
                </a:spcAft>
              </a:pPr>
              <a:t>13</a:t>
            </a:fld>
            <a:endParaRPr lang="en-ID"/>
          </a:p>
        </p:txBody>
      </p:sp>
      <p:graphicFrame>
        <p:nvGraphicFramePr>
          <p:cNvPr id="6" name="Content Placeholder 2">
            <a:extLst>
              <a:ext uri="{FF2B5EF4-FFF2-40B4-BE49-F238E27FC236}">
                <a16:creationId xmlns:a16="http://schemas.microsoft.com/office/drawing/2014/main" id="{C826081C-BCB2-69CB-FBDC-36C11D127DBC}"/>
              </a:ext>
            </a:extLst>
          </p:cNvPr>
          <p:cNvGraphicFramePr>
            <a:graphicFrameLocks noGrp="1"/>
          </p:cNvGraphicFramePr>
          <p:nvPr>
            <p:ph idx="1"/>
            <p:extLst>
              <p:ext uri="{D42A27DB-BD31-4B8C-83A1-F6EECF244321}">
                <p14:modId xmlns:p14="http://schemas.microsoft.com/office/powerpoint/2010/main" val="1444456501"/>
              </p:ext>
            </p:extLst>
          </p:nvPr>
        </p:nvGraphicFramePr>
        <p:xfrm>
          <a:off x="1010652" y="1369847"/>
          <a:ext cx="1084767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251598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4F407-257F-BBBE-E00F-0D7327E1ED36}"/>
              </a:ext>
            </a:extLst>
          </p:cNvPr>
          <p:cNvSpPr>
            <a:spLocks noGrp="1"/>
          </p:cNvSpPr>
          <p:nvPr>
            <p:ph type="title"/>
          </p:nvPr>
        </p:nvSpPr>
        <p:spPr/>
        <p:txBody>
          <a:bodyPr/>
          <a:lstStyle/>
          <a:p>
            <a:r>
              <a:rPr lang="en-US" dirty="0"/>
              <a:t>Disclaimers and disaggregation </a:t>
            </a:r>
          </a:p>
        </p:txBody>
      </p:sp>
      <p:sp>
        <p:nvSpPr>
          <p:cNvPr id="3" name="Content Placeholder 2">
            <a:extLst>
              <a:ext uri="{FF2B5EF4-FFF2-40B4-BE49-F238E27FC236}">
                <a16:creationId xmlns:a16="http://schemas.microsoft.com/office/drawing/2014/main" id="{6812FAF5-62E5-1180-46DE-58F6EA954C16}"/>
              </a:ext>
            </a:extLst>
          </p:cNvPr>
          <p:cNvSpPr>
            <a:spLocks noGrp="1"/>
          </p:cNvSpPr>
          <p:nvPr>
            <p:ph idx="1"/>
          </p:nvPr>
        </p:nvSpPr>
        <p:spPr>
          <a:xfrm>
            <a:off x="1010652" y="1369846"/>
            <a:ext cx="10847670" cy="4605651"/>
          </a:xfrm>
        </p:spPr>
        <p:txBody>
          <a:bodyPr>
            <a:normAutofit lnSpcReduction="10000"/>
          </a:bodyPr>
          <a:lstStyle/>
          <a:p>
            <a:r>
              <a:rPr lang="en-US" sz="2400" dirty="0"/>
              <a:t>Indicators are to be voluntary, non-prescriptive, non-punitive, facilitative, global in nature, respectful of national sovereignty and national circumstances and country-driven, and that the indicators should not create additional reporting burdens, particularly for developing country Parties, are not intended to serve as a basis for comparison among Parties, shall not become a barrier and shall not be used under any circumstances as a condition for developing country Parties to access funding under the Convention and the Paris Agreement (12/CMA.7, para. 7)</a:t>
            </a:r>
          </a:p>
          <a:p>
            <a:endParaRPr lang="en-US" sz="2400" dirty="0"/>
          </a:p>
          <a:p>
            <a:r>
              <a:rPr lang="en-US" sz="2400" dirty="0"/>
              <a:t>Indicators may be disaggregated by: Social categories, climate-related hazards, geographical characteristics, ecosystems, administrative and settlement levels, types of adaptation measures, thematic sectors, subcomponents of the targets</a:t>
            </a:r>
          </a:p>
        </p:txBody>
      </p:sp>
      <p:sp>
        <p:nvSpPr>
          <p:cNvPr id="5" name="Slide Number Placeholder 4">
            <a:extLst>
              <a:ext uri="{FF2B5EF4-FFF2-40B4-BE49-F238E27FC236}">
                <a16:creationId xmlns:a16="http://schemas.microsoft.com/office/drawing/2014/main" id="{E6BF79F2-E6E4-C141-5B14-E463A2213405}"/>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BD9EE9C-3A9A-458B-8C8B-545D7DF0CA2D}" type="slidenum">
              <a:rPr kumimoji="0" lang="en-ID" sz="1000" b="1" i="0" u="none" strike="noStrike" kern="1200" cap="none" spc="0" normalizeH="0" baseline="0" noProof="0" smtClean="0">
                <a:ln>
                  <a:noFill/>
                </a:ln>
                <a:solidFill>
                  <a:srgbClr val="1775F9"/>
                </a:solidFill>
                <a:effectLst/>
                <a:uLnTx/>
                <a:uFillTx/>
                <a:latin typeface="Robot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ID" sz="1000" b="1" i="0" u="none" strike="noStrike" kern="1200" cap="none" spc="0" normalizeH="0" baseline="0" noProof="0">
              <a:ln>
                <a:noFill/>
              </a:ln>
              <a:solidFill>
                <a:srgbClr val="1775F9"/>
              </a:solidFill>
              <a:effectLst/>
              <a:uLnTx/>
              <a:uFillTx/>
              <a:latin typeface="Roboto"/>
              <a:ea typeface="+mn-ea"/>
              <a:cs typeface="+mn-cs"/>
            </a:endParaRPr>
          </a:p>
        </p:txBody>
      </p:sp>
    </p:spTree>
    <p:extLst>
      <p:ext uri="{BB962C8B-B14F-4D97-AF65-F5344CB8AC3E}">
        <p14:creationId xmlns:p14="http://schemas.microsoft.com/office/powerpoint/2010/main" val="5378775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E49D9-45FD-CB16-551D-0B17B0A0E4C0}"/>
              </a:ext>
            </a:extLst>
          </p:cNvPr>
          <p:cNvSpPr>
            <a:spLocks noGrp="1"/>
          </p:cNvSpPr>
          <p:nvPr>
            <p:ph type="title"/>
          </p:nvPr>
        </p:nvSpPr>
        <p:spPr/>
        <p:txBody>
          <a:bodyPr/>
          <a:lstStyle/>
          <a:p>
            <a:r>
              <a:rPr lang="en-US"/>
              <a:t>Indicators profile</a:t>
            </a:r>
          </a:p>
        </p:txBody>
      </p:sp>
      <p:sp>
        <p:nvSpPr>
          <p:cNvPr id="4" name="Slide Number Placeholder 3">
            <a:extLst>
              <a:ext uri="{FF2B5EF4-FFF2-40B4-BE49-F238E27FC236}">
                <a16:creationId xmlns:a16="http://schemas.microsoft.com/office/drawing/2014/main" id="{A00282BE-3C66-512F-6162-55A071DF133C}"/>
              </a:ext>
            </a:extLst>
          </p:cNvPr>
          <p:cNvSpPr>
            <a:spLocks noGrp="1"/>
          </p:cNvSpPr>
          <p:nvPr>
            <p:ph type="sldNum" sz="quarter" idx="12"/>
          </p:nvPr>
        </p:nvSpPr>
        <p:spPr/>
        <p:txBody>
          <a:bodyPr/>
          <a:lstStyle/>
          <a:p>
            <a:fld id="{6BD9EE9C-3A9A-458B-8C8B-545D7DF0CA2D}" type="slidenum">
              <a:rPr lang="en-ID" smtClean="0"/>
              <a:pPr/>
              <a:t>15</a:t>
            </a:fld>
            <a:endParaRPr lang="en-ID"/>
          </a:p>
        </p:txBody>
      </p:sp>
      <p:pic>
        <p:nvPicPr>
          <p:cNvPr id="6" name="Picture 5">
            <a:extLst>
              <a:ext uri="{FF2B5EF4-FFF2-40B4-BE49-F238E27FC236}">
                <a16:creationId xmlns:a16="http://schemas.microsoft.com/office/drawing/2014/main" id="{297F9FD6-6ED4-6363-8C9D-2E81D1E415D6}"/>
              </a:ext>
            </a:extLst>
          </p:cNvPr>
          <p:cNvPicPr>
            <a:picLocks noChangeAspect="1"/>
          </p:cNvPicPr>
          <p:nvPr/>
        </p:nvPicPr>
        <p:blipFill rotWithShape="1">
          <a:blip r:embed="rId2"/>
          <a:srcRect t="10162"/>
          <a:stretch/>
        </p:blipFill>
        <p:spPr>
          <a:xfrm>
            <a:off x="2087662" y="1178351"/>
            <a:ext cx="8693649" cy="5679649"/>
          </a:xfrm>
          <a:prstGeom prst="rect">
            <a:avLst/>
          </a:prstGeom>
        </p:spPr>
      </p:pic>
    </p:spTree>
    <p:extLst>
      <p:ext uri="{BB962C8B-B14F-4D97-AF65-F5344CB8AC3E}">
        <p14:creationId xmlns:p14="http://schemas.microsoft.com/office/powerpoint/2010/main" val="33072953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99556E-4699-937F-4810-612B6A6A2DB0}"/>
              </a:ext>
            </a:extLst>
          </p:cNvPr>
          <p:cNvSpPr>
            <a:spLocks noGrp="1"/>
          </p:cNvSpPr>
          <p:nvPr>
            <p:ph type="title"/>
          </p:nvPr>
        </p:nvSpPr>
        <p:spPr>
          <a:xfrm>
            <a:off x="1010652" y="548587"/>
            <a:ext cx="10847670" cy="430887"/>
          </a:xfrm>
        </p:spPr>
        <p:txBody>
          <a:bodyPr/>
          <a:lstStyle/>
          <a:p>
            <a:r>
              <a:rPr lang="en-US" dirty="0"/>
              <a:t>Next steps</a:t>
            </a:r>
          </a:p>
        </p:txBody>
      </p:sp>
      <p:sp>
        <p:nvSpPr>
          <p:cNvPr id="3" name="Content Placeholder 2">
            <a:extLst>
              <a:ext uri="{FF2B5EF4-FFF2-40B4-BE49-F238E27FC236}">
                <a16:creationId xmlns:a16="http://schemas.microsoft.com/office/drawing/2014/main" id="{29450687-9E27-D888-25C4-BC505A967D2E}"/>
              </a:ext>
            </a:extLst>
          </p:cNvPr>
          <p:cNvSpPr>
            <a:spLocks noGrp="1"/>
          </p:cNvSpPr>
          <p:nvPr>
            <p:ph idx="1"/>
          </p:nvPr>
        </p:nvSpPr>
        <p:spPr>
          <a:xfrm>
            <a:off x="1010652" y="1253331"/>
            <a:ext cx="10847670" cy="4679636"/>
          </a:xfrm>
        </p:spPr>
        <p:txBody>
          <a:bodyPr>
            <a:normAutofit/>
          </a:bodyPr>
          <a:lstStyle/>
          <a:p>
            <a:r>
              <a:rPr lang="en-US" sz="2400" dirty="0"/>
              <a:t>Encourages Parties, as appropriate and at their discretion, to test the Belém Adaptation Indicators, including in consultation with relevant practitioners and other stakeholders (12/CMA.7, para. 11)</a:t>
            </a:r>
            <a:endParaRPr lang="en" altLang="zh-CN" sz="2400" dirty="0"/>
          </a:p>
          <a:p>
            <a:pPr marL="0" indent="0">
              <a:buNone/>
            </a:pPr>
            <a:endParaRPr lang="en" altLang="zh-CN" sz="2400" dirty="0"/>
          </a:p>
          <a:p>
            <a:r>
              <a:rPr lang="en" altLang="zh-CN" sz="2400" dirty="0"/>
              <a:t>Belém–Addis Vision on Adaptation (Two-Year Work Process)</a:t>
            </a:r>
          </a:p>
          <a:p>
            <a:pPr lvl="1"/>
            <a:r>
              <a:rPr lang="en-US" sz="2400" dirty="0"/>
              <a:t>A two-year policy alignment process by Parties, and the technical work on </a:t>
            </a:r>
            <a:r>
              <a:rPr lang="en" altLang="zh-CN" sz="2400" dirty="0"/>
              <a:t>improving metadata, methodologies</a:t>
            </a:r>
            <a:endParaRPr lang="en-US" altLang="zh-CN" sz="2400" dirty="0"/>
          </a:p>
          <a:p>
            <a:pPr lvl="1"/>
            <a:r>
              <a:rPr lang="en" altLang="zh-CN" sz="2400" dirty="0"/>
              <a:t>Work will be undertaken jointly by SBSTA and SBI, including and supporting technical coherence. </a:t>
            </a:r>
          </a:p>
          <a:p>
            <a:pPr lvl="1"/>
            <a:r>
              <a:rPr lang="en" altLang="zh-CN" sz="2400" dirty="0"/>
              <a:t>Outcomes will be presented for consideration at CMA 9</a:t>
            </a:r>
          </a:p>
          <a:p>
            <a:pPr lvl="1"/>
            <a:r>
              <a:rPr lang="en" altLang="zh-CN" sz="2400" dirty="0"/>
              <a:t>Calls upon international organizations and agencies to support the technical work</a:t>
            </a:r>
          </a:p>
          <a:p>
            <a:pPr lvl="1"/>
            <a:endParaRPr lang="en" altLang="zh-CN" sz="2400" dirty="0"/>
          </a:p>
          <a:p>
            <a:endParaRPr lang="en-US" dirty="0"/>
          </a:p>
        </p:txBody>
      </p:sp>
      <p:sp>
        <p:nvSpPr>
          <p:cNvPr id="5" name="Slide Number Placeholder 4">
            <a:extLst>
              <a:ext uri="{FF2B5EF4-FFF2-40B4-BE49-F238E27FC236}">
                <a16:creationId xmlns:a16="http://schemas.microsoft.com/office/drawing/2014/main" id="{ED3FCB95-A03F-FE49-9DFD-321D260C3EE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BD9EE9C-3A9A-458B-8C8B-545D7DF0CA2D}" type="slidenum">
              <a:rPr kumimoji="0" lang="en-ID" sz="1000" b="1" i="0" u="none" strike="noStrike" kern="1200" cap="none" spc="0" normalizeH="0" baseline="0" noProof="0" smtClean="0">
                <a:ln>
                  <a:noFill/>
                </a:ln>
                <a:solidFill>
                  <a:srgbClr val="1775F9"/>
                </a:solidFill>
                <a:effectLst/>
                <a:uLnTx/>
                <a:uFillTx/>
                <a:latin typeface="Robot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ID" sz="1000" b="1" i="0" u="none" strike="noStrike" kern="1200" cap="none" spc="0" normalizeH="0" baseline="0" noProof="0">
              <a:ln>
                <a:noFill/>
              </a:ln>
              <a:solidFill>
                <a:srgbClr val="1775F9"/>
              </a:solidFill>
              <a:effectLst/>
              <a:uLnTx/>
              <a:uFillTx/>
              <a:latin typeface="Roboto"/>
              <a:ea typeface="+mn-ea"/>
              <a:cs typeface="+mn-cs"/>
            </a:endParaRPr>
          </a:p>
        </p:txBody>
      </p:sp>
    </p:spTree>
    <p:extLst>
      <p:ext uri="{BB962C8B-B14F-4D97-AF65-F5344CB8AC3E}">
        <p14:creationId xmlns:p14="http://schemas.microsoft.com/office/powerpoint/2010/main" val="7735283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FF983-B66D-243C-8316-C2D6923C3B6A}"/>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05BE19B-F599-DC87-7814-7DA608905F01}"/>
              </a:ext>
            </a:extLst>
          </p:cNvPr>
          <p:cNvCxnSpPr>
            <a:cxnSpLocks/>
          </p:cNvCxnSpPr>
          <p:nvPr/>
        </p:nvCxnSpPr>
        <p:spPr>
          <a:xfrm>
            <a:off x="11606191" y="2963248"/>
            <a:ext cx="0" cy="389475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3B29A60-9BBC-AE3D-7114-E24F10A10E1C}"/>
              </a:ext>
            </a:extLst>
          </p:cNvPr>
          <p:cNvCxnSpPr>
            <a:cxnSpLocks/>
          </p:cNvCxnSpPr>
          <p:nvPr/>
        </p:nvCxnSpPr>
        <p:spPr>
          <a:xfrm>
            <a:off x="12192000" y="1819275"/>
            <a:ext cx="0" cy="503872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id="{DF3BA177-526E-3F82-BCCF-807810FBC0EE}"/>
              </a:ext>
            </a:extLst>
          </p:cNvPr>
          <p:cNvSpPr/>
          <p:nvPr/>
        </p:nvSpPr>
        <p:spPr>
          <a:xfrm rot="5400000">
            <a:off x="8161055" y="-71156"/>
            <a:ext cx="1453125" cy="1595437"/>
          </a:xfrm>
          <a:custGeom>
            <a:avLst/>
            <a:gdLst>
              <a:gd name="connsiteX0" fmla="*/ 1919317 w 1919317"/>
              <a:gd name="connsiteY0" fmla="*/ 0 h 2107285"/>
              <a:gd name="connsiteX1" fmla="*/ 1919317 w 1919317"/>
              <a:gd name="connsiteY1" fmla="*/ 2107285 h 2107285"/>
              <a:gd name="connsiteX2" fmla="*/ 1900336 w 1919317"/>
              <a:gd name="connsiteY2" fmla="*/ 2106320 h 2107285"/>
              <a:gd name="connsiteX3" fmla="*/ 0 w 1919317"/>
              <a:gd name="connsiteY3" fmla="*/ 1178 h 2107285"/>
            </a:gdLst>
            <a:ahLst/>
            <a:cxnLst>
              <a:cxn ang="0">
                <a:pos x="connsiteX0" y="connsiteY0"/>
              </a:cxn>
              <a:cxn ang="0">
                <a:pos x="connsiteX1" y="connsiteY1"/>
              </a:cxn>
              <a:cxn ang="0">
                <a:pos x="connsiteX2" y="connsiteY2"/>
              </a:cxn>
              <a:cxn ang="0">
                <a:pos x="connsiteX3" y="connsiteY3"/>
              </a:cxn>
            </a:cxnLst>
            <a:rect l="l" t="t" r="r" b="b"/>
            <a:pathLst>
              <a:path w="1919317" h="2107285">
                <a:moveTo>
                  <a:pt x="1919317" y="0"/>
                </a:moveTo>
                <a:lnTo>
                  <a:pt x="1919317" y="2107285"/>
                </a:lnTo>
                <a:lnTo>
                  <a:pt x="1900336" y="2106320"/>
                </a:lnTo>
                <a:cubicBezTo>
                  <a:pt x="833337" y="1997647"/>
                  <a:pt x="673" y="1096765"/>
                  <a:pt x="0" y="117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sp>
        <p:nvSpPr>
          <p:cNvPr id="9" name="Rectangle: Single Corner Rounded 8">
            <a:extLst>
              <a:ext uri="{FF2B5EF4-FFF2-40B4-BE49-F238E27FC236}">
                <a16:creationId xmlns:a16="http://schemas.microsoft.com/office/drawing/2014/main" id="{6BF2A42F-08C3-DBB7-87F1-109F82C6E114}"/>
              </a:ext>
            </a:extLst>
          </p:cNvPr>
          <p:cNvSpPr/>
          <p:nvPr/>
        </p:nvSpPr>
        <p:spPr>
          <a:xfrm>
            <a:off x="0" y="1178535"/>
            <a:ext cx="11020382" cy="5679465"/>
          </a:xfrm>
          <a:prstGeom prst="round1Rect">
            <a:avLst>
              <a:gd name="adj" fmla="val 24589"/>
            </a:avLst>
          </a:prstGeom>
          <a:gradFill flip="none" rotWithShape="1">
            <a:gsLst>
              <a:gs pos="0">
                <a:schemeClr val="accent1">
                  <a:lumMod val="50000"/>
                </a:schemeClr>
              </a:gs>
              <a:gs pos="100000">
                <a:schemeClr val="accent1"/>
              </a:gs>
            </a:gsLst>
            <a:lin ang="2700000" scaled="1"/>
            <a:tileRect/>
          </a:gradFill>
          <a:ln>
            <a:noFill/>
          </a:ln>
          <a:effectLst>
            <a:outerShdw blurRad="279400" dist="38100" dir="8100000" algn="ctr" rotWithShape="0">
              <a:srgbClr val="000000">
                <a:alpha val="62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Tx/>
              <a:buNone/>
              <a:tabLst/>
              <a:defRPr/>
            </a:pPr>
            <a:endParaRPr kumimoji="0" lang="en-ID" sz="1800" b="0" i="0" u="none" strike="noStrike" kern="0" cap="none" spc="0" normalizeH="0" baseline="0" noProof="0">
              <a:ln>
                <a:noFill/>
              </a:ln>
              <a:solidFill>
                <a:srgbClr val="FFFFFF"/>
              </a:solidFill>
              <a:effectLst/>
              <a:uLnTx/>
              <a:uFillTx/>
              <a:latin typeface="Arial"/>
              <a:ea typeface="+mn-ea"/>
              <a:cs typeface="Arial"/>
            </a:endParaRPr>
          </a:p>
        </p:txBody>
      </p:sp>
      <p:sp>
        <p:nvSpPr>
          <p:cNvPr id="10" name="Rectangle: Single Corner Rounded 27">
            <a:extLst>
              <a:ext uri="{FF2B5EF4-FFF2-40B4-BE49-F238E27FC236}">
                <a16:creationId xmlns:a16="http://schemas.microsoft.com/office/drawing/2014/main" id="{E5A5F497-CC91-9CE6-0893-7B940ABDD4CC}"/>
              </a:ext>
            </a:extLst>
          </p:cNvPr>
          <p:cNvSpPr/>
          <p:nvPr/>
        </p:nvSpPr>
        <p:spPr>
          <a:xfrm>
            <a:off x="0" y="1178535"/>
            <a:ext cx="11020382" cy="5679465"/>
          </a:xfrm>
          <a:custGeom>
            <a:avLst/>
            <a:gdLst>
              <a:gd name="connsiteX0" fmla="*/ 0 w 11020382"/>
              <a:gd name="connsiteY0" fmla="*/ 0 h 5679465"/>
              <a:gd name="connsiteX1" fmla="*/ 9623858 w 11020382"/>
              <a:gd name="connsiteY1" fmla="*/ 0 h 5679465"/>
              <a:gd name="connsiteX2" fmla="*/ 11020382 w 11020382"/>
              <a:gd name="connsiteY2" fmla="*/ 1396524 h 5679465"/>
              <a:gd name="connsiteX3" fmla="*/ 11020382 w 11020382"/>
              <a:gd name="connsiteY3" fmla="*/ 5679465 h 5679465"/>
              <a:gd name="connsiteX4" fmla="*/ 0 w 11020382"/>
              <a:gd name="connsiteY4" fmla="*/ 5679465 h 5679465"/>
              <a:gd name="connsiteX5" fmla="*/ 0 w 11020382"/>
              <a:gd name="connsiteY5" fmla="*/ 0 h 5679465"/>
              <a:gd name="connsiteX0" fmla="*/ 0 w 11020382"/>
              <a:gd name="connsiteY0" fmla="*/ 5679465 h 5679465"/>
              <a:gd name="connsiteX1" fmla="*/ 9623858 w 11020382"/>
              <a:gd name="connsiteY1" fmla="*/ 0 h 5679465"/>
              <a:gd name="connsiteX2" fmla="*/ 11020382 w 11020382"/>
              <a:gd name="connsiteY2" fmla="*/ 1396524 h 5679465"/>
              <a:gd name="connsiteX3" fmla="*/ 11020382 w 11020382"/>
              <a:gd name="connsiteY3" fmla="*/ 5679465 h 5679465"/>
              <a:gd name="connsiteX4" fmla="*/ 0 w 11020382"/>
              <a:gd name="connsiteY4" fmla="*/ 5679465 h 5679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20382" h="5679465">
                <a:moveTo>
                  <a:pt x="0" y="5679465"/>
                </a:moveTo>
                <a:lnTo>
                  <a:pt x="9623858" y="0"/>
                </a:lnTo>
                <a:cubicBezTo>
                  <a:pt x="10395137" y="0"/>
                  <a:pt x="11020382" y="625245"/>
                  <a:pt x="11020382" y="1396524"/>
                </a:cubicBezTo>
                <a:lnTo>
                  <a:pt x="11020382" y="5679465"/>
                </a:lnTo>
                <a:lnTo>
                  <a:pt x="0" y="5679465"/>
                </a:lnTo>
                <a:close/>
              </a:path>
            </a:pathLst>
          </a:custGeom>
          <a:gradFill flip="none" rotWithShape="1">
            <a:gsLst>
              <a:gs pos="0">
                <a:schemeClr val="accent2">
                  <a:alpha val="48000"/>
                </a:schemeClr>
              </a:gs>
              <a:gs pos="100000">
                <a:schemeClr val="accent2">
                  <a:alpha val="0"/>
                </a:schemeClr>
              </a:gs>
            </a:gsLst>
            <a:lin ang="8100000" scaled="1"/>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Segoe UI Light"/>
              <a:ea typeface="+mn-ea"/>
              <a:cs typeface="+mn-cs"/>
            </a:endParaRPr>
          </a:p>
        </p:txBody>
      </p:sp>
      <p:grpSp>
        <p:nvGrpSpPr>
          <p:cNvPr id="11" name="Group 10">
            <a:extLst>
              <a:ext uri="{FF2B5EF4-FFF2-40B4-BE49-F238E27FC236}">
                <a16:creationId xmlns:a16="http://schemas.microsoft.com/office/drawing/2014/main" id="{664650C5-77F4-531D-5A71-E510578F9650}"/>
              </a:ext>
            </a:extLst>
          </p:cNvPr>
          <p:cNvGrpSpPr/>
          <p:nvPr/>
        </p:nvGrpSpPr>
        <p:grpSpPr>
          <a:xfrm>
            <a:off x="389726" y="3179576"/>
            <a:ext cx="9856807" cy="1711127"/>
            <a:chOff x="418652" y="3728258"/>
            <a:chExt cx="10075178" cy="1711127"/>
          </a:xfrm>
        </p:grpSpPr>
        <p:sp>
          <p:nvSpPr>
            <p:cNvPr id="12" name="Title 1">
              <a:extLst>
                <a:ext uri="{FF2B5EF4-FFF2-40B4-BE49-F238E27FC236}">
                  <a16:creationId xmlns:a16="http://schemas.microsoft.com/office/drawing/2014/main" id="{6D4E7F30-8F1D-AE0B-8605-E85CC98AA442}"/>
                </a:ext>
              </a:extLst>
            </p:cNvPr>
            <p:cNvSpPr txBox="1">
              <a:spLocks/>
            </p:cNvSpPr>
            <p:nvPr/>
          </p:nvSpPr>
          <p:spPr>
            <a:xfrm>
              <a:off x="418652" y="3728258"/>
              <a:ext cx="9273617" cy="1677382"/>
            </a:xfrm>
            <a:prstGeom prst="rect">
              <a:avLst/>
            </a:prstGeom>
          </p:spPr>
          <p:txBody>
            <a:bodyPr vert="horz" wrap="square" lIns="0" tIns="0" rIns="0" bIns="0" rtlCol="0" anchor="t">
              <a:spAutoFit/>
            </a:bodyPr>
            <a:lstStyle>
              <a:lvl1pPr marL="0" algn="l" defTabSz="914400" rtl="0" eaLnBrk="1" latinLnBrk="0" hangingPunct="1">
                <a:lnSpc>
                  <a:spcPct val="90000"/>
                </a:lnSpc>
                <a:spcBef>
                  <a:spcPct val="0"/>
                </a:spcBef>
                <a:buNone/>
                <a:defRPr lang="en-US" sz="3200" b="1" kern="1200" spc="300" dirty="0">
                  <a:solidFill>
                    <a:schemeClr val="tx2"/>
                  </a:solidFill>
                  <a:latin typeface="+mj-lt"/>
                  <a:ea typeface="+mn-ea"/>
                  <a:cs typeface="+mn-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4400" b="1" i="0" u="none" strike="noStrike" kern="1200" cap="none" spc="300" normalizeH="0" baseline="0" noProof="0" dirty="0">
                  <a:ln>
                    <a:noFill/>
                  </a:ln>
                  <a:solidFill>
                    <a:prstClr val="white"/>
                  </a:solidFill>
                  <a:effectLst/>
                  <a:uLnTx/>
                  <a:uFillTx/>
                  <a:latin typeface="Roboto"/>
                  <a:ea typeface="+mn-ea"/>
                  <a:cs typeface="+mn-cs"/>
                </a:rPr>
                <a:t>Thank you</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6000" b="1" i="0" u="none" strike="noStrike" kern="1200" cap="none" spc="300" normalizeH="0" baseline="0" noProof="0" dirty="0">
                <a:ln>
                  <a:noFill/>
                </a:ln>
                <a:solidFill>
                  <a:prstClr val="white"/>
                </a:solidFill>
                <a:effectLst/>
                <a:uLnTx/>
                <a:uFillTx/>
                <a:latin typeface="Roboto"/>
                <a:ea typeface="+mn-ea"/>
                <a:cs typeface="+mn-cs"/>
              </a:endParaRPr>
            </a:p>
          </p:txBody>
        </p:sp>
        <p:sp>
          <p:nvSpPr>
            <p:cNvPr id="13" name="Title 1">
              <a:extLst>
                <a:ext uri="{FF2B5EF4-FFF2-40B4-BE49-F238E27FC236}">
                  <a16:creationId xmlns:a16="http://schemas.microsoft.com/office/drawing/2014/main" id="{F66DF073-9784-A73F-3E80-9C616A029CED}"/>
                </a:ext>
              </a:extLst>
            </p:cNvPr>
            <p:cNvSpPr txBox="1">
              <a:spLocks/>
            </p:cNvSpPr>
            <p:nvPr/>
          </p:nvSpPr>
          <p:spPr>
            <a:xfrm>
              <a:off x="448886" y="4610661"/>
              <a:ext cx="10044944" cy="430887"/>
            </a:xfrm>
            <a:prstGeom prst="rect">
              <a:avLst/>
            </a:prstGeom>
          </p:spPr>
          <p:txBody>
            <a:bodyPr vert="horz" wrap="square" lIns="0" tIns="0" rIns="0" bIns="0" rtlCol="0" anchor="t">
              <a:spAutoFit/>
            </a:bodyPr>
            <a:lstStyle>
              <a:lvl1pPr marL="0" algn="l" defTabSz="914400" rtl="0" eaLnBrk="1" latinLnBrk="0" hangingPunct="1">
                <a:lnSpc>
                  <a:spcPct val="90000"/>
                </a:lnSpc>
                <a:spcBef>
                  <a:spcPct val="0"/>
                </a:spcBef>
                <a:buNone/>
                <a:defRPr lang="en-US" sz="3200" b="1" kern="1200" spc="300" dirty="0">
                  <a:solidFill>
                    <a:schemeClr val="tx2"/>
                  </a:solidFill>
                  <a:latin typeface="+mj-lt"/>
                  <a:ea typeface="+mn-ea"/>
                  <a:cs typeface="+mn-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2800" b="0" i="0" u="none" strike="noStrike" kern="1200" cap="none" spc="300" normalizeH="0" baseline="0" noProof="0">
                <a:ln>
                  <a:noFill/>
                </a:ln>
                <a:solidFill>
                  <a:srgbClr val="1775F9"/>
                </a:solidFill>
                <a:effectLst/>
                <a:uLnTx/>
                <a:uFillTx/>
                <a:latin typeface="Roboto"/>
                <a:ea typeface="+mn-ea"/>
                <a:cs typeface="+mn-cs"/>
              </a:endParaRPr>
            </a:p>
          </p:txBody>
        </p:sp>
        <p:sp>
          <p:nvSpPr>
            <p:cNvPr id="14" name="Rectangle 13">
              <a:extLst>
                <a:ext uri="{FF2B5EF4-FFF2-40B4-BE49-F238E27FC236}">
                  <a16:creationId xmlns:a16="http://schemas.microsoft.com/office/drawing/2014/main" id="{1F152485-E06F-948F-C9E6-98D6144019E4}"/>
                </a:ext>
              </a:extLst>
            </p:cNvPr>
            <p:cNvSpPr/>
            <p:nvPr/>
          </p:nvSpPr>
          <p:spPr>
            <a:xfrm>
              <a:off x="448887" y="5347536"/>
              <a:ext cx="698876" cy="918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sp>
          <p:nvSpPr>
            <p:cNvPr id="2" name="Title 1">
              <a:extLst>
                <a:ext uri="{FF2B5EF4-FFF2-40B4-BE49-F238E27FC236}">
                  <a16:creationId xmlns:a16="http://schemas.microsoft.com/office/drawing/2014/main" id="{32D51D57-189A-D1FB-10A0-9704664A312E}"/>
                </a:ext>
              </a:extLst>
            </p:cNvPr>
            <p:cNvSpPr txBox="1">
              <a:spLocks/>
            </p:cNvSpPr>
            <p:nvPr/>
          </p:nvSpPr>
          <p:spPr>
            <a:xfrm>
              <a:off x="448887" y="4682262"/>
              <a:ext cx="10044942" cy="276999"/>
            </a:xfrm>
            <a:prstGeom prst="rect">
              <a:avLst/>
            </a:prstGeom>
          </p:spPr>
          <p:txBody>
            <a:bodyPr vert="horz" wrap="square" lIns="0" tIns="0" rIns="0" bIns="0" rtlCol="0" anchor="t">
              <a:spAutoFit/>
            </a:bodyPr>
            <a:lstStyle>
              <a:lvl1pPr marL="0" algn="l" defTabSz="914400" rtl="0" eaLnBrk="1" latinLnBrk="0" hangingPunct="1">
                <a:lnSpc>
                  <a:spcPct val="90000"/>
                </a:lnSpc>
                <a:spcBef>
                  <a:spcPct val="0"/>
                </a:spcBef>
                <a:buNone/>
                <a:defRPr lang="en-US" sz="3200" b="1" kern="1200" spc="300" dirty="0">
                  <a:solidFill>
                    <a:schemeClr val="tx2"/>
                  </a:solidFill>
                  <a:latin typeface="+mj-lt"/>
                  <a:ea typeface="+mn-ea"/>
                  <a:cs typeface="+mn-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1" i="0" u="none" strike="noStrike" kern="1200" cap="none" spc="300" normalizeH="0" baseline="0" noProof="0">
                <a:ln>
                  <a:noFill/>
                </a:ln>
                <a:solidFill>
                  <a:prstClr val="white"/>
                </a:solidFill>
                <a:effectLst/>
                <a:uLnTx/>
                <a:uFillTx/>
                <a:latin typeface="Roboto"/>
                <a:ea typeface="+mn-ea"/>
                <a:cs typeface="+mn-cs"/>
              </a:endParaRPr>
            </a:p>
          </p:txBody>
        </p:sp>
      </p:grpSp>
      <p:sp>
        <p:nvSpPr>
          <p:cNvPr id="15" name="Freeform: Shape 14">
            <a:extLst>
              <a:ext uri="{FF2B5EF4-FFF2-40B4-BE49-F238E27FC236}">
                <a16:creationId xmlns:a16="http://schemas.microsoft.com/office/drawing/2014/main" id="{AF9D2F3E-54FF-52EA-98FF-4B808B3C5E46}"/>
              </a:ext>
            </a:extLst>
          </p:cNvPr>
          <p:cNvSpPr/>
          <p:nvPr/>
        </p:nvSpPr>
        <p:spPr>
          <a:xfrm>
            <a:off x="9220200" y="0"/>
            <a:ext cx="2971800" cy="3143073"/>
          </a:xfrm>
          <a:custGeom>
            <a:avLst/>
            <a:gdLst>
              <a:gd name="connsiteX0" fmla="*/ 412522 w 2971800"/>
              <a:gd name="connsiteY0" fmla="*/ 0 h 3143073"/>
              <a:gd name="connsiteX1" fmla="*/ 2971800 w 2971800"/>
              <a:gd name="connsiteY1" fmla="*/ 0 h 3143073"/>
              <a:gd name="connsiteX2" fmla="*/ 2971800 w 2971800"/>
              <a:gd name="connsiteY2" fmla="*/ 2849601 h 3143073"/>
              <a:gd name="connsiteX3" fmla="*/ 2875613 w 2971800"/>
              <a:gd name="connsiteY3" fmla="*/ 2908037 h 3143073"/>
              <a:gd name="connsiteX4" fmla="*/ 2146485 w 2971800"/>
              <a:gd name="connsiteY4" fmla="*/ 3133020 h 3143073"/>
              <a:gd name="connsiteX5" fmla="*/ 1947397 w 2971800"/>
              <a:gd name="connsiteY5" fmla="*/ 3143073 h 3143073"/>
              <a:gd name="connsiteX6" fmla="*/ 1947357 w 2971800"/>
              <a:gd name="connsiteY6" fmla="*/ 3143073 h 3143073"/>
              <a:gd name="connsiteX7" fmla="*/ 1748269 w 2971800"/>
              <a:gd name="connsiteY7" fmla="*/ 3133020 h 3143073"/>
              <a:gd name="connsiteX8" fmla="*/ 0 w 2971800"/>
              <a:gd name="connsiteY8" fmla="*/ 1195699 h 3143073"/>
              <a:gd name="connsiteX9" fmla="*/ 332581 w 2971800"/>
              <a:gd name="connsiteY9" fmla="*/ 106903 h 3143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1800" h="3143073">
                <a:moveTo>
                  <a:pt x="412522" y="0"/>
                </a:moveTo>
                <a:lnTo>
                  <a:pt x="2971800" y="0"/>
                </a:lnTo>
                <a:lnTo>
                  <a:pt x="2971800" y="2849601"/>
                </a:lnTo>
                <a:lnTo>
                  <a:pt x="2875613" y="2908037"/>
                </a:lnTo>
                <a:cubicBezTo>
                  <a:pt x="2654869" y="3027952"/>
                  <a:pt x="2408346" y="3106427"/>
                  <a:pt x="2146485" y="3133020"/>
                </a:cubicBezTo>
                <a:lnTo>
                  <a:pt x="1947397" y="3143073"/>
                </a:lnTo>
                <a:lnTo>
                  <a:pt x="1947357" y="3143073"/>
                </a:lnTo>
                <a:lnTo>
                  <a:pt x="1748269" y="3133020"/>
                </a:lnTo>
                <a:cubicBezTo>
                  <a:pt x="766292" y="3033295"/>
                  <a:pt x="0" y="2203986"/>
                  <a:pt x="0" y="1195699"/>
                </a:cubicBezTo>
                <a:cubicBezTo>
                  <a:pt x="0" y="792384"/>
                  <a:pt x="122607" y="417706"/>
                  <a:pt x="332581" y="106903"/>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pic>
        <p:nvPicPr>
          <p:cNvPr id="16" name="Graphic 15">
            <a:extLst>
              <a:ext uri="{FF2B5EF4-FFF2-40B4-BE49-F238E27FC236}">
                <a16:creationId xmlns:a16="http://schemas.microsoft.com/office/drawing/2014/main" id="{347D8162-13A9-4349-FD99-F7029272746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8886" y="375284"/>
            <a:ext cx="2551489" cy="569833"/>
          </a:xfrm>
          <a:prstGeom prst="rect">
            <a:avLst/>
          </a:prstGeom>
        </p:spPr>
      </p:pic>
      <p:sp>
        <p:nvSpPr>
          <p:cNvPr id="3" name="Title 1">
            <a:extLst>
              <a:ext uri="{FF2B5EF4-FFF2-40B4-BE49-F238E27FC236}">
                <a16:creationId xmlns:a16="http://schemas.microsoft.com/office/drawing/2014/main" id="{3BF439E2-8E1A-87B4-9A91-50D4A2AD8D5B}"/>
              </a:ext>
            </a:extLst>
          </p:cNvPr>
          <p:cNvSpPr txBox="1">
            <a:spLocks/>
          </p:cNvSpPr>
          <p:nvPr/>
        </p:nvSpPr>
        <p:spPr>
          <a:xfrm>
            <a:off x="448886" y="3990171"/>
            <a:ext cx="9827226" cy="307777"/>
          </a:xfrm>
          <a:prstGeom prst="rect">
            <a:avLst/>
          </a:prstGeom>
        </p:spPr>
        <p:txBody>
          <a:bodyPr vert="horz" wrap="square" lIns="0" tIns="0" rIns="0" bIns="0" rtlCol="0" anchor="b">
            <a:spAutoFit/>
          </a:bodyPr>
          <a:lstStyle>
            <a:lvl1pPr marL="0" algn="l" defTabSz="914400" rtl="0" eaLnBrk="1" latinLnBrk="0" hangingPunct="1">
              <a:lnSpc>
                <a:spcPct val="90000"/>
              </a:lnSpc>
              <a:spcBef>
                <a:spcPct val="0"/>
              </a:spcBef>
              <a:buNone/>
              <a:defRPr lang="en-US" sz="3200" b="1" kern="1200" spc="300" dirty="0">
                <a:solidFill>
                  <a:schemeClr val="tx2"/>
                </a:solidFill>
                <a:latin typeface="+mj-lt"/>
                <a:ea typeface="+mn-ea"/>
                <a:cs typeface="+mn-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2000" b="0" i="1" u="none" strike="noStrike" kern="1200" cap="none" spc="300" normalizeH="0" baseline="0" noProof="0">
              <a:ln>
                <a:noFill/>
              </a:ln>
              <a:solidFill>
                <a:prstClr val="white"/>
              </a:solidFill>
              <a:effectLst/>
              <a:uLnTx/>
              <a:uFillTx/>
              <a:latin typeface="Roboto"/>
              <a:ea typeface="+mn-ea"/>
              <a:cs typeface="+mn-cs"/>
            </a:endParaRPr>
          </a:p>
        </p:txBody>
      </p:sp>
      <p:pic>
        <p:nvPicPr>
          <p:cNvPr id="18" name="Picture 17">
            <a:extLst>
              <a:ext uri="{FF2B5EF4-FFF2-40B4-BE49-F238E27FC236}">
                <a16:creationId xmlns:a16="http://schemas.microsoft.com/office/drawing/2014/main" id="{ACBE938C-5068-4243-0FA0-5224E312C5A3}"/>
              </a:ext>
            </a:extLst>
          </p:cNvPr>
          <p:cNvPicPr>
            <a:picLocks noChangeAspect="1"/>
          </p:cNvPicPr>
          <p:nvPr/>
        </p:nvPicPr>
        <p:blipFill>
          <a:blip r:embed="rId4"/>
          <a:srcRect r="7001"/>
          <a:stretch>
            <a:fillRect/>
          </a:stretch>
        </p:blipFill>
        <p:spPr>
          <a:xfrm>
            <a:off x="40482" y="1239637"/>
            <a:ext cx="9150139" cy="5507630"/>
          </a:xfrm>
          <a:prstGeom prst="rect">
            <a:avLst/>
          </a:prstGeom>
        </p:spPr>
      </p:pic>
    </p:spTree>
    <p:extLst>
      <p:ext uri="{BB962C8B-B14F-4D97-AF65-F5344CB8AC3E}">
        <p14:creationId xmlns:p14="http://schemas.microsoft.com/office/powerpoint/2010/main" val="19822364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0EFFD-0482-5597-6845-BD49737D93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3F14140-4D31-2026-BAC3-D857C407D859}"/>
              </a:ext>
            </a:extLst>
          </p:cNvPr>
          <p:cNvSpPr>
            <a:spLocks noGrp="1"/>
          </p:cNvSpPr>
          <p:nvPr>
            <p:ph type="title"/>
          </p:nvPr>
        </p:nvSpPr>
        <p:spPr>
          <a:xfrm>
            <a:off x="831850" y="3639145"/>
            <a:ext cx="10515600" cy="923330"/>
          </a:xfrm>
        </p:spPr>
        <p:txBody>
          <a:bodyPr/>
          <a:lstStyle/>
          <a:p>
            <a:r>
              <a:rPr lang="en-US"/>
              <a:t>Background</a:t>
            </a:r>
          </a:p>
        </p:txBody>
      </p:sp>
      <p:sp>
        <p:nvSpPr>
          <p:cNvPr id="3" name="Text Placeholder 2">
            <a:extLst>
              <a:ext uri="{FF2B5EF4-FFF2-40B4-BE49-F238E27FC236}">
                <a16:creationId xmlns:a16="http://schemas.microsoft.com/office/drawing/2014/main" id="{87E744B3-5D72-6718-8D78-64415D589F2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23D84E2-603B-08D6-9C88-38585C7408D5}"/>
              </a:ext>
            </a:extLst>
          </p:cNvPr>
          <p:cNvSpPr>
            <a:spLocks noGrp="1"/>
          </p:cNvSpPr>
          <p:nvPr>
            <p:ph type="sldNum" sz="quarter" idx="12"/>
          </p:nvPr>
        </p:nvSpPr>
        <p:spPr/>
        <p:txBody>
          <a:bodyPr/>
          <a:lstStyle/>
          <a:p>
            <a:fld id="{6BD9EE9C-3A9A-458B-8C8B-545D7DF0CA2D}" type="slidenum">
              <a:rPr lang="en-ID" smtClean="0"/>
              <a:pPr/>
              <a:t>18</a:t>
            </a:fld>
            <a:endParaRPr lang="en-ID"/>
          </a:p>
        </p:txBody>
      </p:sp>
      <p:pic>
        <p:nvPicPr>
          <p:cNvPr id="6" name="Picture 5">
            <a:extLst>
              <a:ext uri="{FF2B5EF4-FFF2-40B4-BE49-F238E27FC236}">
                <a16:creationId xmlns:a16="http://schemas.microsoft.com/office/drawing/2014/main" id="{62CF8919-4A2F-6891-98C1-26F2987930DB}"/>
              </a:ext>
            </a:extLst>
          </p:cNvPr>
          <p:cNvPicPr>
            <a:picLocks noChangeAspect="1"/>
          </p:cNvPicPr>
          <p:nvPr/>
        </p:nvPicPr>
        <p:blipFill>
          <a:blip r:embed="rId2"/>
          <a:stretch>
            <a:fillRect/>
          </a:stretch>
        </p:blipFill>
        <p:spPr>
          <a:xfrm>
            <a:off x="100012" y="47625"/>
            <a:ext cx="11991975" cy="6762750"/>
          </a:xfrm>
          <a:prstGeom prst="rect">
            <a:avLst/>
          </a:prstGeom>
          <a:solidFill>
            <a:srgbClr val="062449"/>
          </a:solidFill>
        </p:spPr>
      </p:pic>
      <p:sp>
        <p:nvSpPr>
          <p:cNvPr id="5" name="TextBox 4">
            <a:extLst>
              <a:ext uri="{FF2B5EF4-FFF2-40B4-BE49-F238E27FC236}">
                <a16:creationId xmlns:a16="http://schemas.microsoft.com/office/drawing/2014/main" id="{E03C3065-0114-C251-E607-982AB0FF95EC}"/>
              </a:ext>
            </a:extLst>
          </p:cNvPr>
          <p:cNvSpPr txBox="1"/>
          <p:nvPr/>
        </p:nvSpPr>
        <p:spPr>
          <a:xfrm>
            <a:off x="963168" y="3639145"/>
            <a:ext cx="10229088" cy="615553"/>
          </a:xfrm>
          <a:prstGeom prst="rect">
            <a:avLst/>
          </a:prstGeom>
          <a:solidFill>
            <a:srgbClr val="062449"/>
          </a:solidFill>
        </p:spPr>
        <p:txBody>
          <a:bodyPr wrap="square" lIns="0" tIns="0" rIns="0" bIns="0" rtlCol="0">
            <a:spAutoFit/>
          </a:bodyPr>
          <a:lstStyle/>
          <a:p>
            <a:pPr marL="0" indent="0" algn="l">
              <a:buFont typeface="Arial" panose="020B0604020202020204" pitchFamily="34" charset="0"/>
              <a:buNone/>
            </a:pPr>
            <a:r>
              <a:rPr lang="en-US" sz="4000" b="1" dirty="0">
                <a:solidFill>
                  <a:schemeClr val="bg1"/>
                </a:solidFill>
              </a:rPr>
              <a:t>Targeted Interventions</a:t>
            </a:r>
          </a:p>
        </p:txBody>
      </p:sp>
      <p:sp>
        <p:nvSpPr>
          <p:cNvPr id="10" name="TextBox 9">
            <a:extLst>
              <a:ext uri="{FF2B5EF4-FFF2-40B4-BE49-F238E27FC236}">
                <a16:creationId xmlns:a16="http://schemas.microsoft.com/office/drawing/2014/main" id="{CFF1AC4F-2600-BFE9-01D4-3BBAEF001CC0}"/>
              </a:ext>
            </a:extLst>
          </p:cNvPr>
          <p:cNvSpPr txBox="1"/>
          <p:nvPr/>
        </p:nvSpPr>
        <p:spPr>
          <a:xfrm>
            <a:off x="6727825" y="2484983"/>
            <a:ext cx="6096000" cy="2308324"/>
          </a:xfrm>
          <a:prstGeom prst="rect">
            <a:avLst/>
          </a:prstGeom>
          <a:noFill/>
        </p:spPr>
        <p:txBody>
          <a:bodyPr wrap="square">
            <a:spAutoFit/>
          </a:bodyPr>
          <a:lstStyle/>
          <a:p>
            <a:r>
              <a:rPr lang="en-US" dirty="0">
                <a:solidFill>
                  <a:schemeClr val="bg1"/>
                </a:solidFill>
              </a:rPr>
              <a:t>Speakers	</a:t>
            </a:r>
          </a:p>
          <a:p>
            <a:r>
              <a:rPr lang="en-US" dirty="0">
                <a:solidFill>
                  <a:schemeClr val="bg1"/>
                </a:solidFill>
              </a:rPr>
              <a:t>	</a:t>
            </a:r>
          </a:p>
          <a:p>
            <a:r>
              <a:rPr lang="en-US" dirty="0">
                <a:solidFill>
                  <a:schemeClr val="bg1"/>
                </a:solidFill>
              </a:rPr>
              <a:t>  Maldives → country 	</a:t>
            </a:r>
          </a:p>
          <a:p>
            <a:r>
              <a:rPr lang="en-US" dirty="0">
                <a:solidFill>
                  <a:schemeClr val="bg1"/>
                </a:solidFill>
              </a:rPr>
              <a:t>  OHCHR → cross-cutting 	</a:t>
            </a:r>
          </a:p>
          <a:p>
            <a:r>
              <a:rPr lang="en-US" dirty="0">
                <a:solidFill>
                  <a:schemeClr val="bg1"/>
                </a:solidFill>
              </a:rPr>
              <a:t>  IGAD → systems 	</a:t>
            </a:r>
          </a:p>
          <a:p>
            <a:r>
              <a:rPr lang="en-US" dirty="0">
                <a:solidFill>
                  <a:schemeClr val="bg1"/>
                </a:solidFill>
              </a:rPr>
              <a:t>  GGGI → investment 	</a:t>
            </a:r>
          </a:p>
          <a:p>
            <a:r>
              <a:rPr lang="en-US" dirty="0">
                <a:solidFill>
                  <a:schemeClr val="bg1"/>
                </a:solidFill>
              </a:rPr>
              <a:t>  UNDP → implementation 	</a:t>
            </a:r>
          </a:p>
          <a:p>
            <a:r>
              <a:rPr lang="en-US" dirty="0">
                <a:solidFill>
                  <a:schemeClr val="bg1"/>
                </a:solidFill>
              </a:rPr>
              <a:t>  Expert → synthesis	</a:t>
            </a:r>
          </a:p>
        </p:txBody>
      </p:sp>
    </p:spTree>
    <p:extLst>
      <p:ext uri="{BB962C8B-B14F-4D97-AF65-F5344CB8AC3E}">
        <p14:creationId xmlns:p14="http://schemas.microsoft.com/office/powerpoint/2010/main" val="37298124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84E21-62BF-4335-077A-69E0BDB437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7D3AF8-B655-C4CE-ACE5-E7DA1C8D7616}"/>
              </a:ext>
            </a:extLst>
          </p:cNvPr>
          <p:cNvSpPr>
            <a:spLocks noGrp="1"/>
          </p:cNvSpPr>
          <p:nvPr>
            <p:ph type="title"/>
          </p:nvPr>
        </p:nvSpPr>
        <p:spPr>
          <a:xfrm>
            <a:off x="831850" y="3639145"/>
            <a:ext cx="10515600" cy="923330"/>
          </a:xfrm>
        </p:spPr>
        <p:txBody>
          <a:bodyPr/>
          <a:lstStyle/>
          <a:p>
            <a:r>
              <a:rPr lang="en-US"/>
              <a:t>Background</a:t>
            </a:r>
          </a:p>
        </p:txBody>
      </p:sp>
      <p:sp>
        <p:nvSpPr>
          <p:cNvPr id="3" name="Text Placeholder 2">
            <a:extLst>
              <a:ext uri="{FF2B5EF4-FFF2-40B4-BE49-F238E27FC236}">
                <a16:creationId xmlns:a16="http://schemas.microsoft.com/office/drawing/2014/main" id="{41904EAA-37FF-065E-B48D-521B909ED5D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86DF6BC-C72A-A901-F2FC-7BE4F09F3EFD}"/>
              </a:ext>
            </a:extLst>
          </p:cNvPr>
          <p:cNvSpPr>
            <a:spLocks noGrp="1"/>
          </p:cNvSpPr>
          <p:nvPr>
            <p:ph type="sldNum" sz="quarter" idx="12"/>
          </p:nvPr>
        </p:nvSpPr>
        <p:spPr/>
        <p:txBody>
          <a:bodyPr/>
          <a:lstStyle/>
          <a:p>
            <a:fld id="{6BD9EE9C-3A9A-458B-8C8B-545D7DF0CA2D}" type="slidenum">
              <a:rPr lang="en-ID" smtClean="0"/>
              <a:pPr/>
              <a:t>19</a:t>
            </a:fld>
            <a:endParaRPr lang="en-ID"/>
          </a:p>
        </p:txBody>
      </p:sp>
      <p:pic>
        <p:nvPicPr>
          <p:cNvPr id="6" name="Picture 5">
            <a:extLst>
              <a:ext uri="{FF2B5EF4-FFF2-40B4-BE49-F238E27FC236}">
                <a16:creationId xmlns:a16="http://schemas.microsoft.com/office/drawing/2014/main" id="{0B2ECE6F-B006-5161-8CDE-6158DA0ED53A}"/>
              </a:ext>
            </a:extLst>
          </p:cNvPr>
          <p:cNvPicPr>
            <a:picLocks noChangeAspect="1"/>
          </p:cNvPicPr>
          <p:nvPr/>
        </p:nvPicPr>
        <p:blipFill>
          <a:blip r:embed="rId2"/>
          <a:stretch>
            <a:fillRect/>
          </a:stretch>
        </p:blipFill>
        <p:spPr>
          <a:xfrm>
            <a:off x="100012" y="47625"/>
            <a:ext cx="11991975" cy="6762750"/>
          </a:xfrm>
          <a:prstGeom prst="rect">
            <a:avLst/>
          </a:prstGeom>
          <a:solidFill>
            <a:srgbClr val="062449"/>
          </a:solidFill>
        </p:spPr>
      </p:pic>
      <p:sp>
        <p:nvSpPr>
          <p:cNvPr id="5" name="TextBox 4">
            <a:extLst>
              <a:ext uri="{FF2B5EF4-FFF2-40B4-BE49-F238E27FC236}">
                <a16:creationId xmlns:a16="http://schemas.microsoft.com/office/drawing/2014/main" id="{2336A33F-2FAE-2ADB-6DF0-0B2B339359F2}"/>
              </a:ext>
            </a:extLst>
          </p:cNvPr>
          <p:cNvSpPr txBox="1"/>
          <p:nvPr/>
        </p:nvSpPr>
        <p:spPr>
          <a:xfrm>
            <a:off x="963168" y="3639145"/>
            <a:ext cx="10229088" cy="615553"/>
          </a:xfrm>
          <a:prstGeom prst="rect">
            <a:avLst/>
          </a:prstGeom>
          <a:solidFill>
            <a:srgbClr val="062449"/>
          </a:solidFill>
        </p:spPr>
        <p:txBody>
          <a:bodyPr wrap="square" lIns="0" tIns="0" rIns="0" bIns="0" rtlCol="0">
            <a:spAutoFit/>
          </a:bodyPr>
          <a:lstStyle/>
          <a:p>
            <a:pPr marL="0" indent="0" algn="l">
              <a:buFont typeface="Arial" panose="020B0604020202020204" pitchFamily="34" charset="0"/>
              <a:buNone/>
            </a:pPr>
            <a:r>
              <a:rPr lang="en-US" sz="4000" b="1" dirty="0">
                <a:solidFill>
                  <a:schemeClr val="bg1"/>
                </a:solidFill>
              </a:rPr>
              <a:t>Interactive discussions</a:t>
            </a:r>
          </a:p>
        </p:txBody>
      </p:sp>
    </p:spTree>
    <p:extLst>
      <p:ext uri="{BB962C8B-B14F-4D97-AF65-F5344CB8AC3E}">
        <p14:creationId xmlns:p14="http://schemas.microsoft.com/office/powerpoint/2010/main" val="26717955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3B635F-6C47-A348-82B7-F868EE116C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4D10503-1FDE-F3E9-D9DA-FCC2F7877620}"/>
              </a:ext>
            </a:extLst>
          </p:cNvPr>
          <p:cNvSpPr>
            <a:spLocks noGrp="1"/>
          </p:cNvSpPr>
          <p:nvPr>
            <p:ph type="title"/>
          </p:nvPr>
        </p:nvSpPr>
        <p:spPr>
          <a:xfrm>
            <a:off x="831850" y="3639145"/>
            <a:ext cx="10515600" cy="923330"/>
          </a:xfrm>
        </p:spPr>
        <p:txBody>
          <a:bodyPr/>
          <a:lstStyle/>
          <a:p>
            <a:r>
              <a:rPr lang="en-US"/>
              <a:t>Background</a:t>
            </a:r>
          </a:p>
        </p:txBody>
      </p:sp>
      <p:sp>
        <p:nvSpPr>
          <p:cNvPr id="3" name="Text Placeholder 2">
            <a:extLst>
              <a:ext uri="{FF2B5EF4-FFF2-40B4-BE49-F238E27FC236}">
                <a16:creationId xmlns:a16="http://schemas.microsoft.com/office/drawing/2014/main" id="{8A970A8C-5877-1C00-7A9B-A8AA72D93C3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BCA2F8C-E326-D3D4-5D2D-E88AC9776894}"/>
              </a:ext>
            </a:extLst>
          </p:cNvPr>
          <p:cNvSpPr>
            <a:spLocks noGrp="1"/>
          </p:cNvSpPr>
          <p:nvPr>
            <p:ph type="sldNum" sz="quarter" idx="12"/>
          </p:nvPr>
        </p:nvSpPr>
        <p:spPr/>
        <p:txBody>
          <a:bodyPr/>
          <a:lstStyle/>
          <a:p>
            <a:fld id="{6BD9EE9C-3A9A-458B-8C8B-545D7DF0CA2D}" type="slidenum">
              <a:rPr lang="en-ID" smtClean="0"/>
              <a:pPr/>
              <a:t>2</a:t>
            </a:fld>
            <a:endParaRPr lang="en-ID"/>
          </a:p>
        </p:txBody>
      </p:sp>
      <p:pic>
        <p:nvPicPr>
          <p:cNvPr id="6" name="Picture 5">
            <a:extLst>
              <a:ext uri="{FF2B5EF4-FFF2-40B4-BE49-F238E27FC236}">
                <a16:creationId xmlns:a16="http://schemas.microsoft.com/office/drawing/2014/main" id="{AA68876C-EBC5-3790-4241-B764C0C0A1A6}"/>
              </a:ext>
            </a:extLst>
          </p:cNvPr>
          <p:cNvPicPr>
            <a:picLocks noChangeAspect="1"/>
          </p:cNvPicPr>
          <p:nvPr/>
        </p:nvPicPr>
        <p:blipFill>
          <a:blip r:embed="rId2"/>
          <a:stretch>
            <a:fillRect/>
          </a:stretch>
        </p:blipFill>
        <p:spPr>
          <a:xfrm>
            <a:off x="100012" y="47625"/>
            <a:ext cx="11991975" cy="6762750"/>
          </a:xfrm>
          <a:prstGeom prst="rect">
            <a:avLst/>
          </a:prstGeom>
          <a:solidFill>
            <a:srgbClr val="062449"/>
          </a:solidFill>
        </p:spPr>
      </p:pic>
      <p:sp>
        <p:nvSpPr>
          <p:cNvPr id="5" name="TextBox 4">
            <a:extLst>
              <a:ext uri="{FF2B5EF4-FFF2-40B4-BE49-F238E27FC236}">
                <a16:creationId xmlns:a16="http://schemas.microsoft.com/office/drawing/2014/main" id="{32FBA663-3E3F-5810-B767-FAF74B0BEE17}"/>
              </a:ext>
            </a:extLst>
          </p:cNvPr>
          <p:cNvSpPr txBox="1"/>
          <p:nvPr/>
        </p:nvSpPr>
        <p:spPr>
          <a:xfrm>
            <a:off x="963168" y="3639145"/>
            <a:ext cx="10229088" cy="615553"/>
          </a:xfrm>
          <a:prstGeom prst="rect">
            <a:avLst/>
          </a:prstGeom>
          <a:solidFill>
            <a:srgbClr val="062449"/>
          </a:solidFill>
        </p:spPr>
        <p:txBody>
          <a:bodyPr wrap="square" lIns="0" tIns="0" rIns="0" bIns="0" rtlCol="0">
            <a:spAutoFit/>
          </a:bodyPr>
          <a:lstStyle/>
          <a:p>
            <a:pPr marL="0" indent="0" algn="l">
              <a:buFont typeface="Arial" panose="020B0604020202020204" pitchFamily="34" charset="0"/>
              <a:buNone/>
            </a:pPr>
            <a:r>
              <a:rPr lang="en-US" sz="4000" b="1" dirty="0">
                <a:solidFill>
                  <a:schemeClr val="bg1"/>
                </a:solidFill>
              </a:rPr>
              <a:t>Welcome</a:t>
            </a:r>
          </a:p>
        </p:txBody>
      </p:sp>
      <p:sp>
        <p:nvSpPr>
          <p:cNvPr id="8" name="TextBox 7">
            <a:extLst>
              <a:ext uri="{FF2B5EF4-FFF2-40B4-BE49-F238E27FC236}">
                <a16:creationId xmlns:a16="http://schemas.microsoft.com/office/drawing/2014/main" id="{1E5D8771-9EC5-78FF-71F3-5E2BFB39A85D}"/>
              </a:ext>
            </a:extLst>
          </p:cNvPr>
          <p:cNvSpPr txBox="1"/>
          <p:nvPr/>
        </p:nvSpPr>
        <p:spPr>
          <a:xfrm>
            <a:off x="4931664" y="2827327"/>
            <a:ext cx="6096000" cy="1569660"/>
          </a:xfrm>
          <a:prstGeom prst="rect">
            <a:avLst/>
          </a:prstGeom>
          <a:noFill/>
        </p:spPr>
        <p:txBody>
          <a:bodyPr wrap="square">
            <a:spAutoFit/>
          </a:bodyPr>
          <a:lstStyle/>
          <a:p>
            <a:r>
              <a:rPr lang="en-US" sz="2400" b="0" i="0" u="none" strike="noStrike" baseline="0" dirty="0">
                <a:solidFill>
                  <a:schemeClr val="bg1"/>
                </a:solidFill>
                <a:latin typeface="Tahoma" panose="020B0604030504040204" pitchFamily="34" charset="0"/>
                <a:ea typeface="Tahoma" panose="020B0604030504040204" pitchFamily="34" charset="0"/>
                <a:cs typeface="Tahoma" panose="020B0604030504040204" pitchFamily="34" charset="0"/>
              </a:rPr>
              <a:t>Moderator: </a:t>
            </a:r>
          </a:p>
          <a:p>
            <a:endParaRPr lang="en-US" sz="2400" b="0" i="0" u="none" strike="noStrike" baseline="0" dirty="0">
              <a:solidFill>
                <a:schemeClr val="bg1"/>
              </a:solidFill>
              <a:latin typeface="Tahoma" panose="020B0604030504040204" pitchFamily="34" charset="0"/>
              <a:ea typeface="Tahoma" panose="020B0604030504040204" pitchFamily="34" charset="0"/>
              <a:cs typeface="Tahoma" panose="020B0604030504040204" pitchFamily="34" charset="0"/>
            </a:endParaRPr>
          </a:p>
          <a:p>
            <a:r>
              <a:rPr lang="en-US" sz="2400" b="0" i="0" u="none" strike="noStrike" baseline="0" dirty="0">
                <a:solidFill>
                  <a:schemeClr val="bg1"/>
                </a:solidFill>
                <a:latin typeface="Tahoma" panose="020B0604030504040204" pitchFamily="34" charset="0"/>
                <a:ea typeface="Tahoma" panose="020B0604030504040204" pitchFamily="34" charset="0"/>
                <a:cs typeface="Tahoma" panose="020B0604030504040204" pitchFamily="34" charset="0"/>
              </a:rPr>
              <a:t>Tiffani Van </a:t>
            </a:r>
            <a:r>
              <a:rPr lang="en-US" sz="2400" b="0" i="0" u="none" strike="noStrike" baseline="0" dirty="0" err="1">
                <a:solidFill>
                  <a:schemeClr val="bg1"/>
                </a:solidFill>
                <a:latin typeface="Tahoma" panose="020B0604030504040204" pitchFamily="34" charset="0"/>
                <a:ea typeface="Tahoma" panose="020B0604030504040204" pitchFamily="34" charset="0"/>
                <a:cs typeface="Tahoma" panose="020B0604030504040204" pitchFamily="34" charset="0"/>
              </a:rPr>
              <a:t>Ravenswaay</a:t>
            </a:r>
            <a:endParaRPr lang="en-US" sz="2400" dirty="0">
              <a:solidFill>
                <a:schemeClr val="bg1"/>
              </a:solidFill>
              <a:latin typeface="Tahoma" panose="020B0604030504040204" pitchFamily="34" charset="0"/>
              <a:ea typeface="Tahoma" panose="020B0604030504040204" pitchFamily="34" charset="0"/>
              <a:cs typeface="Tahoma" panose="020B0604030504040204" pitchFamily="34" charset="0"/>
            </a:endParaRPr>
          </a:p>
          <a:p>
            <a:r>
              <a:rPr lang="en-US" sz="2400" b="0" i="0" u="none" strike="noStrike" baseline="0" dirty="0">
                <a:solidFill>
                  <a:schemeClr val="bg1"/>
                </a:solidFill>
                <a:latin typeface="Tahoma" panose="020B0604030504040204" pitchFamily="34" charset="0"/>
                <a:ea typeface="Tahoma" panose="020B0604030504040204" pitchFamily="34" charset="0"/>
                <a:cs typeface="Tahoma" panose="020B0604030504040204" pitchFamily="34" charset="0"/>
              </a:rPr>
              <a:t>(Adaptation Committee Member) 	</a:t>
            </a:r>
          </a:p>
        </p:txBody>
      </p:sp>
    </p:spTree>
    <p:extLst>
      <p:ext uri="{BB962C8B-B14F-4D97-AF65-F5344CB8AC3E}">
        <p14:creationId xmlns:p14="http://schemas.microsoft.com/office/powerpoint/2010/main" val="39408685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3BD018-5764-002A-C64C-449BCBE7CF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6C3019-5D64-CDA9-A7E4-EA18F9DBF9F4}"/>
              </a:ext>
            </a:extLst>
          </p:cNvPr>
          <p:cNvSpPr>
            <a:spLocks noGrp="1"/>
          </p:cNvSpPr>
          <p:nvPr>
            <p:ph type="title"/>
          </p:nvPr>
        </p:nvSpPr>
        <p:spPr>
          <a:xfrm>
            <a:off x="831850" y="3639145"/>
            <a:ext cx="10515600" cy="923330"/>
          </a:xfrm>
        </p:spPr>
        <p:txBody>
          <a:bodyPr/>
          <a:lstStyle/>
          <a:p>
            <a:r>
              <a:rPr lang="en-US"/>
              <a:t>Background</a:t>
            </a:r>
          </a:p>
        </p:txBody>
      </p:sp>
      <p:sp>
        <p:nvSpPr>
          <p:cNvPr id="3" name="Text Placeholder 2">
            <a:extLst>
              <a:ext uri="{FF2B5EF4-FFF2-40B4-BE49-F238E27FC236}">
                <a16:creationId xmlns:a16="http://schemas.microsoft.com/office/drawing/2014/main" id="{A5658735-7A96-6AC2-43D2-4C668CE2897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D1FF280-6316-921B-BB86-18B04F78AF3A}"/>
              </a:ext>
            </a:extLst>
          </p:cNvPr>
          <p:cNvSpPr>
            <a:spLocks noGrp="1"/>
          </p:cNvSpPr>
          <p:nvPr>
            <p:ph type="sldNum" sz="quarter" idx="12"/>
          </p:nvPr>
        </p:nvSpPr>
        <p:spPr/>
        <p:txBody>
          <a:bodyPr/>
          <a:lstStyle/>
          <a:p>
            <a:fld id="{6BD9EE9C-3A9A-458B-8C8B-545D7DF0CA2D}" type="slidenum">
              <a:rPr lang="en-ID" smtClean="0"/>
              <a:pPr/>
              <a:t>20</a:t>
            </a:fld>
            <a:endParaRPr lang="en-ID"/>
          </a:p>
        </p:txBody>
      </p:sp>
      <p:pic>
        <p:nvPicPr>
          <p:cNvPr id="6" name="Picture 5">
            <a:extLst>
              <a:ext uri="{FF2B5EF4-FFF2-40B4-BE49-F238E27FC236}">
                <a16:creationId xmlns:a16="http://schemas.microsoft.com/office/drawing/2014/main" id="{B3959D95-F8EA-DA85-E296-F405E0BF5AD2}"/>
              </a:ext>
            </a:extLst>
          </p:cNvPr>
          <p:cNvPicPr>
            <a:picLocks noChangeAspect="1"/>
          </p:cNvPicPr>
          <p:nvPr/>
        </p:nvPicPr>
        <p:blipFill>
          <a:blip r:embed="rId2"/>
          <a:stretch>
            <a:fillRect/>
          </a:stretch>
        </p:blipFill>
        <p:spPr>
          <a:xfrm>
            <a:off x="100012" y="47625"/>
            <a:ext cx="11991975" cy="6762750"/>
          </a:xfrm>
          <a:prstGeom prst="rect">
            <a:avLst/>
          </a:prstGeom>
          <a:solidFill>
            <a:srgbClr val="062449"/>
          </a:solidFill>
        </p:spPr>
      </p:pic>
      <p:sp>
        <p:nvSpPr>
          <p:cNvPr id="5" name="TextBox 4">
            <a:extLst>
              <a:ext uri="{FF2B5EF4-FFF2-40B4-BE49-F238E27FC236}">
                <a16:creationId xmlns:a16="http://schemas.microsoft.com/office/drawing/2014/main" id="{63869835-AD30-B636-A40B-C04DF3D2FCFF}"/>
              </a:ext>
            </a:extLst>
          </p:cNvPr>
          <p:cNvSpPr txBox="1"/>
          <p:nvPr/>
        </p:nvSpPr>
        <p:spPr>
          <a:xfrm>
            <a:off x="963168" y="3639145"/>
            <a:ext cx="10229088" cy="615553"/>
          </a:xfrm>
          <a:prstGeom prst="rect">
            <a:avLst/>
          </a:prstGeom>
          <a:solidFill>
            <a:srgbClr val="062449"/>
          </a:solidFill>
        </p:spPr>
        <p:txBody>
          <a:bodyPr wrap="square" lIns="0" tIns="0" rIns="0" bIns="0" rtlCol="0">
            <a:spAutoFit/>
          </a:bodyPr>
          <a:lstStyle/>
          <a:p>
            <a:pPr marL="0" indent="0" algn="l">
              <a:buFont typeface="Arial" panose="020B0604020202020204" pitchFamily="34" charset="0"/>
              <a:buNone/>
            </a:pPr>
            <a:r>
              <a:rPr lang="en-US" sz="4000" b="1" dirty="0">
                <a:solidFill>
                  <a:schemeClr val="bg1"/>
                </a:solidFill>
              </a:rPr>
              <a:t>Key Messages and Closing (Moderator)</a:t>
            </a:r>
          </a:p>
        </p:txBody>
      </p:sp>
    </p:spTree>
    <p:extLst>
      <p:ext uri="{BB962C8B-B14F-4D97-AF65-F5344CB8AC3E}">
        <p14:creationId xmlns:p14="http://schemas.microsoft.com/office/powerpoint/2010/main" val="6665929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4C7ECBA7-DB6F-C710-02AF-4439474B9C0C}"/>
              </a:ext>
            </a:extLst>
          </p:cNvPr>
          <p:cNvPicPr>
            <a:picLocks noChangeAspect="1"/>
          </p:cNvPicPr>
          <p:nvPr/>
        </p:nvPicPr>
        <p:blipFill>
          <a:blip r:embed="rId3"/>
          <a:stretch>
            <a:fillRect/>
          </a:stretch>
        </p:blipFill>
        <p:spPr>
          <a:xfrm>
            <a:off x="-65089" y="0"/>
            <a:ext cx="12322180" cy="6858000"/>
          </a:xfrm>
          <a:prstGeom prst="rect">
            <a:avLst/>
          </a:prstGeom>
        </p:spPr>
      </p:pic>
      <p:sp>
        <p:nvSpPr>
          <p:cNvPr id="2" name="TextBox 1">
            <a:extLst>
              <a:ext uri="{FF2B5EF4-FFF2-40B4-BE49-F238E27FC236}">
                <a16:creationId xmlns:a16="http://schemas.microsoft.com/office/drawing/2014/main" id="{12ACD480-0C8E-34CE-DB7B-E8CD23CD7082}"/>
              </a:ext>
            </a:extLst>
          </p:cNvPr>
          <p:cNvSpPr txBox="1"/>
          <p:nvPr/>
        </p:nvSpPr>
        <p:spPr>
          <a:xfrm>
            <a:off x="475488" y="5437632"/>
            <a:ext cx="10021824" cy="923330"/>
          </a:xfrm>
          <a:prstGeom prst="rect">
            <a:avLst/>
          </a:prstGeom>
          <a:solidFill>
            <a:srgbClr val="062449"/>
          </a:solidFill>
          <a:ln>
            <a:solidFill>
              <a:srgbClr val="062449"/>
            </a:solidFill>
          </a:ln>
        </p:spPr>
        <p:txBody>
          <a:bodyPr wrap="square" lIns="0" tIns="0" rIns="0" bIns="0" rtlCol="0">
            <a:spAutoFit/>
          </a:bodyPr>
          <a:lstStyle/>
          <a:p>
            <a:pPr lvl="1"/>
            <a:r>
              <a:rPr lang="en-US" sz="2000" b="1" dirty="0">
                <a:solidFill>
                  <a:schemeClr val="bg1"/>
                </a:solidFill>
              </a:rPr>
              <a:t>Venezia Hotel, Burano Hall (3</a:t>
            </a:r>
            <a:r>
              <a:rPr lang="en-US" sz="2000" b="1" baseline="30000" dirty="0">
                <a:solidFill>
                  <a:schemeClr val="bg1"/>
                </a:solidFill>
              </a:rPr>
              <a:t>rd</a:t>
            </a:r>
            <a:r>
              <a:rPr lang="en-US" sz="2000" b="1" dirty="0">
                <a:solidFill>
                  <a:schemeClr val="bg1"/>
                </a:solidFill>
              </a:rPr>
              <a:t> Floor) - MR3</a:t>
            </a:r>
          </a:p>
          <a:p>
            <a:pPr lvl="1"/>
            <a:r>
              <a:rPr lang="en-US" sz="2000" b="1" dirty="0">
                <a:solidFill>
                  <a:schemeClr val="bg1"/>
                </a:solidFill>
              </a:rPr>
              <a:t>Yeosu, Republic of Korea</a:t>
            </a:r>
          </a:p>
          <a:p>
            <a:pPr lvl="1"/>
            <a:r>
              <a:rPr lang="en-US" sz="2000" b="1" dirty="0">
                <a:solidFill>
                  <a:schemeClr val="bg1"/>
                </a:solidFill>
              </a:rPr>
              <a:t>21 April 2026</a:t>
            </a:r>
          </a:p>
        </p:txBody>
      </p:sp>
    </p:spTree>
    <p:extLst>
      <p:ext uri="{BB962C8B-B14F-4D97-AF65-F5344CB8AC3E}">
        <p14:creationId xmlns:p14="http://schemas.microsoft.com/office/powerpoint/2010/main" val="32016910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F696B9-2B47-7144-2FE7-3BD81AF99580}"/>
              </a:ext>
            </a:extLst>
          </p:cNvPr>
          <p:cNvSpPr>
            <a:spLocks noGrp="1"/>
          </p:cNvSpPr>
          <p:nvPr>
            <p:ph type="title"/>
          </p:nvPr>
        </p:nvSpPr>
        <p:spPr>
          <a:xfrm>
            <a:off x="831850" y="3639145"/>
            <a:ext cx="10515600" cy="923330"/>
          </a:xfrm>
        </p:spPr>
        <p:txBody>
          <a:bodyPr/>
          <a:lstStyle/>
          <a:p>
            <a:r>
              <a:rPr lang="en-US"/>
              <a:t>Background</a:t>
            </a:r>
          </a:p>
        </p:txBody>
      </p:sp>
      <p:sp>
        <p:nvSpPr>
          <p:cNvPr id="3" name="Text Placeholder 2">
            <a:extLst>
              <a:ext uri="{FF2B5EF4-FFF2-40B4-BE49-F238E27FC236}">
                <a16:creationId xmlns:a16="http://schemas.microsoft.com/office/drawing/2014/main" id="{07967FC4-AAD4-8FA9-F0B0-D8814F291BF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D3863AE-99A0-197F-9FD0-17321DAFD1C0}"/>
              </a:ext>
            </a:extLst>
          </p:cNvPr>
          <p:cNvSpPr>
            <a:spLocks noGrp="1"/>
          </p:cNvSpPr>
          <p:nvPr>
            <p:ph type="sldNum" sz="quarter" idx="12"/>
          </p:nvPr>
        </p:nvSpPr>
        <p:spPr/>
        <p:txBody>
          <a:bodyPr/>
          <a:lstStyle/>
          <a:p>
            <a:fld id="{6BD9EE9C-3A9A-458B-8C8B-545D7DF0CA2D}" type="slidenum">
              <a:rPr lang="en-ID" smtClean="0"/>
              <a:pPr/>
              <a:t>4</a:t>
            </a:fld>
            <a:endParaRPr lang="en-ID"/>
          </a:p>
        </p:txBody>
      </p:sp>
      <p:pic>
        <p:nvPicPr>
          <p:cNvPr id="6" name="Picture 5">
            <a:extLst>
              <a:ext uri="{FF2B5EF4-FFF2-40B4-BE49-F238E27FC236}">
                <a16:creationId xmlns:a16="http://schemas.microsoft.com/office/drawing/2014/main" id="{590E4B38-83BC-AA1E-096C-77430950C104}"/>
              </a:ext>
            </a:extLst>
          </p:cNvPr>
          <p:cNvPicPr>
            <a:picLocks noChangeAspect="1"/>
          </p:cNvPicPr>
          <p:nvPr/>
        </p:nvPicPr>
        <p:blipFill>
          <a:blip r:embed="rId2"/>
          <a:stretch>
            <a:fillRect/>
          </a:stretch>
        </p:blipFill>
        <p:spPr>
          <a:xfrm>
            <a:off x="100012" y="47625"/>
            <a:ext cx="11991975" cy="6762750"/>
          </a:xfrm>
          <a:prstGeom prst="rect">
            <a:avLst/>
          </a:prstGeom>
        </p:spPr>
      </p:pic>
    </p:spTree>
    <p:extLst>
      <p:ext uri="{BB962C8B-B14F-4D97-AF65-F5344CB8AC3E}">
        <p14:creationId xmlns:p14="http://schemas.microsoft.com/office/powerpoint/2010/main" val="4165298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Rectangle: Rounded Corners 100">
            <a:extLst>
              <a:ext uri="{FF2B5EF4-FFF2-40B4-BE49-F238E27FC236}">
                <a16:creationId xmlns:a16="http://schemas.microsoft.com/office/drawing/2014/main" id="{B85CA12C-2DE6-CAF4-5620-74DF2A9259F5}"/>
              </a:ext>
            </a:extLst>
          </p:cNvPr>
          <p:cNvSpPr/>
          <p:nvPr/>
        </p:nvSpPr>
        <p:spPr>
          <a:xfrm flipH="1">
            <a:off x="1010648" y="2774327"/>
            <a:ext cx="1986551" cy="3433913"/>
          </a:xfrm>
          <a:prstGeom prst="roundRect">
            <a:avLst>
              <a:gd name="adj" fmla="val 5224"/>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Rectangle: Rounded Corners 101">
            <a:extLst>
              <a:ext uri="{FF2B5EF4-FFF2-40B4-BE49-F238E27FC236}">
                <a16:creationId xmlns:a16="http://schemas.microsoft.com/office/drawing/2014/main" id="{92932611-6E72-2BE1-156A-ED20398FC24B}"/>
              </a:ext>
            </a:extLst>
          </p:cNvPr>
          <p:cNvSpPr/>
          <p:nvPr/>
        </p:nvSpPr>
        <p:spPr>
          <a:xfrm flipH="1">
            <a:off x="3225929" y="2774327"/>
            <a:ext cx="1986551" cy="3433913"/>
          </a:xfrm>
          <a:prstGeom prst="roundRect">
            <a:avLst>
              <a:gd name="adj" fmla="val 5224"/>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Rectangle: Rounded Corners 102">
            <a:extLst>
              <a:ext uri="{FF2B5EF4-FFF2-40B4-BE49-F238E27FC236}">
                <a16:creationId xmlns:a16="http://schemas.microsoft.com/office/drawing/2014/main" id="{7AFEC7DF-A4CB-DFFA-C9DB-A23CA779B3C2}"/>
              </a:ext>
            </a:extLst>
          </p:cNvPr>
          <p:cNvSpPr/>
          <p:nvPr/>
        </p:nvSpPr>
        <p:spPr>
          <a:xfrm flipH="1">
            <a:off x="5441210" y="2774327"/>
            <a:ext cx="1986551" cy="3433913"/>
          </a:xfrm>
          <a:prstGeom prst="roundRect">
            <a:avLst>
              <a:gd name="adj" fmla="val 5224"/>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Rectangle: Rounded Corners 103">
            <a:extLst>
              <a:ext uri="{FF2B5EF4-FFF2-40B4-BE49-F238E27FC236}">
                <a16:creationId xmlns:a16="http://schemas.microsoft.com/office/drawing/2014/main" id="{35C2D8E2-3BBE-747E-8E22-701D49B9B0A8}"/>
              </a:ext>
            </a:extLst>
          </p:cNvPr>
          <p:cNvSpPr/>
          <p:nvPr/>
        </p:nvSpPr>
        <p:spPr>
          <a:xfrm flipH="1">
            <a:off x="7659775" y="2774327"/>
            <a:ext cx="1986551" cy="3433913"/>
          </a:xfrm>
          <a:prstGeom prst="roundRect">
            <a:avLst>
              <a:gd name="adj" fmla="val 5224"/>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Rectangle: Rounded Corners 104">
            <a:extLst>
              <a:ext uri="{FF2B5EF4-FFF2-40B4-BE49-F238E27FC236}">
                <a16:creationId xmlns:a16="http://schemas.microsoft.com/office/drawing/2014/main" id="{96D4BA1E-DACA-079E-88D0-9525F6A66726}"/>
              </a:ext>
            </a:extLst>
          </p:cNvPr>
          <p:cNvSpPr/>
          <p:nvPr/>
        </p:nvSpPr>
        <p:spPr>
          <a:xfrm flipH="1">
            <a:off x="9871770" y="2774327"/>
            <a:ext cx="1986551" cy="3433913"/>
          </a:xfrm>
          <a:prstGeom prst="roundRect">
            <a:avLst>
              <a:gd name="adj" fmla="val 5224"/>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18F3A732-EBEB-CF0B-5FF4-C2669EBF469E}"/>
              </a:ext>
            </a:extLst>
          </p:cNvPr>
          <p:cNvSpPr/>
          <p:nvPr/>
        </p:nvSpPr>
        <p:spPr>
          <a:xfrm>
            <a:off x="711200" y="2546047"/>
            <a:ext cx="11480800" cy="6613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sp>
        <p:nvSpPr>
          <p:cNvPr id="2" name="Title 1">
            <a:extLst>
              <a:ext uri="{FF2B5EF4-FFF2-40B4-BE49-F238E27FC236}">
                <a16:creationId xmlns:a16="http://schemas.microsoft.com/office/drawing/2014/main" id="{DBE31D01-1E61-2B0C-397D-3C971F43600C}"/>
              </a:ext>
            </a:extLst>
          </p:cNvPr>
          <p:cNvSpPr>
            <a:spLocks noGrp="1"/>
          </p:cNvSpPr>
          <p:nvPr>
            <p:ph type="title"/>
          </p:nvPr>
        </p:nvSpPr>
        <p:spPr/>
        <p:txBody>
          <a:bodyPr/>
          <a:lstStyle/>
          <a:p>
            <a:r>
              <a:rPr lang="en-US"/>
              <a:t>Evolution of the UNFCCC Adaptation Architecture </a:t>
            </a:r>
          </a:p>
        </p:txBody>
      </p:sp>
      <p:sp>
        <p:nvSpPr>
          <p:cNvPr id="4" name="Slide Number Placeholder 3">
            <a:extLst>
              <a:ext uri="{FF2B5EF4-FFF2-40B4-BE49-F238E27FC236}">
                <a16:creationId xmlns:a16="http://schemas.microsoft.com/office/drawing/2014/main" id="{6DF0B22B-03D4-E1D6-188D-DFA8A4EF01F5}"/>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BD9EE9C-3A9A-458B-8C8B-545D7DF0CA2D}" type="slidenum">
              <a:rPr kumimoji="0" lang="en-ID" sz="1000" b="1" i="0" u="none" strike="noStrike" kern="1200" cap="none" spc="0" normalizeH="0" baseline="0" noProof="0" smtClean="0">
                <a:ln>
                  <a:noFill/>
                </a:ln>
                <a:solidFill>
                  <a:srgbClr val="1C97DA"/>
                </a:solidFill>
                <a:effectLst/>
                <a:uLnTx/>
                <a:uFillTx/>
                <a:latin typeface="Robot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ID" sz="1000" b="1" i="0" u="none" strike="noStrike" kern="1200" cap="none" spc="0" normalizeH="0" baseline="0" noProof="0">
              <a:ln>
                <a:noFill/>
              </a:ln>
              <a:solidFill>
                <a:srgbClr val="1C97DA"/>
              </a:solidFill>
              <a:effectLst/>
              <a:uLnTx/>
              <a:uFillTx/>
              <a:latin typeface="Roboto"/>
              <a:ea typeface="+mn-ea"/>
              <a:cs typeface="+mn-cs"/>
            </a:endParaRPr>
          </a:p>
        </p:txBody>
      </p:sp>
      <p:sp>
        <p:nvSpPr>
          <p:cNvPr id="47" name="Rectangle: Rounded Corners 106">
            <a:extLst>
              <a:ext uri="{FF2B5EF4-FFF2-40B4-BE49-F238E27FC236}">
                <a16:creationId xmlns:a16="http://schemas.microsoft.com/office/drawing/2014/main" id="{273AE115-D374-5AD7-5EA5-7729E607CF7C}"/>
              </a:ext>
            </a:extLst>
          </p:cNvPr>
          <p:cNvSpPr/>
          <p:nvPr/>
        </p:nvSpPr>
        <p:spPr>
          <a:xfrm>
            <a:off x="1010652" y="2440739"/>
            <a:ext cx="10847670" cy="210615"/>
          </a:xfrm>
          <a:prstGeom prst="roundRect">
            <a:avLst>
              <a:gd name="adj" fmla="val 50000"/>
            </a:avLst>
          </a:pr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800" b="0" i="0" u="none" strike="noStrike" kern="0" cap="none" spc="0" normalizeH="0" baseline="0" noProof="0">
              <a:ln>
                <a:noFill/>
              </a:ln>
              <a:solidFill>
                <a:prstClr val="black"/>
              </a:solidFill>
              <a:effectLst/>
              <a:uLnTx/>
              <a:uFillTx/>
              <a:latin typeface="Roboto"/>
              <a:ea typeface="+mn-ea"/>
              <a:cs typeface="+mn-cs"/>
            </a:endParaRPr>
          </a:p>
        </p:txBody>
      </p:sp>
      <p:sp>
        <p:nvSpPr>
          <p:cNvPr id="48" name="TextBox 1">
            <a:extLst>
              <a:ext uri="{FF2B5EF4-FFF2-40B4-BE49-F238E27FC236}">
                <a16:creationId xmlns:a16="http://schemas.microsoft.com/office/drawing/2014/main" id="{85EF0AB9-AE7F-6138-D30B-26A8D22A5B7E}"/>
              </a:ext>
            </a:extLst>
          </p:cNvPr>
          <p:cNvSpPr txBox="1"/>
          <p:nvPr/>
        </p:nvSpPr>
        <p:spPr>
          <a:xfrm>
            <a:off x="1211444" y="4112032"/>
            <a:ext cx="1584960" cy="18620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100" b="1" i="0" u="none" strike="noStrike" kern="0" cap="none" spc="0" normalizeH="0" baseline="0" noProof="0">
                <a:ln>
                  <a:noFill/>
                </a:ln>
                <a:solidFill>
                  <a:prstClr val="black"/>
                </a:solidFill>
                <a:effectLst/>
                <a:uLnTx/>
                <a:uFillTx/>
                <a:latin typeface="Roboto"/>
                <a:ea typeface="+mn-ea"/>
                <a:cs typeface="Times New Roman" pitchFamily="18" charset="0"/>
              </a:rPr>
              <a:t>Article 4</a:t>
            </a:r>
            <a:r>
              <a:rPr kumimoji="0" lang="en-US" altLang="zh-CN" sz="1100" b="0" i="0" u="none" strike="noStrike" kern="0" cap="none" spc="0" normalizeH="0" baseline="0" noProof="0">
                <a:ln>
                  <a:noFill/>
                </a:ln>
                <a:solidFill>
                  <a:prstClr val="black"/>
                </a:solidFill>
                <a:effectLst/>
                <a:uLnTx/>
                <a:uFillTx/>
                <a:latin typeface="Roboto"/>
                <a:ea typeface="+mn-ea"/>
                <a:cs typeface="Times New Roman" pitchFamily="18" charset="0"/>
              </a:rPr>
              <a:t>: obligation for Parties to formulate adaptation </a:t>
            </a:r>
            <a:r>
              <a:rPr kumimoji="0" lang="en-US" altLang="zh-CN" sz="1100" b="0" i="0" u="none" strike="noStrike" kern="0" cap="none" spc="0" normalizeH="0" baseline="0" noProof="0" err="1">
                <a:ln>
                  <a:noFill/>
                </a:ln>
                <a:solidFill>
                  <a:prstClr val="black"/>
                </a:solidFill>
                <a:effectLst/>
                <a:uLnTx/>
                <a:uFillTx/>
                <a:latin typeface="Roboto"/>
                <a:ea typeface="+mn-ea"/>
                <a:cs typeface="Times New Roman" pitchFamily="18" charset="0"/>
              </a:rPr>
              <a:t>programmes</a:t>
            </a:r>
            <a:r>
              <a:rPr kumimoji="0" lang="en-US" altLang="zh-CN" sz="1100" b="0" i="0" u="none" strike="noStrike" kern="0" cap="none" spc="0" normalizeH="0" baseline="0" noProof="0">
                <a:ln>
                  <a:noFill/>
                </a:ln>
                <a:solidFill>
                  <a:prstClr val="black"/>
                </a:solidFill>
                <a:effectLst/>
                <a:uLnTx/>
                <a:uFillTx/>
                <a:latin typeface="Roboto"/>
                <a:ea typeface="+mn-ea"/>
                <a:cs typeface="Times New Roman" pitchFamily="18" charset="0"/>
              </a:rPr>
              <a:t>; limited institutional structure; focus largely on mitigation; early adaptation activity centered around vulnerability assessments and national communications;</a:t>
            </a:r>
          </a:p>
        </p:txBody>
      </p:sp>
      <p:sp>
        <p:nvSpPr>
          <p:cNvPr id="50" name="TextBox 1">
            <a:extLst>
              <a:ext uri="{FF2B5EF4-FFF2-40B4-BE49-F238E27FC236}">
                <a16:creationId xmlns:a16="http://schemas.microsoft.com/office/drawing/2014/main" id="{74E97168-E835-6E46-EA78-5703C1A55DB4}"/>
              </a:ext>
            </a:extLst>
          </p:cNvPr>
          <p:cNvSpPr txBox="1"/>
          <p:nvPr/>
        </p:nvSpPr>
        <p:spPr>
          <a:xfrm>
            <a:off x="1067179" y="3313012"/>
            <a:ext cx="1873490" cy="646331"/>
          </a:xfrm>
          <a:prstGeom prst="rect">
            <a:avLst/>
          </a:prstGeom>
          <a:noFill/>
        </p:spPr>
        <p:txBody>
          <a:bodyPr wrap="square" lIns="0" tIns="0" rIns="0" bIns="0" rtlCol="0">
            <a:spAutoFit/>
          </a:bodyPr>
          <a:lstStyle/>
          <a:p>
            <a:pPr lvl="0" algn="ctr">
              <a:tabLst>
                <a:tab pos="118530" algn="l"/>
                <a:tab pos="270927" algn="l"/>
              </a:tabLst>
              <a:defRPr/>
            </a:pPr>
            <a:r>
              <a:rPr lang="en-US" altLang="zh-CN" sz="1400" b="1" kern="0">
                <a:solidFill>
                  <a:srgbClr val="44546A"/>
                </a:solidFill>
                <a:cs typeface="Times New Roman" pitchFamily="18" charset="0"/>
              </a:rPr>
              <a:t>Observing impacts, assessing risks and vulnerabilities</a:t>
            </a:r>
            <a:endParaRPr kumimoji="0" lang="en-US" altLang="zh-CN" sz="1400" b="1" i="0" u="none" strike="noStrike" kern="0" cap="none" spc="0" normalizeH="0" baseline="0" noProof="0">
              <a:ln>
                <a:noFill/>
              </a:ln>
              <a:solidFill>
                <a:srgbClr val="44546A"/>
              </a:solidFill>
              <a:effectLst/>
              <a:uLnTx/>
              <a:uFillTx/>
              <a:latin typeface="Roboto"/>
              <a:ea typeface="+mn-ea"/>
              <a:cs typeface="Times New Roman" pitchFamily="18" charset="0"/>
            </a:endParaRPr>
          </a:p>
        </p:txBody>
      </p:sp>
      <p:sp>
        <p:nvSpPr>
          <p:cNvPr id="55" name="TextBox 1">
            <a:extLst>
              <a:ext uri="{FF2B5EF4-FFF2-40B4-BE49-F238E27FC236}">
                <a16:creationId xmlns:a16="http://schemas.microsoft.com/office/drawing/2014/main" id="{E0D48FB7-AD06-A040-43F0-C36FFE6CF676}"/>
              </a:ext>
            </a:extLst>
          </p:cNvPr>
          <p:cNvSpPr txBox="1"/>
          <p:nvPr/>
        </p:nvSpPr>
        <p:spPr>
          <a:xfrm>
            <a:off x="3426725" y="4112032"/>
            <a:ext cx="1584960" cy="169277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100" i="0" u="none" strike="noStrike" kern="0" cap="none" spc="0" normalizeH="0" baseline="0" noProof="0">
                <a:ln>
                  <a:noFill/>
                </a:ln>
                <a:solidFill>
                  <a:prstClr val="black"/>
                </a:solidFill>
                <a:effectLst/>
                <a:uLnTx/>
                <a:uFillTx/>
                <a:latin typeface="Roboto"/>
                <a:ea typeface="+mn-ea"/>
                <a:cs typeface="Times New Roman" pitchFamily="18" charset="0"/>
              </a:rPr>
              <a:t>Adaptation funds (LDCF, SCCF, AF); addressing urgent and immediate needs for the LDCs (National Adaptation </a:t>
            </a:r>
            <a:r>
              <a:rPr kumimoji="0" lang="en-US" altLang="zh-CN" sz="1100" i="0" u="none" strike="noStrike" kern="0" cap="none" spc="0" normalizeH="0" baseline="0" noProof="0" err="1">
                <a:ln>
                  <a:noFill/>
                </a:ln>
                <a:solidFill>
                  <a:prstClr val="black"/>
                </a:solidFill>
                <a:effectLst/>
                <a:uLnTx/>
                <a:uFillTx/>
                <a:latin typeface="Roboto"/>
                <a:ea typeface="+mn-ea"/>
                <a:cs typeface="Times New Roman" pitchFamily="18" charset="0"/>
              </a:rPr>
              <a:t>Programmes</a:t>
            </a:r>
            <a:r>
              <a:rPr kumimoji="0" lang="en-US" altLang="zh-CN" sz="1100" i="0" u="none" strike="noStrike" kern="0" cap="none" spc="0" normalizeH="0" baseline="0" noProof="0">
                <a:ln>
                  <a:noFill/>
                </a:ln>
                <a:solidFill>
                  <a:prstClr val="black"/>
                </a:solidFill>
                <a:effectLst/>
                <a:uLnTx/>
                <a:uFillTx/>
                <a:latin typeface="Roboto"/>
                <a:ea typeface="+mn-ea"/>
                <a:cs typeface="Times New Roman" pitchFamily="18" charset="0"/>
              </a:rPr>
              <a:t> of Action); support for the LDCs (LDC work </a:t>
            </a:r>
            <a:r>
              <a:rPr kumimoji="0" lang="en-US" altLang="zh-CN" sz="1100" i="0" u="none" strike="noStrike" kern="0" cap="none" spc="0" normalizeH="0" baseline="0" noProof="0" err="1">
                <a:ln>
                  <a:noFill/>
                </a:ln>
                <a:solidFill>
                  <a:prstClr val="black"/>
                </a:solidFill>
                <a:effectLst/>
                <a:uLnTx/>
                <a:uFillTx/>
                <a:latin typeface="Roboto"/>
                <a:ea typeface="+mn-ea"/>
                <a:cs typeface="Times New Roman" pitchFamily="18" charset="0"/>
              </a:rPr>
              <a:t>programme</a:t>
            </a:r>
            <a:r>
              <a:rPr kumimoji="0" lang="en-US" altLang="zh-CN" sz="1100" i="0" u="none" strike="noStrike" kern="0" cap="none" spc="0" normalizeH="0" baseline="0" noProof="0">
                <a:ln>
                  <a:noFill/>
                </a:ln>
                <a:solidFill>
                  <a:prstClr val="black"/>
                </a:solidFill>
                <a:effectLst/>
                <a:uLnTx/>
                <a:uFillTx/>
                <a:latin typeface="Roboto"/>
                <a:ea typeface="+mn-ea"/>
                <a:cs typeface="Times New Roman" pitchFamily="18" charset="0"/>
              </a:rPr>
              <a:t>, LDC Expert Group); Nairobi work </a:t>
            </a:r>
            <a:r>
              <a:rPr kumimoji="0" lang="en-US" altLang="zh-CN" sz="1100" i="0" u="none" strike="noStrike" kern="0" cap="none" spc="0" normalizeH="0" baseline="0" noProof="0" err="1">
                <a:ln>
                  <a:noFill/>
                </a:ln>
                <a:solidFill>
                  <a:prstClr val="black"/>
                </a:solidFill>
                <a:effectLst/>
                <a:uLnTx/>
                <a:uFillTx/>
                <a:latin typeface="Roboto"/>
                <a:ea typeface="+mn-ea"/>
                <a:cs typeface="Times New Roman" pitchFamily="18" charset="0"/>
              </a:rPr>
              <a:t>programme</a:t>
            </a:r>
            <a:r>
              <a:rPr kumimoji="0" lang="en-US" altLang="zh-CN" sz="1100" i="0" u="none" strike="noStrike" kern="0" cap="none" spc="0" normalizeH="0" baseline="0" noProof="0">
                <a:ln>
                  <a:noFill/>
                </a:ln>
                <a:solidFill>
                  <a:prstClr val="black"/>
                </a:solidFill>
                <a:effectLst/>
                <a:uLnTx/>
                <a:uFillTx/>
                <a:latin typeface="Roboto"/>
                <a:ea typeface="+mn-ea"/>
                <a:cs typeface="Times New Roman" pitchFamily="18" charset="0"/>
              </a:rPr>
              <a:t>;</a:t>
            </a:r>
          </a:p>
        </p:txBody>
      </p:sp>
      <p:sp>
        <p:nvSpPr>
          <p:cNvPr id="56" name="TextBox 1">
            <a:extLst>
              <a:ext uri="{FF2B5EF4-FFF2-40B4-BE49-F238E27FC236}">
                <a16:creationId xmlns:a16="http://schemas.microsoft.com/office/drawing/2014/main" id="{C5F721EA-E159-5166-B504-ECF21CA3D759}"/>
              </a:ext>
            </a:extLst>
          </p:cNvPr>
          <p:cNvSpPr txBox="1"/>
          <p:nvPr/>
        </p:nvSpPr>
        <p:spPr>
          <a:xfrm>
            <a:off x="3282460" y="3313012"/>
            <a:ext cx="1873490" cy="646331"/>
          </a:xfrm>
          <a:prstGeom prst="rect">
            <a:avLst/>
          </a:prstGeom>
          <a:noFill/>
        </p:spPr>
        <p:txBody>
          <a:bodyPr wrap="square" lIns="0" tIns="0" rIns="0" bIns="0" rtlCol="0">
            <a:spAutoFit/>
          </a:bodyPr>
          <a:lstStyle/>
          <a:p>
            <a:pPr lvl="0" algn="ctr">
              <a:tabLst>
                <a:tab pos="118530" algn="l"/>
                <a:tab pos="270927" algn="l"/>
              </a:tabLst>
              <a:defRPr/>
            </a:pPr>
            <a:r>
              <a:rPr lang="en-US" altLang="zh-CN" sz="1400" b="1" kern="0">
                <a:solidFill>
                  <a:srgbClr val="44546A"/>
                </a:solidFill>
                <a:cs typeface="Times New Roman" pitchFamily="18" charset="0"/>
              </a:rPr>
              <a:t>Initial planning, pilot implementation, knowledge sharing</a:t>
            </a:r>
            <a:r>
              <a:rPr kumimoji="0" lang="en-US" altLang="zh-CN" sz="1400" b="1" i="0" u="none" strike="noStrike" kern="0" cap="none" spc="0" normalizeH="0" baseline="0" noProof="0">
                <a:ln>
                  <a:noFill/>
                </a:ln>
                <a:solidFill>
                  <a:srgbClr val="44546A"/>
                </a:solidFill>
                <a:effectLst/>
                <a:uLnTx/>
                <a:uFillTx/>
                <a:latin typeface="Roboto"/>
                <a:ea typeface="+mn-ea"/>
                <a:cs typeface="Times New Roman" pitchFamily="18" charset="0"/>
              </a:rPr>
              <a:t> </a:t>
            </a:r>
          </a:p>
        </p:txBody>
      </p:sp>
      <p:sp>
        <p:nvSpPr>
          <p:cNvPr id="65" name="TextBox 1">
            <a:extLst>
              <a:ext uri="{FF2B5EF4-FFF2-40B4-BE49-F238E27FC236}">
                <a16:creationId xmlns:a16="http://schemas.microsoft.com/office/drawing/2014/main" id="{5B582B93-8AC2-A0D8-7888-B71A4DE74724}"/>
              </a:ext>
            </a:extLst>
          </p:cNvPr>
          <p:cNvSpPr txBox="1"/>
          <p:nvPr/>
        </p:nvSpPr>
        <p:spPr>
          <a:xfrm>
            <a:off x="5642006" y="4112032"/>
            <a:ext cx="1584960" cy="67710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100" b="0" i="0" u="none" strike="noStrike" kern="0" cap="none" spc="0" normalizeH="0" baseline="0" noProof="0">
                <a:ln>
                  <a:noFill/>
                </a:ln>
                <a:solidFill>
                  <a:prstClr val="black"/>
                </a:solidFill>
                <a:effectLst/>
                <a:uLnTx/>
                <a:uFillTx/>
                <a:latin typeface="Roboto"/>
                <a:ea typeface="+mn-ea"/>
                <a:cs typeface="Times New Roman" pitchFamily="18" charset="0"/>
              </a:rPr>
              <a:t>Adaptation Committee, </a:t>
            </a:r>
            <a:r>
              <a:rPr kumimoji="0" lang="en-US" altLang="zh-CN" sz="1100" b="1" i="0" u="none" strike="noStrike" kern="0" cap="none" spc="0" normalizeH="0" baseline="0" noProof="0">
                <a:ln>
                  <a:noFill/>
                </a:ln>
                <a:solidFill>
                  <a:prstClr val="black"/>
                </a:solidFill>
                <a:effectLst/>
                <a:uLnTx/>
                <a:uFillTx/>
                <a:latin typeface="Roboto"/>
                <a:ea typeface="+mn-ea"/>
                <a:cs typeface="Times New Roman" pitchFamily="18" charset="0"/>
              </a:rPr>
              <a:t>National Adaptation Plans;</a:t>
            </a:r>
            <a:r>
              <a:rPr kumimoji="0" lang="en-US" altLang="zh-CN" sz="1100" b="0" i="0" u="none" strike="noStrike" kern="0" cap="none" spc="0" normalizeH="0" baseline="0" noProof="0">
                <a:ln>
                  <a:noFill/>
                </a:ln>
                <a:solidFill>
                  <a:prstClr val="black"/>
                </a:solidFill>
                <a:effectLst/>
                <a:uLnTx/>
                <a:uFillTx/>
                <a:latin typeface="Roboto"/>
                <a:ea typeface="+mn-ea"/>
                <a:cs typeface="Times New Roman" pitchFamily="18" charset="0"/>
              </a:rPr>
              <a:t> work </a:t>
            </a:r>
            <a:r>
              <a:rPr kumimoji="0" lang="en-US" altLang="zh-CN" sz="1100" b="0" i="0" u="none" strike="noStrike" kern="0" cap="none" spc="0" normalizeH="0" baseline="0" noProof="0" err="1">
                <a:ln>
                  <a:noFill/>
                </a:ln>
                <a:solidFill>
                  <a:prstClr val="black"/>
                </a:solidFill>
                <a:effectLst/>
                <a:uLnTx/>
                <a:uFillTx/>
                <a:latin typeface="Roboto"/>
                <a:ea typeface="+mn-ea"/>
                <a:cs typeface="Times New Roman" pitchFamily="18" charset="0"/>
              </a:rPr>
              <a:t>programme</a:t>
            </a:r>
            <a:r>
              <a:rPr kumimoji="0" lang="en-US" altLang="zh-CN" sz="1100" b="0" i="0" u="none" strike="noStrike" kern="0" cap="none" spc="0" normalizeH="0" baseline="0" noProof="0">
                <a:ln>
                  <a:noFill/>
                </a:ln>
                <a:solidFill>
                  <a:prstClr val="black"/>
                </a:solidFill>
                <a:effectLst/>
                <a:uLnTx/>
                <a:uFillTx/>
                <a:latin typeface="Roboto"/>
                <a:ea typeface="+mn-ea"/>
                <a:cs typeface="Times New Roman" pitchFamily="18" charset="0"/>
              </a:rPr>
              <a:t> on loss and damage;</a:t>
            </a:r>
          </a:p>
        </p:txBody>
      </p:sp>
      <p:sp>
        <p:nvSpPr>
          <p:cNvPr id="66" name="TextBox 1">
            <a:extLst>
              <a:ext uri="{FF2B5EF4-FFF2-40B4-BE49-F238E27FC236}">
                <a16:creationId xmlns:a16="http://schemas.microsoft.com/office/drawing/2014/main" id="{EB4B3553-A66F-AF5D-2D3B-2E55A92A7718}"/>
              </a:ext>
            </a:extLst>
          </p:cNvPr>
          <p:cNvSpPr txBox="1"/>
          <p:nvPr/>
        </p:nvSpPr>
        <p:spPr>
          <a:xfrm>
            <a:off x="5497741" y="3313012"/>
            <a:ext cx="1873490"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400" b="1" i="0" u="none" strike="noStrike" kern="0" cap="none" spc="0" normalizeH="0" baseline="0" noProof="0">
                <a:ln>
                  <a:noFill/>
                </a:ln>
                <a:solidFill>
                  <a:srgbClr val="44546A"/>
                </a:solidFill>
                <a:effectLst/>
                <a:uLnTx/>
                <a:uFillTx/>
                <a:latin typeface="Roboto"/>
                <a:ea typeface="+mn-ea"/>
                <a:cs typeface="Times New Roman" pitchFamily="18" charset="0"/>
              </a:rPr>
              <a:t>Comprehensive adaptation </a:t>
            </a:r>
            <a:br>
              <a:rPr kumimoji="0" lang="en-US" altLang="zh-CN" sz="1400" b="1" i="0" u="none" strike="noStrike" kern="0" cap="none" spc="0" normalizeH="0" baseline="0" noProof="0">
                <a:ln>
                  <a:noFill/>
                </a:ln>
                <a:solidFill>
                  <a:srgbClr val="44546A"/>
                </a:solidFill>
                <a:effectLst/>
                <a:uLnTx/>
                <a:uFillTx/>
                <a:latin typeface="Roboto"/>
                <a:ea typeface="+mn-ea"/>
                <a:cs typeface="Times New Roman" pitchFamily="18" charset="0"/>
              </a:rPr>
            </a:br>
            <a:r>
              <a:rPr kumimoji="0" lang="en-US" altLang="zh-CN" sz="1400" b="1" i="0" u="none" strike="noStrike" kern="0" cap="none" spc="0" normalizeH="0" baseline="0" noProof="0">
                <a:ln>
                  <a:noFill/>
                </a:ln>
                <a:solidFill>
                  <a:srgbClr val="44546A"/>
                </a:solidFill>
                <a:effectLst/>
                <a:uLnTx/>
                <a:uFillTx/>
                <a:latin typeface="Roboto"/>
                <a:ea typeface="+mn-ea"/>
                <a:cs typeface="Times New Roman" pitchFamily="18" charset="0"/>
              </a:rPr>
              <a:t>framework  </a:t>
            </a:r>
          </a:p>
        </p:txBody>
      </p:sp>
      <p:sp>
        <p:nvSpPr>
          <p:cNvPr id="68" name="TextBox 1">
            <a:extLst>
              <a:ext uri="{FF2B5EF4-FFF2-40B4-BE49-F238E27FC236}">
                <a16:creationId xmlns:a16="http://schemas.microsoft.com/office/drawing/2014/main" id="{B4765078-7AE0-3817-AACB-F94BA9401EFE}"/>
              </a:ext>
            </a:extLst>
          </p:cNvPr>
          <p:cNvSpPr txBox="1"/>
          <p:nvPr/>
        </p:nvSpPr>
        <p:spPr>
          <a:xfrm>
            <a:off x="7857287" y="4112032"/>
            <a:ext cx="1584960" cy="11849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100" b="1" i="0" u="none" strike="noStrike" kern="0" cap="none" spc="0" normalizeH="0" baseline="0" noProof="0">
                <a:ln>
                  <a:noFill/>
                </a:ln>
                <a:solidFill>
                  <a:prstClr val="black"/>
                </a:solidFill>
                <a:effectLst/>
                <a:uLnTx/>
                <a:uFillTx/>
                <a:latin typeface="Roboto"/>
                <a:ea typeface="+mn-ea"/>
                <a:cs typeface="Times New Roman" pitchFamily="18" charset="0"/>
              </a:rPr>
              <a:t>Global Goal on Adaptation</a:t>
            </a:r>
            <a:r>
              <a:rPr kumimoji="0" lang="en-US" altLang="zh-CN" sz="1100" b="0" i="0" u="none" strike="noStrike" kern="0" cap="none" spc="0" normalizeH="0" baseline="0" noProof="0">
                <a:ln>
                  <a:noFill/>
                </a:ln>
                <a:solidFill>
                  <a:prstClr val="black"/>
                </a:solidFill>
                <a:effectLst/>
                <a:uLnTx/>
                <a:uFillTx/>
                <a:latin typeface="Roboto"/>
                <a:ea typeface="+mn-ea"/>
                <a:cs typeface="Times New Roman" pitchFamily="18" charset="0"/>
              </a:rPr>
              <a:t>; Adaptation Communications; Funding for NAPs through the Green Climate Fund; Global </a:t>
            </a:r>
            <a:r>
              <a:rPr kumimoji="0" lang="en-US" altLang="zh-CN" sz="1100" b="0" i="0" u="none" strike="noStrike" kern="0" cap="none" spc="0" normalizeH="0" baseline="0" noProof="0" err="1">
                <a:ln>
                  <a:noFill/>
                </a:ln>
                <a:solidFill>
                  <a:prstClr val="black"/>
                </a:solidFill>
                <a:effectLst/>
                <a:uLnTx/>
                <a:uFillTx/>
                <a:latin typeface="Roboto"/>
                <a:ea typeface="+mn-ea"/>
                <a:cs typeface="Times New Roman" pitchFamily="18" charset="0"/>
              </a:rPr>
              <a:t>stocktake</a:t>
            </a:r>
            <a:r>
              <a:rPr kumimoji="0" lang="en-US" altLang="zh-CN" sz="1100" b="0" i="0" u="none" strike="noStrike" kern="0" cap="none" spc="0" normalizeH="0" baseline="0" noProof="0">
                <a:ln>
                  <a:noFill/>
                </a:ln>
                <a:solidFill>
                  <a:prstClr val="black"/>
                </a:solidFill>
                <a:effectLst/>
                <a:uLnTx/>
                <a:uFillTx/>
                <a:latin typeface="Roboto"/>
                <a:ea typeface="+mn-ea"/>
                <a:cs typeface="Times New Roman" pitchFamily="18" charset="0"/>
              </a:rPr>
              <a:t>;</a:t>
            </a:r>
          </a:p>
        </p:txBody>
      </p:sp>
      <p:sp>
        <p:nvSpPr>
          <p:cNvPr id="69" name="TextBox 1">
            <a:extLst>
              <a:ext uri="{FF2B5EF4-FFF2-40B4-BE49-F238E27FC236}">
                <a16:creationId xmlns:a16="http://schemas.microsoft.com/office/drawing/2014/main" id="{1787007E-C435-0574-1B0E-01AC53A176CD}"/>
              </a:ext>
            </a:extLst>
          </p:cNvPr>
          <p:cNvSpPr txBox="1"/>
          <p:nvPr/>
        </p:nvSpPr>
        <p:spPr>
          <a:xfrm>
            <a:off x="7713022" y="3313012"/>
            <a:ext cx="187349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400" b="1" i="0" u="none" strike="noStrike" kern="0" cap="none" spc="0" normalizeH="0" baseline="0" noProof="0">
                <a:ln>
                  <a:noFill/>
                </a:ln>
                <a:solidFill>
                  <a:srgbClr val="44546A"/>
                </a:solidFill>
                <a:effectLst/>
                <a:uLnTx/>
                <a:uFillTx/>
                <a:latin typeface="Roboto"/>
                <a:ea typeface="+mn-ea"/>
                <a:cs typeface="Times New Roman" pitchFamily="18" charset="0"/>
              </a:rPr>
              <a:t>Paris </a:t>
            </a:r>
            <a:br>
              <a:rPr kumimoji="0" lang="en-US" altLang="zh-CN" sz="1400" b="1" i="0" u="none" strike="noStrike" kern="0" cap="none" spc="0" normalizeH="0" baseline="0" noProof="0">
                <a:ln>
                  <a:noFill/>
                </a:ln>
                <a:solidFill>
                  <a:srgbClr val="44546A"/>
                </a:solidFill>
                <a:effectLst/>
                <a:uLnTx/>
                <a:uFillTx/>
                <a:latin typeface="Roboto"/>
                <a:ea typeface="+mn-ea"/>
                <a:cs typeface="Times New Roman" pitchFamily="18" charset="0"/>
              </a:rPr>
            </a:br>
            <a:r>
              <a:rPr kumimoji="0" lang="en-US" altLang="zh-CN" sz="1400" b="1" i="0" u="none" strike="noStrike" kern="0" cap="none" spc="0" normalizeH="0" baseline="0" noProof="0">
                <a:ln>
                  <a:noFill/>
                </a:ln>
                <a:solidFill>
                  <a:srgbClr val="44546A"/>
                </a:solidFill>
                <a:effectLst/>
                <a:uLnTx/>
                <a:uFillTx/>
                <a:latin typeface="Roboto"/>
                <a:ea typeface="+mn-ea"/>
                <a:cs typeface="Times New Roman" pitchFamily="18" charset="0"/>
              </a:rPr>
              <a:t>Architecture </a:t>
            </a:r>
          </a:p>
        </p:txBody>
      </p:sp>
      <p:sp>
        <p:nvSpPr>
          <p:cNvPr id="71" name="TextBox 1">
            <a:extLst>
              <a:ext uri="{FF2B5EF4-FFF2-40B4-BE49-F238E27FC236}">
                <a16:creationId xmlns:a16="http://schemas.microsoft.com/office/drawing/2014/main" id="{A57B80B7-B160-1206-DFF9-FE88B8E2CA4A}"/>
              </a:ext>
            </a:extLst>
          </p:cNvPr>
          <p:cNvSpPr txBox="1"/>
          <p:nvPr/>
        </p:nvSpPr>
        <p:spPr>
          <a:xfrm>
            <a:off x="10072566" y="4112032"/>
            <a:ext cx="1584960" cy="11849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100" b="0" i="0" u="none" strike="noStrike" kern="0" cap="none" spc="0" normalizeH="0" baseline="0" noProof="0">
                <a:ln>
                  <a:noFill/>
                </a:ln>
                <a:solidFill>
                  <a:prstClr val="black"/>
                </a:solidFill>
                <a:effectLst/>
                <a:uLnTx/>
                <a:uFillTx/>
                <a:latin typeface="Roboto"/>
                <a:ea typeface="+mn-ea"/>
                <a:cs typeface="Times New Roman" pitchFamily="18" charset="0"/>
              </a:rPr>
              <a:t>Thematic and dimensional targets of the GGA (by 2030 and beyond); GGA indictors; tripling of adaptation finance; implementation acceleration.</a:t>
            </a:r>
          </a:p>
        </p:txBody>
      </p:sp>
      <p:sp>
        <p:nvSpPr>
          <p:cNvPr id="72" name="TextBox 1">
            <a:extLst>
              <a:ext uri="{FF2B5EF4-FFF2-40B4-BE49-F238E27FC236}">
                <a16:creationId xmlns:a16="http://schemas.microsoft.com/office/drawing/2014/main" id="{39DF5810-4121-D5D4-57F7-AA4311FCA289}"/>
              </a:ext>
            </a:extLst>
          </p:cNvPr>
          <p:cNvSpPr txBox="1"/>
          <p:nvPr/>
        </p:nvSpPr>
        <p:spPr>
          <a:xfrm>
            <a:off x="9928301" y="3313012"/>
            <a:ext cx="1873490"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400" b="1" i="0" u="none" strike="noStrike" kern="0" cap="none" spc="0" normalizeH="0" baseline="0" noProof="0">
                <a:ln>
                  <a:noFill/>
                </a:ln>
                <a:solidFill>
                  <a:srgbClr val="44546A"/>
                </a:solidFill>
                <a:effectLst/>
                <a:uLnTx/>
                <a:uFillTx/>
                <a:latin typeface="Roboto"/>
                <a:ea typeface="+mn-ea"/>
                <a:cs typeface="Times New Roman" pitchFamily="18" charset="0"/>
              </a:rPr>
              <a:t>Implementation, financing</a:t>
            </a:r>
            <a:r>
              <a:rPr lang="en-US" altLang="zh-CN" sz="1400" b="1" kern="0">
                <a:solidFill>
                  <a:srgbClr val="44546A"/>
                </a:solidFill>
                <a:latin typeface="Roboto"/>
                <a:cs typeface="Times New Roman" pitchFamily="18" charset="0"/>
              </a:rPr>
              <a:t>, measurable progress</a:t>
            </a:r>
            <a:endParaRPr kumimoji="0" lang="en-US" altLang="zh-CN" sz="1400" b="1" i="0" u="none" strike="noStrike" kern="0" cap="none" spc="0" normalizeH="0" baseline="0" noProof="0">
              <a:ln>
                <a:noFill/>
              </a:ln>
              <a:solidFill>
                <a:srgbClr val="44546A"/>
              </a:solidFill>
              <a:effectLst/>
              <a:uLnTx/>
              <a:uFillTx/>
              <a:latin typeface="Roboto"/>
              <a:ea typeface="+mn-ea"/>
              <a:cs typeface="Times New Roman" pitchFamily="18" charset="0"/>
            </a:endParaRPr>
          </a:p>
        </p:txBody>
      </p:sp>
      <p:cxnSp>
        <p:nvCxnSpPr>
          <p:cNvPr id="106" name="Straight Connector 105">
            <a:extLst>
              <a:ext uri="{FF2B5EF4-FFF2-40B4-BE49-F238E27FC236}">
                <a16:creationId xmlns:a16="http://schemas.microsoft.com/office/drawing/2014/main" id="{21825A0F-ED51-7B7C-8362-CE36B573F62F}"/>
              </a:ext>
            </a:extLst>
          </p:cNvPr>
          <p:cNvCxnSpPr>
            <a:cxnSpLocks/>
          </p:cNvCxnSpPr>
          <p:nvPr/>
        </p:nvCxnSpPr>
        <p:spPr>
          <a:xfrm>
            <a:off x="1984476" y="2546046"/>
            <a:ext cx="8900020" cy="0"/>
          </a:xfrm>
          <a:prstGeom prst="line">
            <a:avLst/>
          </a:prstGeom>
          <a:noFill/>
          <a:ln w="6350" cap="flat" cmpd="sng" algn="ctr">
            <a:solidFill>
              <a:schemeClr val="bg1"/>
            </a:solidFill>
            <a:prstDash val="dash"/>
            <a:miter lim="800000"/>
            <a:headEnd type="oval" w="med" len="med"/>
            <a:tailEnd type="oval" w="med" len="med"/>
          </a:ln>
          <a:effectLst/>
        </p:spPr>
      </p:cxnSp>
      <p:grpSp>
        <p:nvGrpSpPr>
          <p:cNvPr id="80" name="Group 79">
            <a:extLst>
              <a:ext uri="{FF2B5EF4-FFF2-40B4-BE49-F238E27FC236}">
                <a16:creationId xmlns:a16="http://schemas.microsoft.com/office/drawing/2014/main" id="{7202EC38-6310-5342-66D8-7A8F2BF4309E}"/>
              </a:ext>
            </a:extLst>
          </p:cNvPr>
          <p:cNvGrpSpPr/>
          <p:nvPr/>
        </p:nvGrpSpPr>
        <p:grpSpPr>
          <a:xfrm>
            <a:off x="1588288" y="1329897"/>
            <a:ext cx="831273" cy="1332583"/>
            <a:chOff x="1010651" y="1329897"/>
            <a:chExt cx="831273" cy="1332583"/>
          </a:xfrm>
        </p:grpSpPr>
        <p:grpSp>
          <p:nvGrpSpPr>
            <p:cNvPr id="46" name="Group 45">
              <a:extLst>
                <a:ext uri="{FF2B5EF4-FFF2-40B4-BE49-F238E27FC236}">
                  <a16:creationId xmlns:a16="http://schemas.microsoft.com/office/drawing/2014/main" id="{72B9475C-A62B-4468-18DD-FBDDE5203615}"/>
                </a:ext>
              </a:extLst>
            </p:cNvPr>
            <p:cNvGrpSpPr/>
            <p:nvPr/>
          </p:nvGrpSpPr>
          <p:grpSpPr>
            <a:xfrm>
              <a:off x="1010651" y="1329897"/>
              <a:ext cx="831273" cy="899918"/>
              <a:chOff x="1010651" y="1503170"/>
              <a:chExt cx="831273" cy="899918"/>
            </a:xfrm>
            <a:solidFill>
              <a:schemeClr val="accent2"/>
            </a:solidFill>
          </p:grpSpPr>
          <p:sp>
            <p:nvSpPr>
              <p:cNvPr id="6" name="Rectangle: Rounded Corners 5">
                <a:extLst>
                  <a:ext uri="{FF2B5EF4-FFF2-40B4-BE49-F238E27FC236}">
                    <a16:creationId xmlns:a16="http://schemas.microsoft.com/office/drawing/2014/main" id="{55E289E9-D334-0964-FC07-8B611DA9D471}"/>
                  </a:ext>
                </a:extLst>
              </p:cNvPr>
              <p:cNvSpPr/>
              <p:nvPr/>
            </p:nvSpPr>
            <p:spPr>
              <a:xfrm rot="2700000">
                <a:off x="1187098" y="1924709"/>
                <a:ext cx="478379" cy="47837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sp>
            <p:nvSpPr>
              <p:cNvPr id="7" name="Oval 6">
                <a:extLst>
                  <a:ext uri="{FF2B5EF4-FFF2-40B4-BE49-F238E27FC236}">
                    <a16:creationId xmlns:a16="http://schemas.microsoft.com/office/drawing/2014/main" id="{9B858B0E-D0D1-B83C-EBB6-7569B45C0BF4}"/>
                  </a:ext>
                </a:extLst>
              </p:cNvPr>
              <p:cNvSpPr/>
              <p:nvPr/>
            </p:nvSpPr>
            <p:spPr>
              <a:xfrm>
                <a:off x="1010651" y="1503170"/>
                <a:ext cx="831273" cy="83127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grpSp>
        <p:sp>
          <p:nvSpPr>
            <p:cNvPr id="79" name="Oval 78">
              <a:extLst>
                <a:ext uri="{FF2B5EF4-FFF2-40B4-BE49-F238E27FC236}">
                  <a16:creationId xmlns:a16="http://schemas.microsoft.com/office/drawing/2014/main" id="{339EE824-4137-B6BD-70AD-BBCD0DA44126}"/>
                </a:ext>
              </a:extLst>
            </p:cNvPr>
            <p:cNvSpPr/>
            <p:nvPr/>
          </p:nvSpPr>
          <p:spPr>
            <a:xfrm>
              <a:off x="1309186" y="2428277"/>
              <a:ext cx="234203" cy="234203"/>
            </a:xfrm>
            <a:prstGeom prst="ellipse">
              <a:avLst/>
            </a:prstGeom>
            <a:solidFill>
              <a:schemeClr val="accent2"/>
            </a:solidFill>
            <a:ln w="381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800" b="0" i="0" u="none" strike="noStrike" kern="0" cap="none" spc="0" normalizeH="0" baseline="0" noProof="0">
                <a:ln>
                  <a:noFill/>
                </a:ln>
                <a:solidFill>
                  <a:prstClr val="black"/>
                </a:solidFill>
                <a:effectLst/>
                <a:uLnTx/>
                <a:uFillTx/>
                <a:latin typeface="Roboto"/>
                <a:ea typeface="+mn-ea"/>
                <a:cs typeface="+mn-cs"/>
              </a:endParaRPr>
            </a:p>
          </p:txBody>
        </p:sp>
      </p:grpSp>
      <p:grpSp>
        <p:nvGrpSpPr>
          <p:cNvPr id="81" name="Group 80">
            <a:extLst>
              <a:ext uri="{FF2B5EF4-FFF2-40B4-BE49-F238E27FC236}">
                <a16:creationId xmlns:a16="http://schemas.microsoft.com/office/drawing/2014/main" id="{F6E71F86-8FA0-B324-36BC-FB2ADC6B30BF}"/>
              </a:ext>
            </a:extLst>
          </p:cNvPr>
          <p:cNvGrpSpPr/>
          <p:nvPr/>
        </p:nvGrpSpPr>
        <p:grpSpPr>
          <a:xfrm>
            <a:off x="3803569" y="1329897"/>
            <a:ext cx="831273" cy="1332583"/>
            <a:chOff x="1010651" y="1329897"/>
            <a:chExt cx="831273" cy="1332583"/>
          </a:xfrm>
        </p:grpSpPr>
        <p:grpSp>
          <p:nvGrpSpPr>
            <p:cNvPr id="82" name="Group 81">
              <a:extLst>
                <a:ext uri="{FF2B5EF4-FFF2-40B4-BE49-F238E27FC236}">
                  <a16:creationId xmlns:a16="http://schemas.microsoft.com/office/drawing/2014/main" id="{340E75D7-D6E1-DD3C-66E5-EBA406C1AF33}"/>
                </a:ext>
              </a:extLst>
            </p:cNvPr>
            <p:cNvGrpSpPr/>
            <p:nvPr/>
          </p:nvGrpSpPr>
          <p:grpSpPr>
            <a:xfrm>
              <a:off x="1010651" y="1329897"/>
              <a:ext cx="831273" cy="899918"/>
              <a:chOff x="1010651" y="1503170"/>
              <a:chExt cx="831273" cy="899918"/>
            </a:xfrm>
            <a:solidFill>
              <a:schemeClr val="accent2"/>
            </a:solidFill>
          </p:grpSpPr>
          <p:sp>
            <p:nvSpPr>
              <p:cNvPr id="84" name="Rectangle: Rounded Corners 83">
                <a:extLst>
                  <a:ext uri="{FF2B5EF4-FFF2-40B4-BE49-F238E27FC236}">
                    <a16:creationId xmlns:a16="http://schemas.microsoft.com/office/drawing/2014/main" id="{98E92CAD-5A02-3667-3C04-3F971B4EC0FA}"/>
                  </a:ext>
                </a:extLst>
              </p:cNvPr>
              <p:cNvSpPr/>
              <p:nvPr/>
            </p:nvSpPr>
            <p:spPr>
              <a:xfrm rot="2700000">
                <a:off x="1187098" y="1924709"/>
                <a:ext cx="478379" cy="4783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sp>
            <p:nvSpPr>
              <p:cNvPr id="85" name="Oval 84">
                <a:extLst>
                  <a:ext uri="{FF2B5EF4-FFF2-40B4-BE49-F238E27FC236}">
                    <a16:creationId xmlns:a16="http://schemas.microsoft.com/office/drawing/2014/main" id="{0AFAC4F3-7F02-3BD1-3521-5DE5EF41C656}"/>
                  </a:ext>
                </a:extLst>
              </p:cNvPr>
              <p:cNvSpPr/>
              <p:nvPr/>
            </p:nvSpPr>
            <p:spPr>
              <a:xfrm>
                <a:off x="1010651" y="1503170"/>
                <a:ext cx="831273" cy="8312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grpSp>
        <p:sp>
          <p:nvSpPr>
            <p:cNvPr id="83" name="Oval 82">
              <a:extLst>
                <a:ext uri="{FF2B5EF4-FFF2-40B4-BE49-F238E27FC236}">
                  <a16:creationId xmlns:a16="http://schemas.microsoft.com/office/drawing/2014/main" id="{50418307-D1A2-2A92-DC0B-0FD628AED9E1}"/>
                </a:ext>
              </a:extLst>
            </p:cNvPr>
            <p:cNvSpPr/>
            <p:nvPr/>
          </p:nvSpPr>
          <p:spPr>
            <a:xfrm>
              <a:off x="1309186" y="2428277"/>
              <a:ext cx="234203" cy="234203"/>
            </a:xfrm>
            <a:prstGeom prst="ellipse">
              <a:avLst/>
            </a:prstGeom>
            <a:solidFill>
              <a:schemeClr val="accent3"/>
            </a:solidFill>
            <a:ln w="381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800" b="0" i="0" u="none" strike="noStrike" kern="0" cap="none" spc="0" normalizeH="0" baseline="0" noProof="0">
                <a:ln>
                  <a:noFill/>
                </a:ln>
                <a:solidFill>
                  <a:prstClr val="black"/>
                </a:solidFill>
                <a:effectLst/>
                <a:uLnTx/>
                <a:uFillTx/>
                <a:latin typeface="Roboto"/>
                <a:ea typeface="+mn-ea"/>
                <a:cs typeface="+mn-cs"/>
              </a:endParaRPr>
            </a:p>
          </p:txBody>
        </p:sp>
      </p:grpSp>
      <p:grpSp>
        <p:nvGrpSpPr>
          <p:cNvPr id="86" name="Group 85">
            <a:extLst>
              <a:ext uri="{FF2B5EF4-FFF2-40B4-BE49-F238E27FC236}">
                <a16:creationId xmlns:a16="http://schemas.microsoft.com/office/drawing/2014/main" id="{12DD9C4F-1111-8DD6-89B8-FC6E670F1778}"/>
              </a:ext>
            </a:extLst>
          </p:cNvPr>
          <p:cNvGrpSpPr/>
          <p:nvPr/>
        </p:nvGrpSpPr>
        <p:grpSpPr>
          <a:xfrm>
            <a:off x="6018850" y="1329897"/>
            <a:ext cx="831273" cy="1332583"/>
            <a:chOff x="1010651" y="1329897"/>
            <a:chExt cx="831273" cy="1332583"/>
          </a:xfrm>
          <a:solidFill>
            <a:schemeClr val="accent4"/>
          </a:solidFill>
        </p:grpSpPr>
        <p:grpSp>
          <p:nvGrpSpPr>
            <p:cNvPr id="87" name="Group 86">
              <a:extLst>
                <a:ext uri="{FF2B5EF4-FFF2-40B4-BE49-F238E27FC236}">
                  <a16:creationId xmlns:a16="http://schemas.microsoft.com/office/drawing/2014/main" id="{C11A81A6-7645-73FC-9E96-4029EB7EA698}"/>
                </a:ext>
              </a:extLst>
            </p:cNvPr>
            <p:cNvGrpSpPr/>
            <p:nvPr/>
          </p:nvGrpSpPr>
          <p:grpSpPr>
            <a:xfrm>
              <a:off x="1010651" y="1329897"/>
              <a:ext cx="831273" cy="899918"/>
              <a:chOff x="1010651" y="1503170"/>
              <a:chExt cx="831273" cy="899918"/>
            </a:xfrm>
            <a:grpFill/>
          </p:grpSpPr>
          <p:sp>
            <p:nvSpPr>
              <p:cNvPr id="89" name="Rectangle: Rounded Corners 88">
                <a:extLst>
                  <a:ext uri="{FF2B5EF4-FFF2-40B4-BE49-F238E27FC236}">
                    <a16:creationId xmlns:a16="http://schemas.microsoft.com/office/drawing/2014/main" id="{883E4813-FD10-1BFD-5E29-40B778F5D9EF}"/>
                  </a:ext>
                </a:extLst>
              </p:cNvPr>
              <p:cNvSpPr/>
              <p:nvPr/>
            </p:nvSpPr>
            <p:spPr>
              <a:xfrm rot="2700000">
                <a:off x="1187098" y="1924709"/>
                <a:ext cx="478379" cy="47837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sp>
            <p:nvSpPr>
              <p:cNvPr id="90" name="Oval 89">
                <a:extLst>
                  <a:ext uri="{FF2B5EF4-FFF2-40B4-BE49-F238E27FC236}">
                    <a16:creationId xmlns:a16="http://schemas.microsoft.com/office/drawing/2014/main" id="{8D955F8F-C0EF-C98A-CCDD-B62C9A5A446F}"/>
                  </a:ext>
                </a:extLst>
              </p:cNvPr>
              <p:cNvSpPr/>
              <p:nvPr/>
            </p:nvSpPr>
            <p:spPr>
              <a:xfrm>
                <a:off x="1010651" y="1503170"/>
                <a:ext cx="831273" cy="83127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grpSp>
        <p:sp>
          <p:nvSpPr>
            <p:cNvPr id="88" name="Oval 87">
              <a:extLst>
                <a:ext uri="{FF2B5EF4-FFF2-40B4-BE49-F238E27FC236}">
                  <a16:creationId xmlns:a16="http://schemas.microsoft.com/office/drawing/2014/main" id="{7683608E-EFBA-E57D-31C1-98F73184EAB6}"/>
                </a:ext>
              </a:extLst>
            </p:cNvPr>
            <p:cNvSpPr/>
            <p:nvPr/>
          </p:nvSpPr>
          <p:spPr>
            <a:xfrm>
              <a:off x="1309186" y="2428277"/>
              <a:ext cx="234203" cy="234203"/>
            </a:xfrm>
            <a:prstGeom prst="ellipse">
              <a:avLst/>
            </a:prstGeom>
            <a:grpFill/>
            <a:ln w="381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800" b="0" i="0" u="none" strike="noStrike" kern="0" cap="none" spc="0" normalizeH="0" baseline="0" noProof="0">
                <a:ln>
                  <a:noFill/>
                </a:ln>
                <a:solidFill>
                  <a:prstClr val="black"/>
                </a:solidFill>
                <a:effectLst/>
                <a:uLnTx/>
                <a:uFillTx/>
                <a:latin typeface="Roboto"/>
                <a:ea typeface="+mn-ea"/>
                <a:cs typeface="+mn-cs"/>
              </a:endParaRPr>
            </a:p>
          </p:txBody>
        </p:sp>
      </p:grpSp>
      <p:grpSp>
        <p:nvGrpSpPr>
          <p:cNvPr id="91" name="Group 90">
            <a:extLst>
              <a:ext uri="{FF2B5EF4-FFF2-40B4-BE49-F238E27FC236}">
                <a16:creationId xmlns:a16="http://schemas.microsoft.com/office/drawing/2014/main" id="{D98B1D8E-8E3D-FB9C-85D3-4D542E759E4B}"/>
              </a:ext>
            </a:extLst>
          </p:cNvPr>
          <p:cNvGrpSpPr/>
          <p:nvPr/>
        </p:nvGrpSpPr>
        <p:grpSpPr>
          <a:xfrm>
            <a:off x="8234131" y="1329897"/>
            <a:ext cx="831273" cy="1332583"/>
            <a:chOff x="1010651" y="1329897"/>
            <a:chExt cx="831273" cy="1332583"/>
          </a:xfrm>
          <a:solidFill>
            <a:schemeClr val="accent2"/>
          </a:solidFill>
        </p:grpSpPr>
        <p:grpSp>
          <p:nvGrpSpPr>
            <p:cNvPr id="92" name="Group 91">
              <a:extLst>
                <a:ext uri="{FF2B5EF4-FFF2-40B4-BE49-F238E27FC236}">
                  <a16:creationId xmlns:a16="http://schemas.microsoft.com/office/drawing/2014/main" id="{008F2446-10C0-6596-82B7-E2D1C33E1B46}"/>
                </a:ext>
              </a:extLst>
            </p:cNvPr>
            <p:cNvGrpSpPr/>
            <p:nvPr/>
          </p:nvGrpSpPr>
          <p:grpSpPr>
            <a:xfrm>
              <a:off x="1010651" y="1329897"/>
              <a:ext cx="831273" cy="899918"/>
              <a:chOff x="1010651" y="1503170"/>
              <a:chExt cx="831273" cy="899918"/>
            </a:xfrm>
            <a:grpFill/>
          </p:grpSpPr>
          <p:sp>
            <p:nvSpPr>
              <p:cNvPr id="94" name="Rectangle: Rounded Corners 93">
                <a:extLst>
                  <a:ext uri="{FF2B5EF4-FFF2-40B4-BE49-F238E27FC236}">
                    <a16:creationId xmlns:a16="http://schemas.microsoft.com/office/drawing/2014/main" id="{3BBB3E5A-7C25-66E0-A6EC-3DBC00D6DBF1}"/>
                  </a:ext>
                </a:extLst>
              </p:cNvPr>
              <p:cNvSpPr/>
              <p:nvPr/>
            </p:nvSpPr>
            <p:spPr>
              <a:xfrm rot="2700000">
                <a:off x="1187098" y="1924709"/>
                <a:ext cx="478379" cy="47837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sp>
            <p:nvSpPr>
              <p:cNvPr id="95" name="Oval 94">
                <a:extLst>
                  <a:ext uri="{FF2B5EF4-FFF2-40B4-BE49-F238E27FC236}">
                    <a16:creationId xmlns:a16="http://schemas.microsoft.com/office/drawing/2014/main" id="{EC425C3E-F774-4298-CA18-5CC00F661924}"/>
                  </a:ext>
                </a:extLst>
              </p:cNvPr>
              <p:cNvSpPr/>
              <p:nvPr/>
            </p:nvSpPr>
            <p:spPr>
              <a:xfrm>
                <a:off x="1010651" y="1503170"/>
                <a:ext cx="831273" cy="83127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grpSp>
        <p:sp>
          <p:nvSpPr>
            <p:cNvPr id="93" name="Oval 92">
              <a:extLst>
                <a:ext uri="{FF2B5EF4-FFF2-40B4-BE49-F238E27FC236}">
                  <a16:creationId xmlns:a16="http://schemas.microsoft.com/office/drawing/2014/main" id="{1BE272C3-E3B6-68E6-C0FB-5A92A9C01C3A}"/>
                </a:ext>
              </a:extLst>
            </p:cNvPr>
            <p:cNvSpPr/>
            <p:nvPr/>
          </p:nvSpPr>
          <p:spPr>
            <a:xfrm>
              <a:off x="1309186" y="2428277"/>
              <a:ext cx="234203" cy="234203"/>
            </a:xfrm>
            <a:prstGeom prst="ellipse">
              <a:avLst/>
            </a:prstGeom>
            <a:grpFill/>
            <a:ln w="381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800" b="0" i="0" u="none" strike="noStrike" kern="0" cap="none" spc="0" normalizeH="0" baseline="0" noProof="0">
                <a:ln>
                  <a:noFill/>
                </a:ln>
                <a:solidFill>
                  <a:prstClr val="black"/>
                </a:solidFill>
                <a:effectLst/>
                <a:uLnTx/>
                <a:uFillTx/>
                <a:latin typeface="Roboto"/>
                <a:ea typeface="+mn-ea"/>
                <a:cs typeface="+mn-cs"/>
              </a:endParaRPr>
            </a:p>
          </p:txBody>
        </p:sp>
      </p:grpSp>
      <p:grpSp>
        <p:nvGrpSpPr>
          <p:cNvPr id="96" name="Group 95">
            <a:extLst>
              <a:ext uri="{FF2B5EF4-FFF2-40B4-BE49-F238E27FC236}">
                <a16:creationId xmlns:a16="http://schemas.microsoft.com/office/drawing/2014/main" id="{43330125-DB53-9E28-15D0-4F4E0EFBB0C7}"/>
              </a:ext>
            </a:extLst>
          </p:cNvPr>
          <p:cNvGrpSpPr/>
          <p:nvPr/>
        </p:nvGrpSpPr>
        <p:grpSpPr>
          <a:xfrm>
            <a:off x="10449410" y="1329897"/>
            <a:ext cx="831273" cy="1332583"/>
            <a:chOff x="1010651" y="1329897"/>
            <a:chExt cx="831273" cy="1332583"/>
          </a:xfrm>
          <a:solidFill>
            <a:schemeClr val="accent3"/>
          </a:solidFill>
        </p:grpSpPr>
        <p:grpSp>
          <p:nvGrpSpPr>
            <p:cNvPr id="97" name="Group 96">
              <a:extLst>
                <a:ext uri="{FF2B5EF4-FFF2-40B4-BE49-F238E27FC236}">
                  <a16:creationId xmlns:a16="http://schemas.microsoft.com/office/drawing/2014/main" id="{AF85DDBF-83B6-6EDC-F9DC-3AF0F55145E6}"/>
                </a:ext>
              </a:extLst>
            </p:cNvPr>
            <p:cNvGrpSpPr/>
            <p:nvPr/>
          </p:nvGrpSpPr>
          <p:grpSpPr>
            <a:xfrm>
              <a:off x="1010651" y="1329897"/>
              <a:ext cx="831273" cy="899918"/>
              <a:chOff x="1010651" y="1503170"/>
              <a:chExt cx="831273" cy="899918"/>
            </a:xfrm>
            <a:grpFill/>
          </p:grpSpPr>
          <p:sp>
            <p:nvSpPr>
              <p:cNvPr id="99" name="Rectangle: Rounded Corners 98">
                <a:extLst>
                  <a:ext uri="{FF2B5EF4-FFF2-40B4-BE49-F238E27FC236}">
                    <a16:creationId xmlns:a16="http://schemas.microsoft.com/office/drawing/2014/main" id="{783DAC30-8E7D-EF87-CE93-F795BB80B5FD}"/>
                  </a:ext>
                </a:extLst>
              </p:cNvPr>
              <p:cNvSpPr/>
              <p:nvPr/>
            </p:nvSpPr>
            <p:spPr>
              <a:xfrm rot="2700000">
                <a:off x="1187098" y="1924709"/>
                <a:ext cx="478379" cy="47837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sp>
            <p:nvSpPr>
              <p:cNvPr id="100" name="Oval 99">
                <a:extLst>
                  <a:ext uri="{FF2B5EF4-FFF2-40B4-BE49-F238E27FC236}">
                    <a16:creationId xmlns:a16="http://schemas.microsoft.com/office/drawing/2014/main" id="{96B58176-B26E-13FE-93C8-F20F8A2B580D}"/>
                  </a:ext>
                </a:extLst>
              </p:cNvPr>
              <p:cNvSpPr/>
              <p:nvPr/>
            </p:nvSpPr>
            <p:spPr>
              <a:xfrm>
                <a:off x="1010651" y="1503170"/>
                <a:ext cx="831273" cy="83127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grpSp>
        <p:sp>
          <p:nvSpPr>
            <p:cNvPr id="98" name="Oval 97">
              <a:extLst>
                <a:ext uri="{FF2B5EF4-FFF2-40B4-BE49-F238E27FC236}">
                  <a16:creationId xmlns:a16="http://schemas.microsoft.com/office/drawing/2014/main" id="{7396FDD6-309B-C911-CC65-A78A2DBCC965}"/>
                </a:ext>
              </a:extLst>
            </p:cNvPr>
            <p:cNvSpPr/>
            <p:nvPr/>
          </p:nvSpPr>
          <p:spPr>
            <a:xfrm>
              <a:off x="1309186" y="2428277"/>
              <a:ext cx="234203" cy="234203"/>
            </a:xfrm>
            <a:prstGeom prst="ellipse">
              <a:avLst/>
            </a:prstGeom>
            <a:grpFill/>
            <a:ln w="381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800" b="0" i="0" u="none" strike="noStrike" kern="0" cap="none" spc="0" normalizeH="0" baseline="0" noProof="0">
                <a:ln>
                  <a:noFill/>
                </a:ln>
                <a:solidFill>
                  <a:prstClr val="black"/>
                </a:solidFill>
                <a:effectLst/>
                <a:uLnTx/>
                <a:uFillTx/>
                <a:latin typeface="Roboto"/>
                <a:ea typeface="+mn-ea"/>
                <a:cs typeface="+mn-cs"/>
              </a:endParaRPr>
            </a:p>
          </p:txBody>
        </p:sp>
      </p:grpSp>
      <p:sp>
        <p:nvSpPr>
          <p:cNvPr id="109" name="TextBox 1">
            <a:extLst>
              <a:ext uri="{FF2B5EF4-FFF2-40B4-BE49-F238E27FC236}">
                <a16:creationId xmlns:a16="http://schemas.microsoft.com/office/drawing/2014/main" id="{D5000AB6-6B83-077E-A1DB-68D4A91250C7}"/>
              </a:ext>
            </a:extLst>
          </p:cNvPr>
          <p:cNvSpPr txBox="1"/>
          <p:nvPr/>
        </p:nvSpPr>
        <p:spPr>
          <a:xfrm>
            <a:off x="1067179" y="2816727"/>
            <a:ext cx="187349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600" b="1" i="0" u="none" strike="noStrike" kern="0" cap="none" spc="0" normalizeH="0" baseline="0" noProof="0">
                <a:ln>
                  <a:noFill/>
                </a:ln>
                <a:solidFill>
                  <a:srgbClr val="1C97DA"/>
                </a:solidFill>
                <a:effectLst/>
                <a:uLnTx/>
                <a:uFillTx/>
                <a:latin typeface="Roboto"/>
                <a:ea typeface="+mn-ea"/>
                <a:cs typeface="Times New Roman" pitchFamily="18" charset="0"/>
              </a:rPr>
              <a:t>1994–2000 </a:t>
            </a:r>
          </a:p>
        </p:txBody>
      </p:sp>
      <p:sp>
        <p:nvSpPr>
          <p:cNvPr id="110" name="TextBox 1">
            <a:extLst>
              <a:ext uri="{FF2B5EF4-FFF2-40B4-BE49-F238E27FC236}">
                <a16:creationId xmlns:a16="http://schemas.microsoft.com/office/drawing/2014/main" id="{82E995F6-F783-72D7-5374-24497DEC309B}"/>
              </a:ext>
            </a:extLst>
          </p:cNvPr>
          <p:cNvSpPr txBox="1"/>
          <p:nvPr/>
        </p:nvSpPr>
        <p:spPr>
          <a:xfrm>
            <a:off x="3282460" y="2816727"/>
            <a:ext cx="187349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600" b="1" i="0" u="none" strike="noStrike" kern="0" cap="none" spc="0" normalizeH="0" baseline="0" noProof="0">
                <a:ln>
                  <a:noFill/>
                </a:ln>
                <a:solidFill>
                  <a:srgbClr val="FFC000"/>
                </a:solidFill>
                <a:effectLst/>
                <a:uLnTx/>
                <a:uFillTx/>
                <a:latin typeface="Roboto"/>
                <a:ea typeface="+mn-ea"/>
                <a:cs typeface="Times New Roman" pitchFamily="18" charset="0"/>
              </a:rPr>
              <a:t>2001-2010 </a:t>
            </a:r>
          </a:p>
        </p:txBody>
      </p:sp>
      <p:sp>
        <p:nvSpPr>
          <p:cNvPr id="111" name="TextBox 1">
            <a:extLst>
              <a:ext uri="{FF2B5EF4-FFF2-40B4-BE49-F238E27FC236}">
                <a16:creationId xmlns:a16="http://schemas.microsoft.com/office/drawing/2014/main" id="{808B25BD-26A1-627E-7675-EA2B2E8DF586}"/>
              </a:ext>
            </a:extLst>
          </p:cNvPr>
          <p:cNvSpPr txBox="1"/>
          <p:nvPr/>
        </p:nvSpPr>
        <p:spPr>
          <a:xfrm>
            <a:off x="5497741" y="2816727"/>
            <a:ext cx="187349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600" b="1" i="0" u="none" strike="noStrike" kern="0" cap="none" spc="0" normalizeH="0" baseline="0" noProof="0">
                <a:ln>
                  <a:noFill/>
                </a:ln>
                <a:solidFill>
                  <a:srgbClr val="22D786"/>
                </a:solidFill>
                <a:effectLst/>
                <a:uLnTx/>
                <a:uFillTx/>
                <a:latin typeface="Roboto"/>
                <a:ea typeface="+mn-ea"/>
                <a:cs typeface="Times New Roman" pitchFamily="18" charset="0"/>
              </a:rPr>
              <a:t>2010-2015 </a:t>
            </a:r>
          </a:p>
        </p:txBody>
      </p:sp>
      <p:sp>
        <p:nvSpPr>
          <p:cNvPr id="112" name="TextBox 1">
            <a:extLst>
              <a:ext uri="{FF2B5EF4-FFF2-40B4-BE49-F238E27FC236}">
                <a16:creationId xmlns:a16="http://schemas.microsoft.com/office/drawing/2014/main" id="{43472326-EE81-8E9B-689A-61720A93F171}"/>
              </a:ext>
            </a:extLst>
          </p:cNvPr>
          <p:cNvSpPr txBox="1"/>
          <p:nvPr/>
        </p:nvSpPr>
        <p:spPr>
          <a:xfrm>
            <a:off x="7716306" y="2816727"/>
            <a:ext cx="187349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600" b="1" i="0" u="none" strike="noStrike" kern="0" cap="none" spc="0" normalizeH="0" baseline="0" noProof="0">
                <a:ln>
                  <a:noFill/>
                </a:ln>
                <a:solidFill>
                  <a:srgbClr val="1C97DA"/>
                </a:solidFill>
                <a:effectLst/>
                <a:uLnTx/>
                <a:uFillTx/>
                <a:latin typeface="Roboto"/>
                <a:ea typeface="+mn-ea"/>
                <a:cs typeface="Times New Roman" pitchFamily="18" charset="0"/>
              </a:rPr>
              <a:t>2015-2021 </a:t>
            </a:r>
          </a:p>
        </p:txBody>
      </p:sp>
      <p:sp>
        <p:nvSpPr>
          <p:cNvPr id="113" name="TextBox 1">
            <a:extLst>
              <a:ext uri="{FF2B5EF4-FFF2-40B4-BE49-F238E27FC236}">
                <a16:creationId xmlns:a16="http://schemas.microsoft.com/office/drawing/2014/main" id="{9E781625-896C-87BF-4B8D-91BCB3F223BB}"/>
              </a:ext>
            </a:extLst>
          </p:cNvPr>
          <p:cNvSpPr txBox="1"/>
          <p:nvPr/>
        </p:nvSpPr>
        <p:spPr>
          <a:xfrm>
            <a:off x="9928301" y="2816727"/>
            <a:ext cx="187349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600" b="1" i="0" u="none" strike="noStrike" kern="0" cap="none" spc="0" normalizeH="0" baseline="0" noProof="0">
                <a:ln>
                  <a:noFill/>
                </a:ln>
                <a:solidFill>
                  <a:srgbClr val="FFC000"/>
                </a:solidFill>
                <a:effectLst/>
                <a:uLnTx/>
                <a:uFillTx/>
                <a:latin typeface="Roboto"/>
                <a:ea typeface="+mn-ea"/>
                <a:cs typeface="Times New Roman" pitchFamily="18" charset="0"/>
              </a:rPr>
              <a:t>2021–onwards </a:t>
            </a:r>
          </a:p>
        </p:txBody>
      </p:sp>
      <p:cxnSp>
        <p:nvCxnSpPr>
          <p:cNvPr id="114" name="Straight Connector 113">
            <a:extLst>
              <a:ext uri="{FF2B5EF4-FFF2-40B4-BE49-F238E27FC236}">
                <a16:creationId xmlns:a16="http://schemas.microsoft.com/office/drawing/2014/main" id="{17770CDD-27F7-D056-0E04-458827004E50}"/>
              </a:ext>
            </a:extLst>
          </p:cNvPr>
          <p:cNvCxnSpPr>
            <a:cxnSpLocks/>
          </p:cNvCxnSpPr>
          <p:nvPr/>
        </p:nvCxnSpPr>
        <p:spPr>
          <a:xfrm flipH="1">
            <a:off x="1212967" y="3961303"/>
            <a:ext cx="1581912"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4345C6-21F4-F900-B83B-22F374C096AA}"/>
              </a:ext>
            </a:extLst>
          </p:cNvPr>
          <p:cNvCxnSpPr>
            <a:cxnSpLocks/>
          </p:cNvCxnSpPr>
          <p:nvPr/>
        </p:nvCxnSpPr>
        <p:spPr>
          <a:xfrm flipH="1">
            <a:off x="3417687" y="3961303"/>
            <a:ext cx="1581912"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68373A11-17D1-1770-68F7-B0F11834067A}"/>
              </a:ext>
            </a:extLst>
          </p:cNvPr>
          <p:cNvCxnSpPr>
            <a:cxnSpLocks/>
          </p:cNvCxnSpPr>
          <p:nvPr/>
        </p:nvCxnSpPr>
        <p:spPr>
          <a:xfrm flipH="1">
            <a:off x="5643529" y="3961303"/>
            <a:ext cx="1581912"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FD9D171-1654-21D9-B8CB-312E5AE791EC}"/>
              </a:ext>
            </a:extLst>
          </p:cNvPr>
          <p:cNvCxnSpPr>
            <a:cxnSpLocks/>
          </p:cNvCxnSpPr>
          <p:nvPr/>
        </p:nvCxnSpPr>
        <p:spPr>
          <a:xfrm flipH="1">
            <a:off x="7862094" y="3961303"/>
            <a:ext cx="1581912"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F2FE5036-F5CF-E41A-DEAC-B0135114611E}"/>
              </a:ext>
            </a:extLst>
          </p:cNvPr>
          <p:cNvCxnSpPr>
            <a:cxnSpLocks/>
          </p:cNvCxnSpPr>
          <p:nvPr/>
        </p:nvCxnSpPr>
        <p:spPr>
          <a:xfrm flipH="1">
            <a:off x="10074089" y="3961303"/>
            <a:ext cx="1581912"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E384680D-22FF-17A0-58EF-76F33AAFCDE1}"/>
              </a:ext>
            </a:extLst>
          </p:cNvPr>
          <p:cNvGrpSpPr/>
          <p:nvPr/>
        </p:nvGrpSpPr>
        <p:grpSpPr>
          <a:xfrm>
            <a:off x="1823743" y="1566145"/>
            <a:ext cx="360363" cy="358775"/>
            <a:chOff x="6275388" y="2890838"/>
            <a:chExt cx="360363" cy="358775"/>
          </a:xfrm>
          <a:solidFill>
            <a:schemeClr val="bg1"/>
          </a:solidFill>
        </p:grpSpPr>
        <p:sp>
          <p:nvSpPr>
            <p:cNvPr id="5" name="Freeform 18">
              <a:extLst>
                <a:ext uri="{FF2B5EF4-FFF2-40B4-BE49-F238E27FC236}">
                  <a16:creationId xmlns:a16="http://schemas.microsoft.com/office/drawing/2014/main" id="{61348E85-C3B7-EC60-7B89-7A6673892A2A}"/>
                </a:ext>
              </a:extLst>
            </p:cNvPr>
            <p:cNvSpPr>
              <a:spLocks/>
            </p:cNvSpPr>
            <p:nvPr/>
          </p:nvSpPr>
          <p:spPr bwMode="auto">
            <a:xfrm>
              <a:off x="6275388" y="3084513"/>
              <a:ext cx="150813" cy="88900"/>
            </a:xfrm>
            <a:custGeom>
              <a:avLst/>
              <a:gdLst>
                <a:gd name="T0" fmla="*/ 66 w 661"/>
                <a:gd name="T1" fmla="*/ 396 h 396"/>
                <a:gd name="T2" fmla="*/ 0 w 661"/>
                <a:gd name="T3" fmla="*/ 396 h 396"/>
                <a:gd name="T4" fmla="*/ 0 w 661"/>
                <a:gd name="T5" fmla="*/ 33 h 396"/>
                <a:gd name="T6" fmla="*/ 0 w 661"/>
                <a:gd name="T7" fmla="*/ 33 h 396"/>
                <a:gd name="T8" fmla="*/ 0 w 661"/>
                <a:gd name="T9" fmla="*/ 26 h 396"/>
                <a:gd name="T10" fmla="*/ 2 w 661"/>
                <a:gd name="T11" fmla="*/ 19 h 396"/>
                <a:gd name="T12" fmla="*/ 5 w 661"/>
                <a:gd name="T13" fmla="*/ 14 h 396"/>
                <a:gd name="T14" fmla="*/ 9 w 661"/>
                <a:gd name="T15" fmla="*/ 9 h 396"/>
                <a:gd name="T16" fmla="*/ 14 w 661"/>
                <a:gd name="T17" fmla="*/ 5 h 396"/>
                <a:gd name="T18" fmla="*/ 19 w 661"/>
                <a:gd name="T19" fmla="*/ 2 h 396"/>
                <a:gd name="T20" fmla="*/ 26 w 661"/>
                <a:gd name="T21" fmla="*/ 0 h 396"/>
                <a:gd name="T22" fmla="*/ 33 w 661"/>
                <a:gd name="T23" fmla="*/ 0 h 396"/>
                <a:gd name="T24" fmla="*/ 661 w 661"/>
                <a:gd name="T25" fmla="*/ 0 h 396"/>
                <a:gd name="T26" fmla="*/ 661 w 661"/>
                <a:gd name="T27" fmla="*/ 66 h 396"/>
                <a:gd name="T28" fmla="*/ 66 w 661"/>
                <a:gd name="T29" fmla="*/ 66 h 396"/>
                <a:gd name="T30" fmla="*/ 66 w 661"/>
                <a:gd name="T31"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1" h="396">
                  <a:moveTo>
                    <a:pt x="66" y="396"/>
                  </a:moveTo>
                  <a:lnTo>
                    <a:pt x="0" y="396"/>
                  </a:lnTo>
                  <a:lnTo>
                    <a:pt x="0" y="33"/>
                  </a:lnTo>
                  <a:lnTo>
                    <a:pt x="0" y="33"/>
                  </a:lnTo>
                  <a:lnTo>
                    <a:pt x="0" y="26"/>
                  </a:lnTo>
                  <a:lnTo>
                    <a:pt x="2" y="19"/>
                  </a:lnTo>
                  <a:lnTo>
                    <a:pt x="5" y="14"/>
                  </a:lnTo>
                  <a:lnTo>
                    <a:pt x="9" y="9"/>
                  </a:lnTo>
                  <a:lnTo>
                    <a:pt x="14" y="5"/>
                  </a:lnTo>
                  <a:lnTo>
                    <a:pt x="19" y="2"/>
                  </a:lnTo>
                  <a:lnTo>
                    <a:pt x="26" y="0"/>
                  </a:lnTo>
                  <a:lnTo>
                    <a:pt x="33" y="0"/>
                  </a:lnTo>
                  <a:lnTo>
                    <a:pt x="661" y="0"/>
                  </a:lnTo>
                  <a:lnTo>
                    <a:pt x="661" y="66"/>
                  </a:lnTo>
                  <a:lnTo>
                    <a:pt x="66" y="66"/>
                  </a:lnTo>
                  <a:lnTo>
                    <a:pt x="66" y="3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8" name="Freeform 19">
              <a:extLst>
                <a:ext uri="{FF2B5EF4-FFF2-40B4-BE49-F238E27FC236}">
                  <a16:creationId xmlns:a16="http://schemas.microsoft.com/office/drawing/2014/main" id="{1A3CFB27-75A9-EEE5-07EC-C5E211A0AF9E}"/>
                </a:ext>
              </a:extLst>
            </p:cNvPr>
            <p:cNvSpPr>
              <a:spLocks/>
            </p:cNvSpPr>
            <p:nvPr/>
          </p:nvSpPr>
          <p:spPr bwMode="auto">
            <a:xfrm>
              <a:off x="6275388" y="3009900"/>
              <a:ext cx="195263" cy="88900"/>
            </a:xfrm>
            <a:custGeom>
              <a:avLst/>
              <a:gdLst>
                <a:gd name="T0" fmla="*/ 66 w 860"/>
                <a:gd name="T1" fmla="*/ 397 h 397"/>
                <a:gd name="T2" fmla="*/ 0 w 860"/>
                <a:gd name="T3" fmla="*/ 397 h 397"/>
                <a:gd name="T4" fmla="*/ 0 w 860"/>
                <a:gd name="T5" fmla="*/ 33 h 397"/>
                <a:gd name="T6" fmla="*/ 0 w 860"/>
                <a:gd name="T7" fmla="*/ 33 h 397"/>
                <a:gd name="T8" fmla="*/ 0 w 860"/>
                <a:gd name="T9" fmla="*/ 27 h 397"/>
                <a:gd name="T10" fmla="*/ 2 w 860"/>
                <a:gd name="T11" fmla="*/ 20 h 397"/>
                <a:gd name="T12" fmla="*/ 5 w 860"/>
                <a:gd name="T13" fmla="*/ 14 h 397"/>
                <a:gd name="T14" fmla="*/ 9 w 860"/>
                <a:gd name="T15" fmla="*/ 10 h 397"/>
                <a:gd name="T16" fmla="*/ 14 w 860"/>
                <a:gd name="T17" fmla="*/ 6 h 397"/>
                <a:gd name="T18" fmla="*/ 19 w 860"/>
                <a:gd name="T19" fmla="*/ 3 h 397"/>
                <a:gd name="T20" fmla="*/ 26 w 860"/>
                <a:gd name="T21" fmla="*/ 1 h 397"/>
                <a:gd name="T22" fmla="*/ 33 w 860"/>
                <a:gd name="T23" fmla="*/ 0 h 397"/>
                <a:gd name="T24" fmla="*/ 860 w 860"/>
                <a:gd name="T25" fmla="*/ 0 h 397"/>
                <a:gd name="T26" fmla="*/ 860 w 860"/>
                <a:gd name="T27" fmla="*/ 66 h 397"/>
                <a:gd name="T28" fmla="*/ 66 w 860"/>
                <a:gd name="T29" fmla="*/ 66 h 397"/>
                <a:gd name="T30" fmla="*/ 66 w 860"/>
                <a:gd name="T31" fmla="*/ 39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0" h="397">
                  <a:moveTo>
                    <a:pt x="66" y="397"/>
                  </a:moveTo>
                  <a:lnTo>
                    <a:pt x="0" y="397"/>
                  </a:lnTo>
                  <a:lnTo>
                    <a:pt x="0" y="33"/>
                  </a:lnTo>
                  <a:lnTo>
                    <a:pt x="0" y="33"/>
                  </a:lnTo>
                  <a:lnTo>
                    <a:pt x="0" y="27"/>
                  </a:lnTo>
                  <a:lnTo>
                    <a:pt x="2" y="20"/>
                  </a:lnTo>
                  <a:lnTo>
                    <a:pt x="5" y="14"/>
                  </a:lnTo>
                  <a:lnTo>
                    <a:pt x="9" y="10"/>
                  </a:lnTo>
                  <a:lnTo>
                    <a:pt x="14" y="6"/>
                  </a:lnTo>
                  <a:lnTo>
                    <a:pt x="19" y="3"/>
                  </a:lnTo>
                  <a:lnTo>
                    <a:pt x="26" y="1"/>
                  </a:lnTo>
                  <a:lnTo>
                    <a:pt x="33" y="0"/>
                  </a:lnTo>
                  <a:lnTo>
                    <a:pt x="860" y="0"/>
                  </a:lnTo>
                  <a:lnTo>
                    <a:pt x="860" y="66"/>
                  </a:lnTo>
                  <a:lnTo>
                    <a:pt x="66" y="66"/>
                  </a:lnTo>
                  <a:lnTo>
                    <a:pt x="66" y="3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9" name="Freeform 20">
              <a:extLst>
                <a:ext uri="{FF2B5EF4-FFF2-40B4-BE49-F238E27FC236}">
                  <a16:creationId xmlns:a16="http://schemas.microsoft.com/office/drawing/2014/main" id="{C7012C62-76AE-55E3-14AD-F845CAD6B3C1}"/>
                </a:ext>
              </a:extLst>
            </p:cNvPr>
            <p:cNvSpPr>
              <a:spLocks noEditPoints="1"/>
            </p:cNvSpPr>
            <p:nvPr/>
          </p:nvSpPr>
          <p:spPr bwMode="auto">
            <a:xfrm>
              <a:off x="6275388" y="2933700"/>
              <a:ext cx="180975" cy="90488"/>
            </a:xfrm>
            <a:custGeom>
              <a:avLst/>
              <a:gdLst>
                <a:gd name="T0" fmla="*/ 760 w 793"/>
                <a:gd name="T1" fmla="*/ 396 h 396"/>
                <a:gd name="T2" fmla="*/ 33 w 793"/>
                <a:gd name="T3" fmla="*/ 396 h 396"/>
                <a:gd name="T4" fmla="*/ 33 w 793"/>
                <a:gd name="T5" fmla="*/ 396 h 396"/>
                <a:gd name="T6" fmla="*/ 26 w 793"/>
                <a:gd name="T7" fmla="*/ 395 h 396"/>
                <a:gd name="T8" fmla="*/ 19 w 793"/>
                <a:gd name="T9" fmla="*/ 394 h 396"/>
                <a:gd name="T10" fmla="*/ 14 w 793"/>
                <a:gd name="T11" fmla="*/ 391 h 396"/>
                <a:gd name="T12" fmla="*/ 9 w 793"/>
                <a:gd name="T13" fmla="*/ 387 h 396"/>
                <a:gd name="T14" fmla="*/ 5 w 793"/>
                <a:gd name="T15" fmla="*/ 381 h 396"/>
                <a:gd name="T16" fmla="*/ 2 w 793"/>
                <a:gd name="T17" fmla="*/ 376 h 396"/>
                <a:gd name="T18" fmla="*/ 0 w 793"/>
                <a:gd name="T19" fmla="*/ 370 h 396"/>
                <a:gd name="T20" fmla="*/ 0 w 793"/>
                <a:gd name="T21" fmla="*/ 363 h 396"/>
                <a:gd name="T22" fmla="*/ 0 w 793"/>
                <a:gd name="T23" fmla="*/ 33 h 396"/>
                <a:gd name="T24" fmla="*/ 0 w 793"/>
                <a:gd name="T25" fmla="*/ 33 h 396"/>
                <a:gd name="T26" fmla="*/ 0 w 793"/>
                <a:gd name="T27" fmla="*/ 25 h 396"/>
                <a:gd name="T28" fmla="*/ 2 w 793"/>
                <a:gd name="T29" fmla="*/ 19 h 396"/>
                <a:gd name="T30" fmla="*/ 5 w 793"/>
                <a:gd name="T31" fmla="*/ 14 h 396"/>
                <a:gd name="T32" fmla="*/ 9 w 793"/>
                <a:gd name="T33" fmla="*/ 9 h 396"/>
                <a:gd name="T34" fmla="*/ 14 w 793"/>
                <a:gd name="T35" fmla="*/ 5 h 396"/>
                <a:gd name="T36" fmla="*/ 19 w 793"/>
                <a:gd name="T37" fmla="*/ 2 h 396"/>
                <a:gd name="T38" fmla="*/ 26 w 793"/>
                <a:gd name="T39" fmla="*/ 0 h 396"/>
                <a:gd name="T40" fmla="*/ 33 w 793"/>
                <a:gd name="T41" fmla="*/ 0 h 396"/>
                <a:gd name="T42" fmla="*/ 760 w 793"/>
                <a:gd name="T43" fmla="*/ 0 h 396"/>
                <a:gd name="T44" fmla="*/ 760 w 793"/>
                <a:gd name="T45" fmla="*/ 0 h 396"/>
                <a:gd name="T46" fmla="*/ 767 w 793"/>
                <a:gd name="T47" fmla="*/ 0 h 396"/>
                <a:gd name="T48" fmla="*/ 773 w 793"/>
                <a:gd name="T49" fmla="*/ 2 h 396"/>
                <a:gd name="T50" fmla="*/ 779 w 793"/>
                <a:gd name="T51" fmla="*/ 5 h 396"/>
                <a:gd name="T52" fmla="*/ 783 w 793"/>
                <a:gd name="T53" fmla="*/ 9 h 396"/>
                <a:gd name="T54" fmla="*/ 787 w 793"/>
                <a:gd name="T55" fmla="*/ 14 h 396"/>
                <a:gd name="T56" fmla="*/ 790 w 793"/>
                <a:gd name="T57" fmla="*/ 19 h 396"/>
                <a:gd name="T58" fmla="*/ 792 w 793"/>
                <a:gd name="T59" fmla="*/ 25 h 396"/>
                <a:gd name="T60" fmla="*/ 793 w 793"/>
                <a:gd name="T61" fmla="*/ 33 h 396"/>
                <a:gd name="T62" fmla="*/ 793 w 793"/>
                <a:gd name="T63" fmla="*/ 363 h 396"/>
                <a:gd name="T64" fmla="*/ 793 w 793"/>
                <a:gd name="T65" fmla="*/ 363 h 396"/>
                <a:gd name="T66" fmla="*/ 792 w 793"/>
                <a:gd name="T67" fmla="*/ 370 h 396"/>
                <a:gd name="T68" fmla="*/ 790 w 793"/>
                <a:gd name="T69" fmla="*/ 376 h 396"/>
                <a:gd name="T70" fmla="*/ 787 w 793"/>
                <a:gd name="T71" fmla="*/ 381 h 396"/>
                <a:gd name="T72" fmla="*/ 783 w 793"/>
                <a:gd name="T73" fmla="*/ 387 h 396"/>
                <a:gd name="T74" fmla="*/ 779 w 793"/>
                <a:gd name="T75" fmla="*/ 391 h 396"/>
                <a:gd name="T76" fmla="*/ 773 w 793"/>
                <a:gd name="T77" fmla="*/ 394 h 396"/>
                <a:gd name="T78" fmla="*/ 767 w 793"/>
                <a:gd name="T79" fmla="*/ 395 h 396"/>
                <a:gd name="T80" fmla="*/ 760 w 793"/>
                <a:gd name="T81" fmla="*/ 396 h 396"/>
                <a:gd name="T82" fmla="*/ 760 w 793"/>
                <a:gd name="T83" fmla="*/ 396 h 396"/>
                <a:gd name="T84" fmla="*/ 66 w 793"/>
                <a:gd name="T85" fmla="*/ 330 h 396"/>
                <a:gd name="T86" fmla="*/ 727 w 793"/>
                <a:gd name="T87" fmla="*/ 330 h 396"/>
                <a:gd name="T88" fmla="*/ 727 w 793"/>
                <a:gd name="T89" fmla="*/ 66 h 396"/>
                <a:gd name="T90" fmla="*/ 66 w 793"/>
                <a:gd name="T91" fmla="*/ 66 h 396"/>
                <a:gd name="T92" fmla="*/ 66 w 793"/>
                <a:gd name="T93" fmla="*/ 33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93" h="396">
                  <a:moveTo>
                    <a:pt x="760" y="396"/>
                  </a:moveTo>
                  <a:lnTo>
                    <a:pt x="33" y="396"/>
                  </a:lnTo>
                  <a:lnTo>
                    <a:pt x="33" y="396"/>
                  </a:lnTo>
                  <a:lnTo>
                    <a:pt x="26" y="395"/>
                  </a:lnTo>
                  <a:lnTo>
                    <a:pt x="19" y="394"/>
                  </a:lnTo>
                  <a:lnTo>
                    <a:pt x="14" y="391"/>
                  </a:lnTo>
                  <a:lnTo>
                    <a:pt x="9" y="387"/>
                  </a:lnTo>
                  <a:lnTo>
                    <a:pt x="5" y="381"/>
                  </a:lnTo>
                  <a:lnTo>
                    <a:pt x="2" y="376"/>
                  </a:lnTo>
                  <a:lnTo>
                    <a:pt x="0" y="370"/>
                  </a:lnTo>
                  <a:lnTo>
                    <a:pt x="0" y="363"/>
                  </a:lnTo>
                  <a:lnTo>
                    <a:pt x="0" y="33"/>
                  </a:lnTo>
                  <a:lnTo>
                    <a:pt x="0" y="33"/>
                  </a:lnTo>
                  <a:lnTo>
                    <a:pt x="0" y="25"/>
                  </a:lnTo>
                  <a:lnTo>
                    <a:pt x="2" y="19"/>
                  </a:lnTo>
                  <a:lnTo>
                    <a:pt x="5" y="14"/>
                  </a:lnTo>
                  <a:lnTo>
                    <a:pt x="9" y="9"/>
                  </a:lnTo>
                  <a:lnTo>
                    <a:pt x="14" y="5"/>
                  </a:lnTo>
                  <a:lnTo>
                    <a:pt x="19" y="2"/>
                  </a:lnTo>
                  <a:lnTo>
                    <a:pt x="26" y="0"/>
                  </a:lnTo>
                  <a:lnTo>
                    <a:pt x="33" y="0"/>
                  </a:lnTo>
                  <a:lnTo>
                    <a:pt x="760" y="0"/>
                  </a:lnTo>
                  <a:lnTo>
                    <a:pt x="760" y="0"/>
                  </a:lnTo>
                  <a:lnTo>
                    <a:pt x="767" y="0"/>
                  </a:lnTo>
                  <a:lnTo>
                    <a:pt x="773" y="2"/>
                  </a:lnTo>
                  <a:lnTo>
                    <a:pt x="779" y="5"/>
                  </a:lnTo>
                  <a:lnTo>
                    <a:pt x="783" y="9"/>
                  </a:lnTo>
                  <a:lnTo>
                    <a:pt x="787" y="14"/>
                  </a:lnTo>
                  <a:lnTo>
                    <a:pt x="790" y="19"/>
                  </a:lnTo>
                  <a:lnTo>
                    <a:pt x="792" y="25"/>
                  </a:lnTo>
                  <a:lnTo>
                    <a:pt x="793" y="33"/>
                  </a:lnTo>
                  <a:lnTo>
                    <a:pt x="793" y="363"/>
                  </a:lnTo>
                  <a:lnTo>
                    <a:pt x="793" y="363"/>
                  </a:lnTo>
                  <a:lnTo>
                    <a:pt x="792" y="370"/>
                  </a:lnTo>
                  <a:lnTo>
                    <a:pt x="790" y="376"/>
                  </a:lnTo>
                  <a:lnTo>
                    <a:pt x="787" y="381"/>
                  </a:lnTo>
                  <a:lnTo>
                    <a:pt x="783" y="387"/>
                  </a:lnTo>
                  <a:lnTo>
                    <a:pt x="779" y="391"/>
                  </a:lnTo>
                  <a:lnTo>
                    <a:pt x="773" y="394"/>
                  </a:lnTo>
                  <a:lnTo>
                    <a:pt x="767" y="395"/>
                  </a:lnTo>
                  <a:lnTo>
                    <a:pt x="760" y="396"/>
                  </a:lnTo>
                  <a:lnTo>
                    <a:pt x="760" y="396"/>
                  </a:lnTo>
                  <a:close/>
                  <a:moveTo>
                    <a:pt x="66" y="330"/>
                  </a:moveTo>
                  <a:lnTo>
                    <a:pt x="727" y="330"/>
                  </a:lnTo>
                  <a:lnTo>
                    <a:pt x="727" y="66"/>
                  </a:lnTo>
                  <a:lnTo>
                    <a:pt x="66" y="66"/>
                  </a:lnTo>
                  <a:lnTo>
                    <a:pt x="66"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0" name="Rectangle 21">
              <a:extLst>
                <a:ext uri="{FF2B5EF4-FFF2-40B4-BE49-F238E27FC236}">
                  <a16:creationId xmlns:a16="http://schemas.microsoft.com/office/drawing/2014/main" id="{D6C8CA76-EFD4-01FB-ADDA-3A82D9C70D4A}"/>
                </a:ext>
              </a:extLst>
            </p:cNvPr>
            <p:cNvSpPr>
              <a:spLocks noChangeArrowheads="1"/>
            </p:cNvSpPr>
            <p:nvPr/>
          </p:nvSpPr>
          <p:spPr bwMode="auto">
            <a:xfrm>
              <a:off x="6335713" y="2941638"/>
              <a:ext cx="15875" cy="74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1" name="Rectangle 22">
              <a:extLst>
                <a:ext uri="{FF2B5EF4-FFF2-40B4-BE49-F238E27FC236}">
                  <a16:creationId xmlns:a16="http://schemas.microsoft.com/office/drawing/2014/main" id="{A768B8A9-2BCE-BEBB-EB0A-E71D8BDC4265}"/>
                </a:ext>
              </a:extLst>
            </p:cNvPr>
            <p:cNvSpPr>
              <a:spLocks noChangeArrowheads="1"/>
            </p:cNvSpPr>
            <p:nvPr/>
          </p:nvSpPr>
          <p:spPr bwMode="auto">
            <a:xfrm>
              <a:off x="6396038" y="3016250"/>
              <a:ext cx="14288"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2" name="Rectangle 23">
              <a:extLst>
                <a:ext uri="{FF2B5EF4-FFF2-40B4-BE49-F238E27FC236}">
                  <a16:creationId xmlns:a16="http://schemas.microsoft.com/office/drawing/2014/main" id="{A26C6ABB-7643-0950-92DB-DE7DAA4703BB}"/>
                </a:ext>
              </a:extLst>
            </p:cNvPr>
            <p:cNvSpPr>
              <a:spLocks noChangeArrowheads="1"/>
            </p:cNvSpPr>
            <p:nvPr/>
          </p:nvSpPr>
          <p:spPr bwMode="auto">
            <a:xfrm>
              <a:off x="6335713" y="3092450"/>
              <a:ext cx="15875" cy="74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3" name="Rectangle 24">
              <a:extLst>
                <a:ext uri="{FF2B5EF4-FFF2-40B4-BE49-F238E27FC236}">
                  <a16:creationId xmlns:a16="http://schemas.microsoft.com/office/drawing/2014/main" id="{1948A148-9A4B-90EB-3F81-CDE84F69BD10}"/>
                </a:ext>
              </a:extLst>
            </p:cNvPr>
            <p:cNvSpPr>
              <a:spLocks noChangeArrowheads="1"/>
            </p:cNvSpPr>
            <p:nvPr/>
          </p:nvSpPr>
          <p:spPr bwMode="auto">
            <a:xfrm>
              <a:off x="6515100" y="3173413"/>
              <a:ext cx="15875" cy="68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4" name="Freeform 25">
              <a:extLst>
                <a:ext uri="{FF2B5EF4-FFF2-40B4-BE49-F238E27FC236}">
                  <a16:creationId xmlns:a16="http://schemas.microsoft.com/office/drawing/2014/main" id="{A24B2F5C-4D79-7F31-F570-284AAEA8613B}"/>
                </a:ext>
              </a:extLst>
            </p:cNvPr>
            <p:cNvSpPr>
              <a:spLocks noEditPoints="1"/>
            </p:cNvSpPr>
            <p:nvPr/>
          </p:nvSpPr>
          <p:spPr bwMode="auto">
            <a:xfrm>
              <a:off x="6518275" y="2890838"/>
              <a:ext cx="117475" cy="112713"/>
            </a:xfrm>
            <a:custGeom>
              <a:avLst/>
              <a:gdLst>
                <a:gd name="T0" fmla="*/ 123 w 519"/>
                <a:gd name="T1" fmla="*/ 497 h 497"/>
                <a:gd name="T2" fmla="*/ 97 w 519"/>
                <a:gd name="T3" fmla="*/ 493 h 497"/>
                <a:gd name="T4" fmla="*/ 62 w 519"/>
                <a:gd name="T5" fmla="*/ 477 h 497"/>
                <a:gd name="T6" fmla="*/ 32 w 519"/>
                <a:gd name="T7" fmla="*/ 452 h 497"/>
                <a:gd name="T8" fmla="*/ 25 w 519"/>
                <a:gd name="T9" fmla="*/ 442 h 497"/>
                <a:gd name="T10" fmla="*/ 6 w 519"/>
                <a:gd name="T11" fmla="*/ 408 h 497"/>
                <a:gd name="T12" fmla="*/ 0 w 519"/>
                <a:gd name="T13" fmla="*/ 370 h 497"/>
                <a:gd name="T14" fmla="*/ 1 w 519"/>
                <a:gd name="T15" fmla="*/ 344 h 497"/>
                <a:gd name="T16" fmla="*/ 12 w 519"/>
                <a:gd name="T17" fmla="*/ 307 h 497"/>
                <a:gd name="T18" fmla="*/ 35 w 519"/>
                <a:gd name="T19" fmla="*/ 274 h 497"/>
                <a:gd name="T20" fmla="*/ 299 w 519"/>
                <a:gd name="T21" fmla="*/ 34 h 497"/>
                <a:gd name="T22" fmla="*/ 332 w 519"/>
                <a:gd name="T23" fmla="*/ 13 h 497"/>
                <a:gd name="T24" fmla="*/ 369 w 519"/>
                <a:gd name="T25" fmla="*/ 1 h 497"/>
                <a:gd name="T26" fmla="*/ 395 w 519"/>
                <a:gd name="T27" fmla="*/ 1 h 497"/>
                <a:gd name="T28" fmla="*/ 433 w 519"/>
                <a:gd name="T29" fmla="*/ 9 h 497"/>
                <a:gd name="T30" fmla="*/ 466 w 519"/>
                <a:gd name="T31" fmla="*/ 27 h 497"/>
                <a:gd name="T32" fmla="*/ 486 w 519"/>
                <a:gd name="T33" fmla="*/ 46 h 497"/>
                <a:gd name="T34" fmla="*/ 507 w 519"/>
                <a:gd name="T35" fmla="*/ 78 h 497"/>
                <a:gd name="T36" fmla="*/ 518 w 519"/>
                <a:gd name="T37" fmla="*/ 115 h 497"/>
                <a:gd name="T38" fmla="*/ 518 w 519"/>
                <a:gd name="T39" fmla="*/ 141 h 497"/>
                <a:gd name="T40" fmla="*/ 511 w 519"/>
                <a:gd name="T41" fmla="*/ 179 h 497"/>
                <a:gd name="T42" fmla="*/ 492 w 519"/>
                <a:gd name="T43" fmla="*/ 213 h 497"/>
                <a:gd name="T44" fmla="*/ 219 w 519"/>
                <a:gd name="T45" fmla="*/ 464 h 497"/>
                <a:gd name="T46" fmla="*/ 199 w 519"/>
                <a:gd name="T47" fmla="*/ 478 h 497"/>
                <a:gd name="T48" fmla="*/ 167 w 519"/>
                <a:gd name="T49" fmla="*/ 492 h 497"/>
                <a:gd name="T50" fmla="*/ 131 w 519"/>
                <a:gd name="T51" fmla="*/ 497 h 497"/>
                <a:gd name="T52" fmla="*/ 387 w 519"/>
                <a:gd name="T53" fmla="*/ 67 h 497"/>
                <a:gd name="T54" fmla="*/ 353 w 519"/>
                <a:gd name="T55" fmla="*/ 76 h 497"/>
                <a:gd name="T56" fmla="*/ 88 w 519"/>
                <a:gd name="T57" fmla="*/ 315 h 497"/>
                <a:gd name="T58" fmla="*/ 75 w 519"/>
                <a:gd name="T59" fmla="*/ 330 h 497"/>
                <a:gd name="T60" fmla="*/ 68 w 519"/>
                <a:gd name="T61" fmla="*/ 348 h 497"/>
                <a:gd name="T62" fmla="*/ 66 w 519"/>
                <a:gd name="T63" fmla="*/ 360 h 497"/>
                <a:gd name="T64" fmla="*/ 67 w 519"/>
                <a:gd name="T65" fmla="*/ 380 h 497"/>
                <a:gd name="T66" fmla="*/ 74 w 519"/>
                <a:gd name="T67" fmla="*/ 398 h 497"/>
                <a:gd name="T68" fmla="*/ 81 w 519"/>
                <a:gd name="T69" fmla="*/ 408 h 497"/>
                <a:gd name="T70" fmla="*/ 87 w 519"/>
                <a:gd name="T71" fmla="*/ 413 h 497"/>
                <a:gd name="T72" fmla="*/ 102 w 519"/>
                <a:gd name="T73" fmla="*/ 424 h 497"/>
                <a:gd name="T74" fmla="*/ 121 w 519"/>
                <a:gd name="T75" fmla="*/ 430 h 497"/>
                <a:gd name="T76" fmla="*/ 140 w 519"/>
                <a:gd name="T77" fmla="*/ 430 h 497"/>
                <a:gd name="T78" fmla="*/ 164 w 519"/>
                <a:gd name="T79" fmla="*/ 422 h 497"/>
                <a:gd name="T80" fmla="*/ 430 w 519"/>
                <a:gd name="T81" fmla="*/ 182 h 497"/>
                <a:gd name="T82" fmla="*/ 440 w 519"/>
                <a:gd name="T83" fmla="*/ 173 h 497"/>
                <a:gd name="T84" fmla="*/ 449 w 519"/>
                <a:gd name="T85" fmla="*/ 157 h 497"/>
                <a:gd name="T86" fmla="*/ 453 w 519"/>
                <a:gd name="T87" fmla="*/ 137 h 497"/>
                <a:gd name="T88" fmla="*/ 452 w 519"/>
                <a:gd name="T89" fmla="*/ 124 h 497"/>
                <a:gd name="T90" fmla="*/ 447 w 519"/>
                <a:gd name="T91" fmla="*/ 106 h 497"/>
                <a:gd name="T92" fmla="*/ 436 w 519"/>
                <a:gd name="T93" fmla="*/ 89 h 497"/>
                <a:gd name="T94" fmla="*/ 427 w 519"/>
                <a:gd name="T95" fmla="*/ 80 h 497"/>
                <a:gd name="T96" fmla="*/ 409 w 519"/>
                <a:gd name="T97" fmla="*/ 71 h 497"/>
                <a:gd name="T98" fmla="*/ 391 w 519"/>
                <a:gd name="T99" fmla="*/ 67 h 497"/>
                <a:gd name="T100" fmla="*/ 387 w 519"/>
                <a:gd name="T101" fmla="*/ 6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9" h="497">
                  <a:moveTo>
                    <a:pt x="131" y="497"/>
                  </a:moveTo>
                  <a:lnTo>
                    <a:pt x="131" y="497"/>
                  </a:lnTo>
                  <a:lnTo>
                    <a:pt x="123" y="497"/>
                  </a:lnTo>
                  <a:lnTo>
                    <a:pt x="123" y="497"/>
                  </a:lnTo>
                  <a:lnTo>
                    <a:pt x="110" y="495"/>
                  </a:lnTo>
                  <a:lnTo>
                    <a:pt x="97" y="493"/>
                  </a:lnTo>
                  <a:lnTo>
                    <a:pt x="86" y="489"/>
                  </a:lnTo>
                  <a:lnTo>
                    <a:pt x="73" y="483"/>
                  </a:lnTo>
                  <a:lnTo>
                    <a:pt x="62" y="477"/>
                  </a:lnTo>
                  <a:lnTo>
                    <a:pt x="51" y="470"/>
                  </a:lnTo>
                  <a:lnTo>
                    <a:pt x="41" y="462"/>
                  </a:lnTo>
                  <a:lnTo>
                    <a:pt x="32" y="452"/>
                  </a:lnTo>
                  <a:lnTo>
                    <a:pt x="32" y="452"/>
                  </a:lnTo>
                  <a:lnTo>
                    <a:pt x="32" y="452"/>
                  </a:lnTo>
                  <a:lnTo>
                    <a:pt x="25" y="442"/>
                  </a:lnTo>
                  <a:lnTo>
                    <a:pt x="17" y="431"/>
                  </a:lnTo>
                  <a:lnTo>
                    <a:pt x="11" y="419"/>
                  </a:lnTo>
                  <a:lnTo>
                    <a:pt x="6" y="408"/>
                  </a:lnTo>
                  <a:lnTo>
                    <a:pt x="3" y="396"/>
                  </a:lnTo>
                  <a:lnTo>
                    <a:pt x="1" y="382"/>
                  </a:lnTo>
                  <a:lnTo>
                    <a:pt x="0" y="370"/>
                  </a:lnTo>
                  <a:lnTo>
                    <a:pt x="0" y="356"/>
                  </a:lnTo>
                  <a:lnTo>
                    <a:pt x="0" y="356"/>
                  </a:lnTo>
                  <a:lnTo>
                    <a:pt x="1" y="344"/>
                  </a:lnTo>
                  <a:lnTo>
                    <a:pt x="4" y="330"/>
                  </a:lnTo>
                  <a:lnTo>
                    <a:pt x="8" y="318"/>
                  </a:lnTo>
                  <a:lnTo>
                    <a:pt x="12" y="307"/>
                  </a:lnTo>
                  <a:lnTo>
                    <a:pt x="18" y="295"/>
                  </a:lnTo>
                  <a:lnTo>
                    <a:pt x="26" y="285"/>
                  </a:lnTo>
                  <a:lnTo>
                    <a:pt x="35" y="274"/>
                  </a:lnTo>
                  <a:lnTo>
                    <a:pt x="44" y="265"/>
                  </a:lnTo>
                  <a:lnTo>
                    <a:pt x="299" y="34"/>
                  </a:lnTo>
                  <a:lnTo>
                    <a:pt x="299" y="34"/>
                  </a:lnTo>
                  <a:lnTo>
                    <a:pt x="309" y="26"/>
                  </a:lnTo>
                  <a:lnTo>
                    <a:pt x="320" y="19"/>
                  </a:lnTo>
                  <a:lnTo>
                    <a:pt x="332" y="13"/>
                  </a:lnTo>
                  <a:lnTo>
                    <a:pt x="343" y="8"/>
                  </a:lnTo>
                  <a:lnTo>
                    <a:pt x="356" y="4"/>
                  </a:lnTo>
                  <a:lnTo>
                    <a:pt x="369" y="1"/>
                  </a:lnTo>
                  <a:lnTo>
                    <a:pt x="382" y="0"/>
                  </a:lnTo>
                  <a:lnTo>
                    <a:pt x="395" y="1"/>
                  </a:lnTo>
                  <a:lnTo>
                    <a:pt x="395" y="1"/>
                  </a:lnTo>
                  <a:lnTo>
                    <a:pt x="408" y="2"/>
                  </a:lnTo>
                  <a:lnTo>
                    <a:pt x="421" y="5"/>
                  </a:lnTo>
                  <a:lnTo>
                    <a:pt x="433" y="9"/>
                  </a:lnTo>
                  <a:lnTo>
                    <a:pt x="445" y="14"/>
                  </a:lnTo>
                  <a:lnTo>
                    <a:pt x="456" y="20"/>
                  </a:lnTo>
                  <a:lnTo>
                    <a:pt x="466" y="27"/>
                  </a:lnTo>
                  <a:lnTo>
                    <a:pt x="477" y="37"/>
                  </a:lnTo>
                  <a:lnTo>
                    <a:pt x="486" y="46"/>
                  </a:lnTo>
                  <a:lnTo>
                    <a:pt x="486" y="46"/>
                  </a:lnTo>
                  <a:lnTo>
                    <a:pt x="494" y="56"/>
                  </a:lnTo>
                  <a:lnTo>
                    <a:pt x="501" y="67"/>
                  </a:lnTo>
                  <a:lnTo>
                    <a:pt x="507" y="78"/>
                  </a:lnTo>
                  <a:lnTo>
                    <a:pt x="512" y="90"/>
                  </a:lnTo>
                  <a:lnTo>
                    <a:pt x="515" y="103"/>
                  </a:lnTo>
                  <a:lnTo>
                    <a:pt x="518" y="115"/>
                  </a:lnTo>
                  <a:lnTo>
                    <a:pt x="519" y="129"/>
                  </a:lnTo>
                  <a:lnTo>
                    <a:pt x="518" y="141"/>
                  </a:lnTo>
                  <a:lnTo>
                    <a:pt x="518" y="141"/>
                  </a:lnTo>
                  <a:lnTo>
                    <a:pt x="517" y="154"/>
                  </a:lnTo>
                  <a:lnTo>
                    <a:pt x="514" y="167"/>
                  </a:lnTo>
                  <a:lnTo>
                    <a:pt x="511" y="179"/>
                  </a:lnTo>
                  <a:lnTo>
                    <a:pt x="506" y="191"/>
                  </a:lnTo>
                  <a:lnTo>
                    <a:pt x="500" y="202"/>
                  </a:lnTo>
                  <a:lnTo>
                    <a:pt x="492" y="213"/>
                  </a:lnTo>
                  <a:lnTo>
                    <a:pt x="484" y="223"/>
                  </a:lnTo>
                  <a:lnTo>
                    <a:pt x="474" y="232"/>
                  </a:lnTo>
                  <a:lnTo>
                    <a:pt x="219" y="464"/>
                  </a:lnTo>
                  <a:lnTo>
                    <a:pt x="219" y="464"/>
                  </a:lnTo>
                  <a:lnTo>
                    <a:pt x="210" y="471"/>
                  </a:lnTo>
                  <a:lnTo>
                    <a:pt x="199" y="478"/>
                  </a:lnTo>
                  <a:lnTo>
                    <a:pt x="189" y="483"/>
                  </a:lnTo>
                  <a:lnTo>
                    <a:pt x="179" y="489"/>
                  </a:lnTo>
                  <a:lnTo>
                    <a:pt x="167" y="492"/>
                  </a:lnTo>
                  <a:lnTo>
                    <a:pt x="155" y="495"/>
                  </a:lnTo>
                  <a:lnTo>
                    <a:pt x="144" y="497"/>
                  </a:lnTo>
                  <a:lnTo>
                    <a:pt x="131" y="497"/>
                  </a:lnTo>
                  <a:lnTo>
                    <a:pt x="131" y="497"/>
                  </a:lnTo>
                  <a:close/>
                  <a:moveTo>
                    <a:pt x="387" y="67"/>
                  </a:moveTo>
                  <a:lnTo>
                    <a:pt x="387" y="67"/>
                  </a:lnTo>
                  <a:lnTo>
                    <a:pt x="374" y="68"/>
                  </a:lnTo>
                  <a:lnTo>
                    <a:pt x="363" y="71"/>
                  </a:lnTo>
                  <a:lnTo>
                    <a:pt x="353" y="76"/>
                  </a:lnTo>
                  <a:lnTo>
                    <a:pt x="343" y="83"/>
                  </a:lnTo>
                  <a:lnTo>
                    <a:pt x="88" y="315"/>
                  </a:lnTo>
                  <a:lnTo>
                    <a:pt x="88" y="315"/>
                  </a:lnTo>
                  <a:lnTo>
                    <a:pt x="84" y="319"/>
                  </a:lnTo>
                  <a:lnTo>
                    <a:pt x="79" y="324"/>
                  </a:lnTo>
                  <a:lnTo>
                    <a:pt x="75" y="330"/>
                  </a:lnTo>
                  <a:lnTo>
                    <a:pt x="72" y="336"/>
                  </a:lnTo>
                  <a:lnTo>
                    <a:pt x="69" y="342"/>
                  </a:lnTo>
                  <a:lnTo>
                    <a:pt x="68" y="348"/>
                  </a:lnTo>
                  <a:lnTo>
                    <a:pt x="66" y="354"/>
                  </a:lnTo>
                  <a:lnTo>
                    <a:pt x="66" y="360"/>
                  </a:lnTo>
                  <a:lnTo>
                    <a:pt x="66" y="360"/>
                  </a:lnTo>
                  <a:lnTo>
                    <a:pt x="65" y="368"/>
                  </a:lnTo>
                  <a:lnTo>
                    <a:pt x="66" y="374"/>
                  </a:lnTo>
                  <a:lnTo>
                    <a:pt x="67" y="380"/>
                  </a:lnTo>
                  <a:lnTo>
                    <a:pt x="69" y="386"/>
                  </a:lnTo>
                  <a:lnTo>
                    <a:pt x="71" y="392"/>
                  </a:lnTo>
                  <a:lnTo>
                    <a:pt x="74" y="398"/>
                  </a:lnTo>
                  <a:lnTo>
                    <a:pt x="77" y="404"/>
                  </a:lnTo>
                  <a:lnTo>
                    <a:pt x="81" y="408"/>
                  </a:lnTo>
                  <a:lnTo>
                    <a:pt x="81" y="408"/>
                  </a:lnTo>
                  <a:lnTo>
                    <a:pt x="81" y="408"/>
                  </a:lnTo>
                  <a:lnTo>
                    <a:pt x="81" y="408"/>
                  </a:lnTo>
                  <a:lnTo>
                    <a:pt x="87" y="413"/>
                  </a:lnTo>
                  <a:lnTo>
                    <a:pt x="92" y="417"/>
                  </a:lnTo>
                  <a:lnTo>
                    <a:pt x="97" y="421"/>
                  </a:lnTo>
                  <a:lnTo>
                    <a:pt x="102" y="424"/>
                  </a:lnTo>
                  <a:lnTo>
                    <a:pt x="108" y="427"/>
                  </a:lnTo>
                  <a:lnTo>
                    <a:pt x="115" y="429"/>
                  </a:lnTo>
                  <a:lnTo>
                    <a:pt x="121" y="430"/>
                  </a:lnTo>
                  <a:lnTo>
                    <a:pt x="127" y="431"/>
                  </a:lnTo>
                  <a:lnTo>
                    <a:pt x="127" y="431"/>
                  </a:lnTo>
                  <a:lnTo>
                    <a:pt x="140" y="430"/>
                  </a:lnTo>
                  <a:lnTo>
                    <a:pt x="153" y="428"/>
                  </a:lnTo>
                  <a:lnTo>
                    <a:pt x="159" y="424"/>
                  </a:lnTo>
                  <a:lnTo>
                    <a:pt x="164" y="422"/>
                  </a:lnTo>
                  <a:lnTo>
                    <a:pt x="170" y="418"/>
                  </a:lnTo>
                  <a:lnTo>
                    <a:pt x="176" y="414"/>
                  </a:lnTo>
                  <a:lnTo>
                    <a:pt x="430" y="182"/>
                  </a:lnTo>
                  <a:lnTo>
                    <a:pt x="430" y="182"/>
                  </a:lnTo>
                  <a:lnTo>
                    <a:pt x="435" y="178"/>
                  </a:lnTo>
                  <a:lnTo>
                    <a:pt x="440" y="173"/>
                  </a:lnTo>
                  <a:lnTo>
                    <a:pt x="443" y="168"/>
                  </a:lnTo>
                  <a:lnTo>
                    <a:pt x="446" y="162"/>
                  </a:lnTo>
                  <a:lnTo>
                    <a:pt x="449" y="157"/>
                  </a:lnTo>
                  <a:lnTo>
                    <a:pt x="451" y="150"/>
                  </a:lnTo>
                  <a:lnTo>
                    <a:pt x="452" y="144"/>
                  </a:lnTo>
                  <a:lnTo>
                    <a:pt x="453" y="137"/>
                  </a:lnTo>
                  <a:lnTo>
                    <a:pt x="453" y="137"/>
                  </a:lnTo>
                  <a:lnTo>
                    <a:pt x="453" y="131"/>
                  </a:lnTo>
                  <a:lnTo>
                    <a:pt x="452" y="124"/>
                  </a:lnTo>
                  <a:lnTo>
                    <a:pt x="451" y="118"/>
                  </a:lnTo>
                  <a:lnTo>
                    <a:pt x="449" y="112"/>
                  </a:lnTo>
                  <a:lnTo>
                    <a:pt x="447" y="106"/>
                  </a:lnTo>
                  <a:lnTo>
                    <a:pt x="444" y="100"/>
                  </a:lnTo>
                  <a:lnTo>
                    <a:pt x="441" y="94"/>
                  </a:lnTo>
                  <a:lnTo>
                    <a:pt x="436" y="89"/>
                  </a:lnTo>
                  <a:lnTo>
                    <a:pt x="436" y="89"/>
                  </a:lnTo>
                  <a:lnTo>
                    <a:pt x="431" y="84"/>
                  </a:lnTo>
                  <a:lnTo>
                    <a:pt x="427" y="80"/>
                  </a:lnTo>
                  <a:lnTo>
                    <a:pt x="421" y="77"/>
                  </a:lnTo>
                  <a:lnTo>
                    <a:pt x="416" y="74"/>
                  </a:lnTo>
                  <a:lnTo>
                    <a:pt x="409" y="71"/>
                  </a:lnTo>
                  <a:lnTo>
                    <a:pt x="403" y="69"/>
                  </a:lnTo>
                  <a:lnTo>
                    <a:pt x="397" y="68"/>
                  </a:lnTo>
                  <a:lnTo>
                    <a:pt x="391" y="67"/>
                  </a:lnTo>
                  <a:lnTo>
                    <a:pt x="391" y="67"/>
                  </a:lnTo>
                  <a:lnTo>
                    <a:pt x="387" y="67"/>
                  </a:lnTo>
                  <a:lnTo>
                    <a:pt x="387"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5" name="Freeform 26">
              <a:extLst>
                <a:ext uri="{FF2B5EF4-FFF2-40B4-BE49-F238E27FC236}">
                  <a16:creationId xmlns:a16="http://schemas.microsoft.com/office/drawing/2014/main" id="{495A105F-A4CB-860D-1AB5-F276758BB9F7}"/>
                </a:ext>
              </a:extLst>
            </p:cNvPr>
            <p:cNvSpPr>
              <a:spLocks/>
            </p:cNvSpPr>
            <p:nvPr/>
          </p:nvSpPr>
          <p:spPr bwMode="auto">
            <a:xfrm>
              <a:off x="6515100" y="2981325"/>
              <a:ext cx="71438" cy="120650"/>
            </a:xfrm>
            <a:custGeom>
              <a:avLst/>
              <a:gdLst>
                <a:gd name="T0" fmla="*/ 33 w 315"/>
                <a:gd name="T1" fmla="*/ 529 h 529"/>
                <a:gd name="T2" fmla="*/ 33 w 315"/>
                <a:gd name="T3" fmla="*/ 529 h 529"/>
                <a:gd name="T4" fmla="*/ 27 w 315"/>
                <a:gd name="T5" fmla="*/ 528 h 529"/>
                <a:gd name="T6" fmla="*/ 20 w 315"/>
                <a:gd name="T7" fmla="*/ 526 h 529"/>
                <a:gd name="T8" fmla="*/ 14 w 315"/>
                <a:gd name="T9" fmla="*/ 523 h 529"/>
                <a:gd name="T10" fmla="*/ 9 w 315"/>
                <a:gd name="T11" fmla="*/ 518 h 529"/>
                <a:gd name="T12" fmla="*/ 9 w 315"/>
                <a:gd name="T13" fmla="*/ 518 h 529"/>
                <a:gd name="T14" fmla="*/ 4 w 315"/>
                <a:gd name="T15" fmla="*/ 513 h 529"/>
                <a:gd name="T16" fmla="*/ 2 w 315"/>
                <a:gd name="T17" fmla="*/ 507 h 529"/>
                <a:gd name="T18" fmla="*/ 0 w 315"/>
                <a:gd name="T19" fmla="*/ 500 h 529"/>
                <a:gd name="T20" fmla="*/ 0 w 315"/>
                <a:gd name="T21" fmla="*/ 494 h 529"/>
                <a:gd name="T22" fmla="*/ 1 w 315"/>
                <a:gd name="T23" fmla="*/ 488 h 529"/>
                <a:gd name="T24" fmla="*/ 3 w 315"/>
                <a:gd name="T25" fmla="*/ 482 h 529"/>
                <a:gd name="T26" fmla="*/ 8 w 315"/>
                <a:gd name="T27" fmla="*/ 475 h 529"/>
                <a:gd name="T28" fmla="*/ 12 w 315"/>
                <a:gd name="T29" fmla="*/ 471 h 529"/>
                <a:gd name="T30" fmla="*/ 235 w 315"/>
                <a:gd name="T31" fmla="*/ 274 h 529"/>
                <a:gd name="T32" fmla="*/ 45 w 315"/>
                <a:gd name="T33" fmla="*/ 54 h 529"/>
                <a:gd name="T34" fmla="*/ 45 w 315"/>
                <a:gd name="T35" fmla="*/ 54 h 529"/>
                <a:gd name="T36" fmla="*/ 41 w 315"/>
                <a:gd name="T37" fmla="*/ 49 h 529"/>
                <a:gd name="T38" fmla="*/ 39 w 315"/>
                <a:gd name="T39" fmla="*/ 43 h 529"/>
                <a:gd name="T40" fmla="*/ 37 w 315"/>
                <a:gd name="T41" fmla="*/ 37 h 529"/>
                <a:gd name="T42" fmla="*/ 37 w 315"/>
                <a:gd name="T43" fmla="*/ 31 h 529"/>
                <a:gd name="T44" fmla="*/ 38 w 315"/>
                <a:gd name="T45" fmla="*/ 24 h 529"/>
                <a:gd name="T46" fmla="*/ 40 w 315"/>
                <a:gd name="T47" fmla="*/ 18 h 529"/>
                <a:gd name="T48" fmla="*/ 44 w 315"/>
                <a:gd name="T49" fmla="*/ 13 h 529"/>
                <a:gd name="T50" fmla="*/ 48 w 315"/>
                <a:gd name="T51" fmla="*/ 8 h 529"/>
                <a:gd name="T52" fmla="*/ 48 w 315"/>
                <a:gd name="T53" fmla="*/ 8 h 529"/>
                <a:gd name="T54" fmla="*/ 53 w 315"/>
                <a:gd name="T55" fmla="*/ 4 h 529"/>
                <a:gd name="T56" fmla="*/ 59 w 315"/>
                <a:gd name="T57" fmla="*/ 2 h 529"/>
                <a:gd name="T58" fmla="*/ 66 w 315"/>
                <a:gd name="T59" fmla="*/ 1 h 529"/>
                <a:gd name="T60" fmla="*/ 72 w 315"/>
                <a:gd name="T61" fmla="*/ 0 h 529"/>
                <a:gd name="T62" fmla="*/ 78 w 315"/>
                <a:gd name="T63" fmla="*/ 1 h 529"/>
                <a:gd name="T64" fmla="*/ 84 w 315"/>
                <a:gd name="T65" fmla="*/ 4 h 529"/>
                <a:gd name="T66" fmla="*/ 90 w 315"/>
                <a:gd name="T67" fmla="*/ 7 h 529"/>
                <a:gd name="T68" fmla="*/ 94 w 315"/>
                <a:gd name="T69" fmla="*/ 11 h 529"/>
                <a:gd name="T70" fmla="*/ 307 w 315"/>
                <a:gd name="T71" fmla="*/ 255 h 529"/>
                <a:gd name="T72" fmla="*/ 307 w 315"/>
                <a:gd name="T73" fmla="*/ 255 h 529"/>
                <a:gd name="T74" fmla="*/ 311 w 315"/>
                <a:gd name="T75" fmla="*/ 261 h 529"/>
                <a:gd name="T76" fmla="*/ 313 w 315"/>
                <a:gd name="T77" fmla="*/ 266 h 529"/>
                <a:gd name="T78" fmla="*/ 315 w 315"/>
                <a:gd name="T79" fmla="*/ 273 h 529"/>
                <a:gd name="T80" fmla="*/ 315 w 315"/>
                <a:gd name="T81" fmla="*/ 279 h 529"/>
                <a:gd name="T82" fmla="*/ 314 w 315"/>
                <a:gd name="T83" fmla="*/ 285 h 529"/>
                <a:gd name="T84" fmla="*/ 312 w 315"/>
                <a:gd name="T85" fmla="*/ 291 h 529"/>
                <a:gd name="T86" fmla="*/ 308 w 315"/>
                <a:gd name="T87" fmla="*/ 298 h 529"/>
                <a:gd name="T88" fmla="*/ 304 w 315"/>
                <a:gd name="T89" fmla="*/ 302 h 529"/>
                <a:gd name="T90" fmla="*/ 55 w 315"/>
                <a:gd name="T91" fmla="*/ 521 h 529"/>
                <a:gd name="T92" fmla="*/ 55 w 315"/>
                <a:gd name="T93" fmla="*/ 521 h 529"/>
                <a:gd name="T94" fmla="*/ 51 w 315"/>
                <a:gd name="T95" fmla="*/ 524 h 529"/>
                <a:gd name="T96" fmla="*/ 45 w 315"/>
                <a:gd name="T97" fmla="*/ 527 h 529"/>
                <a:gd name="T98" fmla="*/ 40 w 315"/>
                <a:gd name="T99" fmla="*/ 528 h 529"/>
                <a:gd name="T100" fmla="*/ 33 w 315"/>
                <a:gd name="T101" fmla="*/ 529 h 529"/>
                <a:gd name="T102" fmla="*/ 33 w 315"/>
                <a:gd name="T103" fmla="*/ 529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5" h="529">
                  <a:moveTo>
                    <a:pt x="33" y="529"/>
                  </a:moveTo>
                  <a:lnTo>
                    <a:pt x="33" y="529"/>
                  </a:lnTo>
                  <a:lnTo>
                    <a:pt x="27" y="528"/>
                  </a:lnTo>
                  <a:lnTo>
                    <a:pt x="20" y="526"/>
                  </a:lnTo>
                  <a:lnTo>
                    <a:pt x="14" y="523"/>
                  </a:lnTo>
                  <a:lnTo>
                    <a:pt x="9" y="518"/>
                  </a:lnTo>
                  <a:lnTo>
                    <a:pt x="9" y="518"/>
                  </a:lnTo>
                  <a:lnTo>
                    <a:pt x="4" y="513"/>
                  </a:lnTo>
                  <a:lnTo>
                    <a:pt x="2" y="507"/>
                  </a:lnTo>
                  <a:lnTo>
                    <a:pt x="0" y="500"/>
                  </a:lnTo>
                  <a:lnTo>
                    <a:pt x="0" y="494"/>
                  </a:lnTo>
                  <a:lnTo>
                    <a:pt x="1" y="488"/>
                  </a:lnTo>
                  <a:lnTo>
                    <a:pt x="3" y="482"/>
                  </a:lnTo>
                  <a:lnTo>
                    <a:pt x="8" y="475"/>
                  </a:lnTo>
                  <a:lnTo>
                    <a:pt x="12" y="471"/>
                  </a:lnTo>
                  <a:lnTo>
                    <a:pt x="235" y="274"/>
                  </a:lnTo>
                  <a:lnTo>
                    <a:pt x="45" y="54"/>
                  </a:lnTo>
                  <a:lnTo>
                    <a:pt x="45" y="54"/>
                  </a:lnTo>
                  <a:lnTo>
                    <a:pt x="41" y="49"/>
                  </a:lnTo>
                  <a:lnTo>
                    <a:pt x="39" y="43"/>
                  </a:lnTo>
                  <a:lnTo>
                    <a:pt x="37" y="37"/>
                  </a:lnTo>
                  <a:lnTo>
                    <a:pt x="37" y="31"/>
                  </a:lnTo>
                  <a:lnTo>
                    <a:pt x="38" y="24"/>
                  </a:lnTo>
                  <a:lnTo>
                    <a:pt x="40" y="18"/>
                  </a:lnTo>
                  <a:lnTo>
                    <a:pt x="44" y="13"/>
                  </a:lnTo>
                  <a:lnTo>
                    <a:pt x="48" y="8"/>
                  </a:lnTo>
                  <a:lnTo>
                    <a:pt x="48" y="8"/>
                  </a:lnTo>
                  <a:lnTo>
                    <a:pt x="53" y="4"/>
                  </a:lnTo>
                  <a:lnTo>
                    <a:pt x="59" y="2"/>
                  </a:lnTo>
                  <a:lnTo>
                    <a:pt x="66" y="1"/>
                  </a:lnTo>
                  <a:lnTo>
                    <a:pt x="72" y="0"/>
                  </a:lnTo>
                  <a:lnTo>
                    <a:pt x="78" y="1"/>
                  </a:lnTo>
                  <a:lnTo>
                    <a:pt x="84" y="4"/>
                  </a:lnTo>
                  <a:lnTo>
                    <a:pt x="90" y="7"/>
                  </a:lnTo>
                  <a:lnTo>
                    <a:pt x="94" y="11"/>
                  </a:lnTo>
                  <a:lnTo>
                    <a:pt x="307" y="255"/>
                  </a:lnTo>
                  <a:lnTo>
                    <a:pt x="307" y="255"/>
                  </a:lnTo>
                  <a:lnTo>
                    <a:pt x="311" y="261"/>
                  </a:lnTo>
                  <a:lnTo>
                    <a:pt x="313" y="266"/>
                  </a:lnTo>
                  <a:lnTo>
                    <a:pt x="315" y="273"/>
                  </a:lnTo>
                  <a:lnTo>
                    <a:pt x="315" y="279"/>
                  </a:lnTo>
                  <a:lnTo>
                    <a:pt x="314" y="285"/>
                  </a:lnTo>
                  <a:lnTo>
                    <a:pt x="312" y="291"/>
                  </a:lnTo>
                  <a:lnTo>
                    <a:pt x="308" y="298"/>
                  </a:lnTo>
                  <a:lnTo>
                    <a:pt x="304" y="302"/>
                  </a:lnTo>
                  <a:lnTo>
                    <a:pt x="55" y="521"/>
                  </a:lnTo>
                  <a:lnTo>
                    <a:pt x="55" y="521"/>
                  </a:lnTo>
                  <a:lnTo>
                    <a:pt x="51" y="524"/>
                  </a:lnTo>
                  <a:lnTo>
                    <a:pt x="45" y="527"/>
                  </a:lnTo>
                  <a:lnTo>
                    <a:pt x="40" y="528"/>
                  </a:lnTo>
                  <a:lnTo>
                    <a:pt x="33" y="529"/>
                  </a:lnTo>
                  <a:lnTo>
                    <a:pt x="33" y="5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6" name="Freeform 27">
              <a:extLst>
                <a:ext uri="{FF2B5EF4-FFF2-40B4-BE49-F238E27FC236}">
                  <a16:creationId xmlns:a16="http://schemas.microsoft.com/office/drawing/2014/main" id="{B3B14D2E-A847-761F-4F81-90401A392484}"/>
                </a:ext>
              </a:extLst>
            </p:cNvPr>
            <p:cNvSpPr>
              <a:spLocks noEditPoints="1"/>
            </p:cNvSpPr>
            <p:nvPr/>
          </p:nvSpPr>
          <p:spPr bwMode="auto">
            <a:xfrm>
              <a:off x="6426200" y="3022600"/>
              <a:ext cx="165100" cy="165100"/>
            </a:xfrm>
            <a:custGeom>
              <a:avLst/>
              <a:gdLst>
                <a:gd name="T0" fmla="*/ 33 w 728"/>
                <a:gd name="T1" fmla="*/ 727 h 727"/>
                <a:gd name="T2" fmla="*/ 21 w 728"/>
                <a:gd name="T3" fmla="*/ 724 h 727"/>
                <a:gd name="T4" fmla="*/ 9 w 728"/>
                <a:gd name="T5" fmla="*/ 717 h 727"/>
                <a:gd name="T6" fmla="*/ 6 w 728"/>
                <a:gd name="T7" fmla="*/ 713 h 727"/>
                <a:gd name="T8" fmla="*/ 2 w 728"/>
                <a:gd name="T9" fmla="*/ 705 h 727"/>
                <a:gd name="T10" fmla="*/ 0 w 728"/>
                <a:gd name="T11" fmla="*/ 696 h 727"/>
                <a:gd name="T12" fmla="*/ 1 w 728"/>
                <a:gd name="T13" fmla="*/ 687 h 727"/>
                <a:gd name="T14" fmla="*/ 233 w 728"/>
                <a:gd name="T15" fmla="*/ 89 h 727"/>
                <a:gd name="T16" fmla="*/ 238 w 728"/>
                <a:gd name="T17" fmla="*/ 73 h 727"/>
                <a:gd name="T18" fmla="*/ 254 w 728"/>
                <a:gd name="T19" fmla="*/ 46 h 727"/>
                <a:gd name="T20" fmla="*/ 275 w 728"/>
                <a:gd name="T21" fmla="*/ 24 h 727"/>
                <a:gd name="T22" fmla="*/ 302 w 728"/>
                <a:gd name="T23" fmla="*/ 9 h 727"/>
                <a:gd name="T24" fmla="*/ 318 w 728"/>
                <a:gd name="T25" fmla="*/ 4 h 727"/>
                <a:gd name="T26" fmla="*/ 335 w 728"/>
                <a:gd name="T27" fmla="*/ 1 h 727"/>
                <a:gd name="T28" fmla="*/ 372 w 728"/>
                <a:gd name="T29" fmla="*/ 1 h 727"/>
                <a:gd name="T30" fmla="*/ 407 w 728"/>
                <a:gd name="T31" fmla="*/ 11 h 727"/>
                <a:gd name="T32" fmla="*/ 439 w 728"/>
                <a:gd name="T33" fmla="*/ 30 h 727"/>
                <a:gd name="T34" fmla="*/ 684 w 728"/>
                <a:gd name="T35" fmla="*/ 274 h 727"/>
                <a:gd name="T36" fmla="*/ 698 w 728"/>
                <a:gd name="T37" fmla="*/ 288 h 727"/>
                <a:gd name="T38" fmla="*/ 716 w 728"/>
                <a:gd name="T39" fmla="*/ 320 h 727"/>
                <a:gd name="T40" fmla="*/ 727 w 728"/>
                <a:gd name="T41" fmla="*/ 355 h 727"/>
                <a:gd name="T42" fmla="*/ 728 w 728"/>
                <a:gd name="T43" fmla="*/ 383 h 727"/>
                <a:gd name="T44" fmla="*/ 726 w 728"/>
                <a:gd name="T45" fmla="*/ 401 h 727"/>
                <a:gd name="T46" fmla="*/ 722 w 728"/>
                <a:gd name="T47" fmla="*/ 410 h 727"/>
                <a:gd name="T48" fmla="*/ 710 w 728"/>
                <a:gd name="T49" fmla="*/ 439 h 727"/>
                <a:gd name="T50" fmla="*/ 691 w 728"/>
                <a:gd name="T51" fmla="*/ 464 h 727"/>
                <a:gd name="T52" fmla="*/ 667 w 728"/>
                <a:gd name="T53" fmla="*/ 483 h 727"/>
                <a:gd name="T54" fmla="*/ 637 w 728"/>
                <a:gd name="T55" fmla="*/ 494 h 727"/>
                <a:gd name="T56" fmla="*/ 45 w 728"/>
                <a:gd name="T57" fmla="*/ 725 h 727"/>
                <a:gd name="T58" fmla="*/ 33 w 728"/>
                <a:gd name="T59" fmla="*/ 727 h 727"/>
                <a:gd name="T60" fmla="*/ 352 w 728"/>
                <a:gd name="T61" fmla="*/ 66 h 727"/>
                <a:gd name="T62" fmla="*/ 344 w 728"/>
                <a:gd name="T63" fmla="*/ 66 h 727"/>
                <a:gd name="T64" fmla="*/ 334 w 728"/>
                <a:gd name="T65" fmla="*/ 68 h 727"/>
                <a:gd name="T66" fmla="*/ 320 w 728"/>
                <a:gd name="T67" fmla="*/ 74 h 727"/>
                <a:gd name="T68" fmla="*/ 308 w 728"/>
                <a:gd name="T69" fmla="*/ 83 h 727"/>
                <a:gd name="T70" fmla="*/ 299 w 728"/>
                <a:gd name="T71" fmla="*/ 98 h 727"/>
                <a:gd name="T72" fmla="*/ 296 w 728"/>
                <a:gd name="T73" fmla="*/ 107 h 727"/>
                <a:gd name="T74" fmla="*/ 91 w 728"/>
                <a:gd name="T75" fmla="*/ 636 h 727"/>
                <a:gd name="T76" fmla="*/ 616 w 728"/>
                <a:gd name="T77" fmla="*/ 431 h 727"/>
                <a:gd name="T78" fmla="*/ 635 w 728"/>
                <a:gd name="T79" fmla="*/ 424 h 727"/>
                <a:gd name="T80" fmla="*/ 648 w 728"/>
                <a:gd name="T81" fmla="*/ 413 h 727"/>
                <a:gd name="T82" fmla="*/ 655 w 728"/>
                <a:gd name="T83" fmla="*/ 402 h 727"/>
                <a:gd name="T84" fmla="*/ 659 w 728"/>
                <a:gd name="T85" fmla="*/ 393 h 727"/>
                <a:gd name="T86" fmla="*/ 661 w 728"/>
                <a:gd name="T87" fmla="*/ 374 h 727"/>
                <a:gd name="T88" fmla="*/ 658 w 728"/>
                <a:gd name="T89" fmla="*/ 354 h 727"/>
                <a:gd name="T90" fmla="*/ 650 w 728"/>
                <a:gd name="T91" fmla="*/ 337 h 727"/>
                <a:gd name="T92" fmla="*/ 638 w 728"/>
                <a:gd name="T93" fmla="*/ 320 h 727"/>
                <a:gd name="T94" fmla="*/ 407 w 728"/>
                <a:gd name="T95" fmla="*/ 89 h 727"/>
                <a:gd name="T96" fmla="*/ 394 w 728"/>
                <a:gd name="T97" fmla="*/ 79 h 727"/>
                <a:gd name="T98" fmla="*/ 381 w 728"/>
                <a:gd name="T99" fmla="*/ 72 h 727"/>
                <a:gd name="T100" fmla="*/ 366 w 728"/>
                <a:gd name="T101" fmla="*/ 67 h 727"/>
                <a:gd name="T102" fmla="*/ 352 w 728"/>
                <a:gd name="T103" fmla="*/ 66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8" h="727">
                  <a:moveTo>
                    <a:pt x="33" y="727"/>
                  </a:moveTo>
                  <a:lnTo>
                    <a:pt x="33" y="727"/>
                  </a:lnTo>
                  <a:lnTo>
                    <a:pt x="27" y="726"/>
                  </a:lnTo>
                  <a:lnTo>
                    <a:pt x="21" y="724"/>
                  </a:lnTo>
                  <a:lnTo>
                    <a:pt x="15" y="721"/>
                  </a:lnTo>
                  <a:lnTo>
                    <a:pt x="9" y="717"/>
                  </a:lnTo>
                  <a:lnTo>
                    <a:pt x="9" y="717"/>
                  </a:lnTo>
                  <a:lnTo>
                    <a:pt x="6" y="713"/>
                  </a:lnTo>
                  <a:lnTo>
                    <a:pt x="4" y="709"/>
                  </a:lnTo>
                  <a:lnTo>
                    <a:pt x="2" y="705"/>
                  </a:lnTo>
                  <a:lnTo>
                    <a:pt x="0" y="700"/>
                  </a:lnTo>
                  <a:lnTo>
                    <a:pt x="0" y="696"/>
                  </a:lnTo>
                  <a:lnTo>
                    <a:pt x="0" y="691"/>
                  </a:lnTo>
                  <a:lnTo>
                    <a:pt x="1" y="687"/>
                  </a:lnTo>
                  <a:lnTo>
                    <a:pt x="2" y="681"/>
                  </a:lnTo>
                  <a:lnTo>
                    <a:pt x="233" y="89"/>
                  </a:lnTo>
                  <a:lnTo>
                    <a:pt x="233" y="89"/>
                  </a:lnTo>
                  <a:lnTo>
                    <a:pt x="238" y="73"/>
                  </a:lnTo>
                  <a:lnTo>
                    <a:pt x="245" y="59"/>
                  </a:lnTo>
                  <a:lnTo>
                    <a:pt x="254" y="46"/>
                  </a:lnTo>
                  <a:lnTo>
                    <a:pt x="264" y="35"/>
                  </a:lnTo>
                  <a:lnTo>
                    <a:pt x="275" y="24"/>
                  </a:lnTo>
                  <a:lnTo>
                    <a:pt x="288" y="16"/>
                  </a:lnTo>
                  <a:lnTo>
                    <a:pt x="302" y="9"/>
                  </a:lnTo>
                  <a:lnTo>
                    <a:pt x="318" y="4"/>
                  </a:lnTo>
                  <a:lnTo>
                    <a:pt x="318" y="4"/>
                  </a:lnTo>
                  <a:lnTo>
                    <a:pt x="326" y="2"/>
                  </a:lnTo>
                  <a:lnTo>
                    <a:pt x="335" y="1"/>
                  </a:lnTo>
                  <a:lnTo>
                    <a:pt x="354" y="0"/>
                  </a:lnTo>
                  <a:lnTo>
                    <a:pt x="372" y="1"/>
                  </a:lnTo>
                  <a:lnTo>
                    <a:pt x="389" y="5"/>
                  </a:lnTo>
                  <a:lnTo>
                    <a:pt x="407" y="11"/>
                  </a:lnTo>
                  <a:lnTo>
                    <a:pt x="423" y="19"/>
                  </a:lnTo>
                  <a:lnTo>
                    <a:pt x="439" y="30"/>
                  </a:lnTo>
                  <a:lnTo>
                    <a:pt x="453" y="42"/>
                  </a:lnTo>
                  <a:lnTo>
                    <a:pt x="684" y="274"/>
                  </a:lnTo>
                  <a:lnTo>
                    <a:pt x="684" y="274"/>
                  </a:lnTo>
                  <a:lnTo>
                    <a:pt x="698" y="288"/>
                  </a:lnTo>
                  <a:lnTo>
                    <a:pt x="708" y="304"/>
                  </a:lnTo>
                  <a:lnTo>
                    <a:pt x="716" y="320"/>
                  </a:lnTo>
                  <a:lnTo>
                    <a:pt x="722" y="338"/>
                  </a:lnTo>
                  <a:lnTo>
                    <a:pt x="727" y="355"/>
                  </a:lnTo>
                  <a:lnTo>
                    <a:pt x="728" y="374"/>
                  </a:lnTo>
                  <a:lnTo>
                    <a:pt x="728" y="383"/>
                  </a:lnTo>
                  <a:lnTo>
                    <a:pt x="727" y="393"/>
                  </a:lnTo>
                  <a:lnTo>
                    <a:pt x="726" y="401"/>
                  </a:lnTo>
                  <a:lnTo>
                    <a:pt x="722" y="410"/>
                  </a:lnTo>
                  <a:lnTo>
                    <a:pt x="722" y="410"/>
                  </a:lnTo>
                  <a:lnTo>
                    <a:pt x="717" y="426"/>
                  </a:lnTo>
                  <a:lnTo>
                    <a:pt x="710" y="439"/>
                  </a:lnTo>
                  <a:lnTo>
                    <a:pt x="702" y="453"/>
                  </a:lnTo>
                  <a:lnTo>
                    <a:pt x="691" y="464"/>
                  </a:lnTo>
                  <a:lnTo>
                    <a:pt x="680" y="474"/>
                  </a:lnTo>
                  <a:lnTo>
                    <a:pt x="667" y="483"/>
                  </a:lnTo>
                  <a:lnTo>
                    <a:pt x="652" y="489"/>
                  </a:lnTo>
                  <a:lnTo>
                    <a:pt x="637" y="494"/>
                  </a:lnTo>
                  <a:lnTo>
                    <a:pt x="45" y="725"/>
                  </a:lnTo>
                  <a:lnTo>
                    <a:pt x="45" y="725"/>
                  </a:lnTo>
                  <a:lnTo>
                    <a:pt x="39" y="726"/>
                  </a:lnTo>
                  <a:lnTo>
                    <a:pt x="33" y="727"/>
                  </a:lnTo>
                  <a:lnTo>
                    <a:pt x="33" y="727"/>
                  </a:lnTo>
                  <a:close/>
                  <a:moveTo>
                    <a:pt x="352" y="66"/>
                  </a:moveTo>
                  <a:lnTo>
                    <a:pt x="352" y="66"/>
                  </a:lnTo>
                  <a:lnTo>
                    <a:pt x="344" y="66"/>
                  </a:lnTo>
                  <a:lnTo>
                    <a:pt x="334" y="68"/>
                  </a:lnTo>
                  <a:lnTo>
                    <a:pt x="334" y="68"/>
                  </a:lnTo>
                  <a:lnTo>
                    <a:pt x="325" y="71"/>
                  </a:lnTo>
                  <a:lnTo>
                    <a:pt x="320" y="74"/>
                  </a:lnTo>
                  <a:lnTo>
                    <a:pt x="314" y="78"/>
                  </a:lnTo>
                  <a:lnTo>
                    <a:pt x="308" y="83"/>
                  </a:lnTo>
                  <a:lnTo>
                    <a:pt x="303" y="90"/>
                  </a:lnTo>
                  <a:lnTo>
                    <a:pt x="299" y="98"/>
                  </a:lnTo>
                  <a:lnTo>
                    <a:pt x="296" y="107"/>
                  </a:lnTo>
                  <a:lnTo>
                    <a:pt x="296" y="107"/>
                  </a:lnTo>
                  <a:lnTo>
                    <a:pt x="295" y="110"/>
                  </a:lnTo>
                  <a:lnTo>
                    <a:pt x="91" y="636"/>
                  </a:lnTo>
                  <a:lnTo>
                    <a:pt x="616" y="431"/>
                  </a:lnTo>
                  <a:lnTo>
                    <a:pt x="616" y="431"/>
                  </a:lnTo>
                  <a:lnTo>
                    <a:pt x="627" y="428"/>
                  </a:lnTo>
                  <a:lnTo>
                    <a:pt x="635" y="424"/>
                  </a:lnTo>
                  <a:lnTo>
                    <a:pt x="643" y="419"/>
                  </a:lnTo>
                  <a:lnTo>
                    <a:pt x="648" y="413"/>
                  </a:lnTo>
                  <a:lnTo>
                    <a:pt x="652" y="407"/>
                  </a:lnTo>
                  <a:lnTo>
                    <a:pt x="655" y="402"/>
                  </a:lnTo>
                  <a:lnTo>
                    <a:pt x="659" y="393"/>
                  </a:lnTo>
                  <a:lnTo>
                    <a:pt x="659" y="393"/>
                  </a:lnTo>
                  <a:lnTo>
                    <a:pt x="661" y="383"/>
                  </a:lnTo>
                  <a:lnTo>
                    <a:pt x="661" y="374"/>
                  </a:lnTo>
                  <a:lnTo>
                    <a:pt x="660" y="364"/>
                  </a:lnTo>
                  <a:lnTo>
                    <a:pt x="658" y="354"/>
                  </a:lnTo>
                  <a:lnTo>
                    <a:pt x="655" y="345"/>
                  </a:lnTo>
                  <a:lnTo>
                    <a:pt x="650" y="337"/>
                  </a:lnTo>
                  <a:lnTo>
                    <a:pt x="645" y="328"/>
                  </a:lnTo>
                  <a:lnTo>
                    <a:pt x="638" y="320"/>
                  </a:lnTo>
                  <a:lnTo>
                    <a:pt x="407" y="89"/>
                  </a:lnTo>
                  <a:lnTo>
                    <a:pt x="407" y="89"/>
                  </a:lnTo>
                  <a:lnTo>
                    <a:pt x="401" y="83"/>
                  </a:lnTo>
                  <a:lnTo>
                    <a:pt x="394" y="79"/>
                  </a:lnTo>
                  <a:lnTo>
                    <a:pt x="388" y="75"/>
                  </a:lnTo>
                  <a:lnTo>
                    <a:pt x="381" y="72"/>
                  </a:lnTo>
                  <a:lnTo>
                    <a:pt x="374" y="69"/>
                  </a:lnTo>
                  <a:lnTo>
                    <a:pt x="366" y="67"/>
                  </a:lnTo>
                  <a:lnTo>
                    <a:pt x="359" y="66"/>
                  </a:lnTo>
                  <a:lnTo>
                    <a:pt x="352" y="66"/>
                  </a:lnTo>
                  <a:lnTo>
                    <a:pt x="352"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7" name="Freeform 28">
              <a:extLst>
                <a:ext uri="{FF2B5EF4-FFF2-40B4-BE49-F238E27FC236}">
                  <a16:creationId xmlns:a16="http://schemas.microsoft.com/office/drawing/2014/main" id="{705A8F3E-7CA5-1BB9-B077-F8AA3E88788C}"/>
                </a:ext>
              </a:extLst>
            </p:cNvPr>
            <p:cNvSpPr>
              <a:spLocks noEditPoints="1"/>
            </p:cNvSpPr>
            <p:nvPr/>
          </p:nvSpPr>
          <p:spPr bwMode="auto">
            <a:xfrm>
              <a:off x="6275388" y="3159125"/>
              <a:ext cx="360363" cy="90488"/>
            </a:xfrm>
            <a:custGeom>
              <a:avLst/>
              <a:gdLst>
                <a:gd name="T0" fmla="*/ 1553 w 1586"/>
                <a:gd name="T1" fmla="*/ 397 h 397"/>
                <a:gd name="T2" fmla="*/ 33 w 1586"/>
                <a:gd name="T3" fmla="*/ 397 h 397"/>
                <a:gd name="T4" fmla="*/ 33 w 1586"/>
                <a:gd name="T5" fmla="*/ 397 h 397"/>
                <a:gd name="T6" fmla="*/ 26 w 1586"/>
                <a:gd name="T7" fmla="*/ 396 h 397"/>
                <a:gd name="T8" fmla="*/ 19 w 1586"/>
                <a:gd name="T9" fmla="*/ 394 h 397"/>
                <a:gd name="T10" fmla="*/ 14 w 1586"/>
                <a:gd name="T11" fmla="*/ 391 h 397"/>
                <a:gd name="T12" fmla="*/ 9 w 1586"/>
                <a:gd name="T13" fmla="*/ 387 h 397"/>
                <a:gd name="T14" fmla="*/ 5 w 1586"/>
                <a:gd name="T15" fmla="*/ 383 h 397"/>
                <a:gd name="T16" fmla="*/ 2 w 1586"/>
                <a:gd name="T17" fmla="*/ 376 h 397"/>
                <a:gd name="T18" fmla="*/ 0 w 1586"/>
                <a:gd name="T19" fmla="*/ 370 h 397"/>
                <a:gd name="T20" fmla="*/ 0 w 1586"/>
                <a:gd name="T21" fmla="*/ 364 h 397"/>
                <a:gd name="T22" fmla="*/ 0 w 1586"/>
                <a:gd name="T23" fmla="*/ 33 h 397"/>
                <a:gd name="T24" fmla="*/ 0 w 1586"/>
                <a:gd name="T25" fmla="*/ 33 h 397"/>
                <a:gd name="T26" fmla="*/ 0 w 1586"/>
                <a:gd name="T27" fmla="*/ 27 h 397"/>
                <a:gd name="T28" fmla="*/ 2 w 1586"/>
                <a:gd name="T29" fmla="*/ 20 h 397"/>
                <a:gd name="T30" fmla="*/ 5 w 1586"/>
                <a:gd name="T31" fmla="*/ 14 h 397"/>
                <a:gd name="T32" fmla="*/ 9 w 1586"/>
                <a:gd name="T33" fmla="*/ 10 h 397"/>
                <a:gd name="T34" fmla="*/ 14 w 1586"/>
                <a:gd name="T35" fmla="*/ 6 h 397"/>
                <a:gd name="T36" fmla="*/ 19 w 1586"/>
                <a:gd name="T37" fmla="*/ 3 h 397"/>
                <a:gd name="T38" fmla="*/ 26 w 1586"/>
                <a:gd name="T39" fmla="*/ 1 h 397"/>
                <a:gd name="T40" fmla="*/ 33 w 1586"/>
                <a:gd name="T41" fmla="*/ 0 h 397"/>
                <a:gd name="T42" fmla="*/ 562 w 1586"/>
                <a:gd name="T43" fmla="*/ 0 h 397"/>
                <a:gd name="T44" fmla="*/ 562 w 1586"/>
                <a:gd name="T45" fmla="*/ 0 h 397"/>
                <a:gd name="T46" fmla="*/ 568 w 1586"/>
                <a:gd name="T47" fmla="*/ 1 h 397"/>
                <a:gd name="T48" fmla="*/ 574 w 1586"/>
                <a:gd name="T49" fmla="*/ 3 h 397"/>
                <a:gd name="T50" fmla="*/ 580 w 1586"/>
                <a:gd name="T51" fmla="*/ 6 h 397"/>
                <a:gd name="T52" fmla="*/ 585 w 1586"/>
                <a:gd name="T53" fmla="*/ 10 h 397"/>
                <a:gd name="T54" fmla="*/ 589 w 1586"/>
                <a:gd name="T55" fmla="*/ 14 h 397"/>
                <a:gd name="T56" fmla="*/ 592 w 1586"/>
                <a:gd name="T57" fmla="*/ 20 h 397"/>
                <a:gd name="T58" fmla="*/ 594 w 1586"/>
                <a:gd name="T59" fmla="*/ 27 h 397"/>
                <a:gd name="T60" fmla="*/ 595 w 1586"/>
                <a:gd name="T61" fmla="*/ 33 h 397"/>
                <a:gd name="T62" fmla="*/ 595 w 1586"/>
                <a:gd name="T63" fmla="*/ 331 h 397"/>
                <a:gd name="T64" fmla="*/ 1521 w 1586"/>
                <a:gd name="T65" fmla="*/ 331 h 397"/>
                <a:gd name="T66" fmla="*/ 1521 w 1586"/>
                <a:gd name="T67" fmla="*/ 66 h 397"/>
                <a:gd name="T68" fmla="*/ 1224 w 1586"/>
                <a:gd name="T69" fmla="*/ 66 h 397"/>
                <a:gd name="T70" fmla="*/ 1224 w 1586"/>
                <a:gd name="T71" fmla="*/ 0 h 397"/>
                <a:gd name="T72" fmla="*/ 1553 w 1586"/>
                <a:gd name="T73" fmla="*/ 0 h 397"/>
                <a:gd name="T74" fmla="*/ 1553 w 1586"/>
                <a:gd name="T75" fmla="*/ 0 h 397"/>
                <a:gd name="T76" fmla="*/ 1560 w 1586"/>
                <a:gd name="T77" fmla="*/ 1 h 397"/>
                <a:gd name="T78" fmla="*/ 1567 w 1586"/>
                <a:gd name="T79" fmla="*/ 3 h 397"/>
                <a:gd name="T80" fmla="*/ 1572 w 1586"/>
                <a:gd name="T81" fmla="*/ 6 h 397"/>
                <a:gd name="T82" fmla="*/ 1577 w 1586"/>
                <a:gd name="T83" fmla="*/ 10 h 397"/>
                <a:gd name="T84" fmla="*/ 1581 w 1586"/>
                <a:gd name="T85" fmla="*/ 14 h 397"/>
                <a:gd name="T86" fmla="*/ 1584 w 1586"/>
                <a:gd name="T87" fmla="*/ 20 h 397"/>
                <a:gd name="T88" fmla="*/ 1586 w 1586"/>
                <a:gd name="T89" fmla="*/ 27 h 397"/>
                <a:gd name="T90" fmla="*/ 1586 w 1586"/>
                <a:gd name="T91" fmla="*/ 33 h 397"/>
                <a:gd name="T92" fmla="*/ 1586 w 1586"/>
                <a:gd name="T93" fmla="*/ 364 h 397"/>
                <a:gd name="T94" fmla="*/ 1586 w 1586"/>
                <a:gd name="T95" fmla="*/ 364 h 397"/>
                <a:gd name="T96" fmla="*/ 1586 w 1586"/>
                <a:gd name="T97" fmla="*/ 370 h 397"/>
                <a:gd name="T98" fmla="*/ 1584 w 1586"/>
                <a:gd name="T99" fmla="*/ 376 h 397"/>
                <a:gd name="T100" fmla="*/ 1581 w 1586"/>
                <a:gd name="T101" fmla="*/ 383 h 397"/>
                <a:gd name="T102" fmla="*/ 1577 w 1586"/>
                <a:gd name="T103" fmla="*/ 387 h 397"/>
                <a:gd name="T104" fmla="*/ 1572 w 1586"/>
                <a:gd name="T105" fmla="*/ 391 h 397"/>
                <a:gd name="T106" fmla="*/ 1567 w 1586"/>
                <a:gd name="T107" fmla="*/ 394 h 397"/>
                <a:gd name="T108" fmla="*/ 1560 w 1586"/>
                <a:gd name="T109" fmla="*/ 396 h 397"/>
                <a:gd name="T110" fmla="*/ 1553 w 1586"/>
                <a:gd name="T111" fmla="*/ 397 h 397"/>
                <a:gd name="T112" fmla="*/ 1553 w 1586"/>
                <a:gd name="T113" fmla="*/ 397 h 397"/>
                <a:gd name="T114" fmla="*/ 66 w 1586"/>
                <a:gd name="T115" fmla="*/ 331 h 397"/>
                <a:gd name="T116" fmla="*/ 529 w 1586"/>
                <a:gd name="T117" fmla="*/ 331 h 397"/>
                <a:gd name="T118" fmla="*/ 529 w 1586"/>
                <a:gd name="T119" fmla="*/ 66 h 397"/>
                <a:gd name="T120" fmla="*/ 66 w 1586"/>
                <a:gd name="T121" fmla="*/ 66 h 397"/>
                <a:gd name="T122" fmla="*/ 66 w 1586"/>
                <a:gd name="T123" fmla="*/ 331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6" h="397">
                  <a:moveTo>
                    <a:pt x="1553" y="397"/>
                  </a:moveTo>
                  <a:lnTo>
                    <a:pt x="33" y="397"/>
                  </a:lnTo>
                  <a:lnTo>
                    <a:pt x="33" y="397"/>
                  </a:lnTo>
                  <a:lnTo>
                    <a:pt x="26" y="396"/>
                  </a:lnTo>
                  <a:lnTo>
                    <a:pt x="19" y="394"/>
                  </a:lnTo>
                  <a:lnTo>
                    <a:pt x="14" y="391"/>
                  </a:lnTo>
                  <a:lnTo>
                    <a:pt x="9" y="387"/>
                  </a:lnTo>
                  <a:lnTo>
                    <a:pt x="5" y="383"/>
                  </a:lnTo>
                  <a:lnTo>
                    <a:pt x="2" y="376"/>
                  </a:lnTo>
                  <a:lnTo>
                    <a:pt x="0" y="370"/>
                  </a:lnTo>
                  <a:lnTo>
                    <a:pt x="0" y="364"/>
                  </a:lnTo>
                  <a:lnTo>
                    <a:pt x="0" y="33"/>
                  </a:lnTo>
                  <a:lnTo>
                    <a:pt x="0" y="33"/>
                  </a:lnTo>
                  <a:lnTo>
                    <a:pt x="0" y="27"/>
                  </a:lnTo>
                  <a:lnTo>
                    <a:pt x="2" y="20"/>
                  </a:lnTo>
                  <a:lnTo>
                    <a:pt x="5" y="14"/>
                  </a:lnTo>
                  <a:lnTo>
                    <a:pt x="9" y="10"/>
                  </a:lnTo>
                  <a:lnTo>
                    <a:pt x="14" y="6"/>
                  </a:lnTo>
                  <a:lnTo>
                    <a:pt x="19" y="3"/>
                  </a:lnTo>
                  <a:lnTo>
                    <a:pt x="26" y="1"/>
                  </a:lnTo>
                  <a:lnTo>
                    <a:pt x="33" y="0"/>
                  </a:lnTo>
                  <a:lnTo>
                    <a:pt x="562" y="0"/>
                  </a:lnTo>
                  <a:lnTo>
                    <a:pt x="562" y="0"/>
                  </a:lnTo>
                  <a:lnTo>
                    <a:pt x="568" y="1"/>
                  </a:lnTo>
                  <a:lnTo>
                    <a:pt x="574" y="3"/>
                  </a:lnTo>
                  <a:lnTo>
                    <a:pt x="580" y="6"/>
                  </a:lnTo>
                  <a:lnTo>
                    <a:pt x="585" y="10"/>
                  </a:lnTo>
                  <a:lnTo>
                    <a:pt x="589" y="14"/>
                  </a:lnTo>
                  <a:lnTo>
                    <a:pt x="592" y="20"/>
                  </a:lnTo>
                  <a:lnTo>
                    <a:pt x="594" y="27"/>
                  </a:lnTo>
                  <a:lnTo>
                    <a:pt x="595" y="33"/>
                  </a:lnTo>
                  <a:lnTo>
                    <a:pt x="595" y="331"/>
                  </a:lnTo>
                  <a:lnTo>
                    <a:pt x="1521" y="331"/>
                  </a:lnTo>
                  <a:lnTo>
                    <a:pt x="1521" y="66"/>
                  </a:lnTo>
                  <a:lnTo>
                    <a:pt x="1224" y="66"/>
                  </a:lnTo>
                  <a:lnTo>
                    <a:pt x="1224" y="0"/>
                  </a:lnTo>
                  <a:lnTo>
                    <a:pt x="1553" y="0"/>
                  </a:lnTo>
                  <a:lnTo>
                    <a:pt x="1553" y="0"/>
                  </a:lnTo>
                  <a:lnTo>
                    <a:pt x="1560" y="1"/>
                  </a:lnTo>
                  <a:lnTo>
                    <a:pt x="1567" y="3"/>
                  </a:lnTo>
                  <a:lnTo>
                    <a:pt x="1572" y="6"/>
                  </a:lnTo>
                  <a:lnTo>
                    <a:pt x="1577" y="10"/>
                  </a:lnTo>
                  <a:lnTo>
                    <a:pt x="1581" y="14"/>
                  </a:lnTo>
                  <a:lnTo>
                    <a:pt x="1584" y="20"/>
                  </a:lnTo>
                  <a:lnTo>
                    <a:pt x="1586" y="27"/>
                  </a:lnTo>
                  <a:lnTo>
                    <a:pt x="1586" y="33"/>
                  </a:lnTo>
                  <a:lnTo>
                    <a:pt x="1586" y="364"/>
                  </a:lnTo>
                  <a:lnTo>
                    <a:pt x="1586" y="364"/>
                  </a:lnTo>
                  <a:lnTo>
                    <a:pt x="1586" y="370"/>
                  </a:lnTo>
                  <a:lnTo>
                    <a:pt x="1584" y="376"/>
                  </a:lnTo>
                  <a:lnTo>
                    <a:pt x="1581" y="383"/>
                  </a:lnTo>
                  <a:lnTo>
                    <a:pt x="1577" y="387"/>
                  </a:lnTo>
                  <a:lnTo>
                    <a:pt x="1572" y="391"/>
                  </a:lnTo>
                  <a:lnTo>
                    <a:pt x="1567" y="394"/>
                  </a:lnTo>
                  <a:lnTo>
                    <a:pt x="1560" y="396"/>
                  </a:lnTo>
                  <a:lnTo>
                    <a:pt x="1553" y="397"/>
                  </a:lnTo>
                  <a:lnTo>
                    <a:pt x="1553" y="397"/>
                  </a:lnTo>
                  <a:close/>
                  <a:moveTo>
                    <a:pt x="66" y="331"/>
                  </a:moveTo>
                  <a:lnTo>
                    <a:pt x="529" y="331"/>
                  </a:lnTo>
                  <a:lnTo>
                    <a:pt x="529" y="66"/>
                  </a:lnTo>
                  <a:lnTo>
                    <a:pt x="66" y="66"/>
                  </a:lnTo>
                  <a:lnTo>
                    <a:pt x="66"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18" name="Group 17">
            <a:extLst>
              <a:ext uri="{FF2B5EF4-FFF2-40B4-BE49-F238E27FC236}">
                <a16:creationId xmlns:a16="http://schemas.microsoft.com/office/drawing/2014/main" id="{9550DA28-FB87-1E1A-224D-5EF32E800A47}"/>
              </a:ext>
            </a:extLst>
          </p:cNvPr>
          <p:cNvGrpSpPr/>
          <p:nvPr/>
        </p:nvGrpSpPr>
        <p:grpSpPr>
          <a:xfrm>
            <a:off x="4046960" y="1570190"/>
            <a:ext cx="344488" cy="344488"/>
            <a:chOff x="2676525" y="1463676"/>
            <a:chExt cx="344488" cy="344488"/>
          </a:xfrm>
          <a:solidFill>
            <a:schemeClr val="bg1"/>
          </a:solidFill>
        </p:grpSpPr>
        <p:sp>
          <p:nvSpPr>
            <p:cNvPr id="19" name="Rectangle 780">
              <a:extLst>
                <a:ext uri="{FF2B5EF4-FFF2-40B4-BE49-F238E27FC236}">
                  <a16:creationId xmlns:a16="http://schemas.microsoft.com/office/drawing/2014/main" id="{5E35D145-EB47-6C16-BFCA-FA853B1EE949}"/>
                </a:ext>
              </a:extLst>
            </p:cNvPr>
            <p:cNvSpPr>
              <a:spLocks noChangeArrowheads="1"/>
            </p:cNvSpPr>
            <p:nvPr/>
          </p:nvSpPr>
          <p:spPr bwMode="auto">
            <a:xfrm>
              <a:off x="2690813" y="1636713"/>
              <a:ext cx="15875"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0" name="Freeform 781">
              <a:extLst>
                <a:ext uri="{FF2B5EF4-FFF2-40B4-BE49-F238E27FC236}">
                  <a16:creationId xmlns:a16="http://schemas.microsoft.com/office/drawing/2014/main" id="{97950F3D-2CAD-AAAA-6DCD-C86C8272A57B}"/>
                </a:ext>
              </a:extLst>
            </p:cNvPr>
            <p:cNvSpPr>
              <a:spLocks/>
            </p:cNvSpPr>
            <p:nvPr/>
          </p:nvSpPr>
          <p:spPr bwMode="auto">
            <a:xfrm>
              <a:off x="2684463" y="1763713"/>
              <a:ext cx="88900" cy="14288"/>
            </a:xfrm>
            <a:custGeom>
              <a:avLst/>
              <a:gdLst>
                <a:gd name="T0" fmla="*/ 363 w 396"/>
                <a:gd name="T1" fmla="*/ 66 h 66"/>
                <a:gd name="T2" fmla="*/ 33 w 396"/>
                <a:gd name="T3" fmla="*/ 66 h 66"/>
                <a:gd name="T4" fmla="*/ 33 w 396"/>
                <a:gd name="T5" fmla="*/ 66 h 66"/>
                <a:gd name="T6" fmla="*/ 26 w 396"/>
                <a:gd name="T7" fmla="*/ 65 h 66"/>
                <a:gd name="T8" fmla="*/ 20 w 396"/>
                <a:gd name="T9" fmla="*/ 64 h 66"/>
                <a:gd name="T10" fmla="*/ 15 w 396"/>
                <a:gd name="T11" fmla="*/ 61 h 66"/>
                <a:gd name="T12" fmla="*/ 9 w 396"/>
                <a:gd name="T13" fmla="*/ 57 h 66"/>
                <a:gd name="T14" fmla="*/ 5 w 396"/>
                <a:gd name="T15" fmla="*/ 52 h 66"/>
                <a:gd name="T16" fmla="*/ 2 w 396"/>
                <a:gd name="T17" fmla="*/ 47 h 66"/>
                <a:gd name="T18" fmla="*/ 0 w 396"/>
                <a:gd name="T19" fmla="*/ 40 h 66"/>
                <a:gd name="T20" fmla="*/ 0 w 396"/>
                <a:gd name="T21" fmla="*/ 33 h 66"/>
                <a:gd name="T22" fmla="*/ 0 w 396"/>
                <a:gd name="T23" fmla="*/ 33 h 66"/>
                <a:gd name="T24" fmla="*/ 0 w 396"/>
                <a:gd name="T25" fmla="*/ 27 h 66"/>
                <a:gd name="T26" fmla="*/ 2 w 396"/>
                <a:gd name="T27" fmla="*/ 21 h 66"/>
                <a:gd name="T28" fmla="*/ 5 w 396"/>
                <a:gd name="T29" fmla="*/ 15 h 66"/>
                <a:gd name="T30" fmla="*/ 9 w 396"/>
                <a:gd name="T31" fmla="*/ 10 h 66"/>
                <a:gd name="T32" fmla="*/ 15 w 396"/>
                <a:gd name="T33" fmla="*/ 6 h 66"/>
                <a:gd name="T34" fmla="*/ 20 w 396"/>
                <a:gd name="T35" fmla="*/ 3 h 66"/>
                <a:gd name="T36" fmla="*/ 26 w 396"/>
                <a:gd name="T37" fmla="*/ 1 h 66"/>
                <a:gd name="T38" fmla="*/ 33 w 396"/>
                <a:gd name="T39" fmla="*/ 0 h 66"/>
                <a:gd name="T40" fmla="*/ 363 w 396"/>
                <a:gd name="T41" fmla="*/ 0 h 66"/>
                <a:gd name="T42" fmla="*/ 363 w 396"/>
                <a:gd name="T43" fmla="*/ 0 h 66"/>
                <a:gd name="T44" fmla="*/ 371 w 396"/>
                <a:gd name="T45" fmla="*/ 1 h 66"/>
                <a:gd name="T46" fmla="*/ 377 w 396"/>
                <a:gd name="T47" fmla="*/ 3 h 66"/>
                <a:gd name="T48" fmla="*/ 382 w 396"/>
                <a:gd name="T49" fmla="*/ 6 h 66"/>
                <a:gd name="T50" fmla="*/ 387 w 396"/>
                <a:gd name="T51" fmla="*/ 10 h 66"/>
                <a:gd name="T52" fmla="*/ 391 w 396"/>
                <a:gd name="T53" fmla="*/ 15 h 66"/>
                <a:gd name="T54" fmla="*/ 394 w 396"/>
                <a:gd name="T55" fmla="*/ 21 h 66"/>
                <a:gd name="T56" fmla="*/ 396 w 396"/>
                <a:gd name="T57" fmla="*/ 27 h 66"/>
                <a:gd name="T58" fmla="*/ 396 w 396"/>
                <a:gd name="T59" fmla="*/ 33 h 66"/>
                <a:gd name="T60" fmla="*/ 396 w 396"/>
                <a:gd name="T61" fmla="*/ 33 h 66"/>
                <a:gd name="T62" fmla="*/ 396 w 396"/>
                <a:gd name="T63" fmla="*/ 40 h 66"/>
                <a:gd name="T64" fmla="*/ 394 w 396"/>
                <a:gd name="T65" fmla="*/ 47 h 66"/>
                <a:gd name="T66" fmla="*/ 391 w 396"/>
                <a:gd name="T67" fmla="*/ 52 h 66"/>
                <a:gd name="T68" fmla="*/ 387 w 396"/>
                <a:gd name="T69" fmla="*/ 57 h 66"/>
                <a:gd name="T70" fmla="*/ 382 w 396"/>
                <a:gd name="T71" fmla="*/ 61 h 66"/>
                <a:gd name="T72" fmla="*/ 377 w 396"/>
                <a:gd name="T73" fmla="*/ 64 h 66"/>
                <a:gd name="T74" fmla="*/ 371 w 396"/>
                <a:gd name="T75" fmla="*/ 65 h 66"/>
                <a:gd name="T76" fmla="*/ 363 w 396"/>
                <a:gd name="T77" fmla="*/ 66 h 66"/>
                <a:gd name="T78" fmla="*/ 363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3" y="66"/>
                  </a:moveTo>
                  <a:lnTo>
                    <a:pt x="33" y="66"/>
                  </a:lnTo>
                  <a:lnTo>
                    <a:pt x="33" y="66"/>
                  </a:lnTo>
                  <a:lnTo>
                    <a:pt x="26" y="65"/>
                  </a:lnTo>
                  <a:lnTo>
                    <a:pt x="20" y="64"/>
                  </a:lnTo>
                  <a:lnTo>
                    <a:pt x="15" y="61"/>
                  </a:lnTo>
                  <a:lnTo>
                    <a:pt x="9" y="57"/>
                  </a:lnTo>
                  <a:lnTo>
                    <a:pt x="5" y="52"/>
                  </a:lnTo>
                  <a:lnTo>
                    <a:pt x="2" y="47"/>
                  </a:lnTo>
                  <a:lnTo>
                    <a:pt x="0" y="40"/>
                  </a:lnTo>
                  <a:lnTo>
                    <a:pt x="0" y="33"/>
                  </a:lnTo>
                  <a:lnTo>
                    <a:pt x="0" y="33"/>
                  </a:lnTo>
                  <a:lnTo>
                    <a:pt x="0" y="27"/>
                  </a:lnTo>
                  <a:lnTo>
                    <a:pt x="2" y="21"/>
                  </a:lnTo>
                  <a:lnTo>
                    <a:pt x="5" y="15"/>
                  </a:lnTo>
                  <a:lnTo>
                    <a:pt x="9" y="10"/>
                  </a:lnTo>
                  <a:lnTo>
                    <a:pt x="15" y="6"/>
                  </a:lnTo>
                  <a:lnTo>
                    <a:pt x="20" y="3"/>
                  </a:lnTo>
                  <a:lnTo>
                    <a:pt x="26" y="1"/>
                  </a:lnTo>
                  <a:lnTo>
                    <a:pt x="33" y="0"/>
                  </a:lnTo>
                  <a:lnTo>
                    <a:pt x="363" y="0"/>
                  </a:lnTo>
                  <a:lnTo>
                    <a:pt x="363" y="0"/>
                  </a:lnTo>
                  <a:lnTo>
                    <a:pt x="371" y="1"/>
                  </a:lnTo>
                  <a:lnTo>
                    <a:pt x="377" y="3"/>
                  </a:lnTo>
                  <a:lnTo>
                    <a:pt x="382" y="6"/>
                  </a:lnTo>
                  <a:lnTo>
                    <a:pt x="387" y="10"/>
                  </a:lnTo>
                  <a:lnTo>
                    <a:pt x="391" y="15"/>
                  </a:lnTo>
                  <a:lnTo>
                    <a:pt x="394" y="21"/>
                  </a:lnTo>
                  <a:lnTo>
                    <a:pt x="396" y="27"/>
                  </a:lnTo>
                  <a:lnTo>
                    <a:pt x="396" y="33"/>
                  </a:lnTo>
                  <a:lnTo>
                    <a:pt x="396" y="33"/>
                  </a:lnTo>
                  <a:lnTo>
                    <a:pt x="396" y="40"/>
                  </a:lnTo>
                  <a:lnTo>
                    <a:pt x="394" y="47"/>
                  </a:lnTo>
                  <a:lnTo>
                    <a:pt x="391" y="52"/>
                  </a:lnTo>
                  <a:lnTo>
                    <a:pt x="387" y="57"/>
                  </a:lnTo>
                  <a:lnTo>
                    <a:pt x="382" y="61"/>
                  </a:lnTo>
                  <a:lnTo>
                    <a:pt x="377" y="64"/>
                  </a:lnTo>
                  <a:lnTo>
                    <a:pt x="371" y="65"/>
                  </a:lnTo>
                  <a:lnTo>
                    <a:pt x="363" y="66"/>
                  </a:lnTo>
                  <a:lnTo>
                    <a:pt x="3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1" name="Freeform 782">
              <a:extLst>
                <a:ext uri="{FF2B5EF4-FFF2-40B4-BE49-F238E27FC236}">
                  <a16:creationId xmlns:a16="http://schemas.microsoft.com/office/drawing/2014/main" id="{36604DD2-749C-5977-BECA-D48B298BE319}"/>
                </a:ext>
              </a:extLst>
            </p:cNvPr>
            <p:cNvSpPr>
              <a:spLocks/>
            </p:cNvSpPr>
            <p:nvPr/>
          </p:nvSpPr>
          <p:spPr bwMode="auto">
            <a:xfrm>
              <a:off x="2676525" y="1793876"/>
              <a:ext cx="344488" cy="14288"/>
            </a:xfrm>
            <a:custGeom>
              <a:avLst/>
              <a:gdLst>
                <a:gd name="T0" fmla="*/ 1488 w 1521"/>
                <a:gd name="T1" fmla="*/ 66 h 66"/>
                <a:gd name="T2" fmla="*/ 33 w 1521"/>
                <a:gd name="T3" fmla="*/ 66 h 66"/>
                <a:gd name="T4" fmla="*/ 33 w 1521"/>
                <a:gd name="T5" fmla="*/ 66 h 66"/>
                <a:gd name="T6" fmla="*/ 26 w 1521"/>
                <a:gd name="T7" fmla="*/ 65 h 66"/>
                <a:gd name="T8" fmla="*/ 20 w 1521"/>
                <a:gd name="T9" fmla="*/ 63 h 66"/>
                <a:gd name="T10" fmla="*/ 14 w 1521"/>
                <a:gd name="T11" fmla="*/ 60 h 66"/>
                <a:gd name="T12" fmla="*/ 9 w 1521"/>
                <a:gd name="T13" fmla="*/ 56 h 66"/>
                <a:gd name="T14" fmla="*/ 5 w 1521"/>
                <a:gd name="T15" fmla="*/ 51 h 66"/>
                <a:gd name="T16" fmla="*/ 2 w 1521"/>
                <a:gd name="T17" fmla="*/ 45 h 66"/>
                <a:gd name="T18" fmla="*/ 0 w 1521"/>
                <a:gd name="T19" fmla="*/ 39 h 66"/>
                <a:gd name="T20" fmla="*/ 0 w 1521"/>
                <a:gd name="T21" fmla="*/ 33 h 66"/>
                <a:gd name="T22" fmla="*/ 0 w 1521"/>
                <a:gd name="T23" fmla="*/ 33 h 66"/>
                <a:gd name="T24" fmla="*/ 0 w 1521"/>
                <a:gd name="T25" fmla="*/ 26 h 66"/>
                <a:gd name="T26" fmla="*/ 2 w 1521"/>
                <a:gd name="T27" fmla="*/ 20 h 66"/>
                <a:gd name="T28" fmla="*/ 5 w 1521"/>
                <a:gd name="T29" fmla="*/ 14 h 66"/>
                <a:gd name="T30" fmla="*/ 9 w 1521"/>
                <a:gd name="T31" fmla="*/ 9 h 66"/>
                <a:gd name="T32" fmla="*/ 14 w 1521"/>
                <a:gd name="T33" fmla="*/ 5 h 66"/>
                <a:gd name="T34" fmla="*/ 20 w 1521"/>
                <a:gd name="T35" fmla="*/ 3 h 66"/>
                <a:gd name="T36" fmla="*/ 26 w 1521"/>
                <a:gd name="T37" fmla="*/ 1 h 66"/>
                <a:gd name="T38" fmla="*/ 33 w 1521"/>
                <a:gd name="T39" fmla="*/ 0 h 66"/>
                <a:gd name="T40" fmla="*/ 1488 w 1521"/>
                <a:gd name="T41" fmla="*/ 0 h 66"/>
                <a:gd name="T42" fmla="*/ 1488 w 1521"/>
                <a:gd name="T43" fmla="*/ 0 h 66"/>
                <a:gd name="T44" fmla="*/ 1494 w 1521"/>
                <a:gd name="T45" fmla="*/ 1 h 66"/>
                <a:gd name="T46" fmla="*/ 1501 w 1521"/>
                <a:gd name="T47" fmla="*/ 3 h 66"/>
                <a:gd name="T48" fmla="*/ 1507 w 1521"/>
                <a:gd name="T49" fmla="*/ 5 h 66"/>
                <a:gd name="T50" fmla="*/ 1511 w 1521"/>
                <a:gd name="T51" fmla="*/ 9 h 66"/>
                <a:gd name="T52" fmla="*/ 1515 w 1521"/>
                <a:gd name="T53" fmla="*/ 14 h 66"/>
                <a:gd name="T54" fmla="*/ 1518 w 1521"/>
                <a:gd name="T55" fmla="*/ 20 h 66"/>
                <a:gd name="T56" fmla="*/ 1520 w 1521"/>
                <a:gd name="T57" fmla="*/ 26 h 66"/>
                <a:gd name="T58" fmla="*/ 1521 w 1521"/>
                <a:gd name="T59" fmla="*/ 33 h 66"/>
                <a:gd name="T60" fmla="*/ 1521 w 1521"/>
                <a:gd name="T61" fmla="*/ 33 h 66"/>
                <a:gd name="T62" fmla="*/ 1520 w 1521"/>
                <a:gd name="T63" fmla="*/ 39 h 66"/>
                <a:gd name="T64" fmla="*/ 1518 w 1521"/>
                <a:gd name="T65" fmla="*/ 45 h 66"/>
                <a:gd name="T66" fmla="*/ 1515 w 1521"/>
                <a:gd name="T67" fmla="*/ 51 h 66"/>
                <a:gd name="T68" fmla="*/ 1511 w 1521"/>
                <a:gd name="T69" fmla="*/ 56 h 66"/>
                <a:gd name="T70" fmla="*/ 1507 w 1521"/>
                <a:gd name="T71" fmla="*/ 60 h 66"/>
                <a:gd name="T72" fmla="*/ 1501 w 1521"/>
                <a:gd name="T73" fmla="*/ 63 h 66"/>
                <a:gd name="T74" fmla="*/ 1494 w 1521"/>
                <a:gd name="T75" fmla="*/ 65 h 66"/>
                <a:gd name="T76" fmla="*/ 1488 w 1521"/>
                <a:gd name="T77" fmla="*/ 66 h 66"/>
                <a:gd name="T78" fmla="*/ 1488 w 1521"/>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21" h="66">
                  <a:moveTo>
                    <a:pt x="1488" y="66"/>
                  </a:moveTo>
                  <a:lnTo>
                    <a:pt x="33" y="66"/>
                  </a:lnTo>
                  <a:lnTo>
                    <a:pt x="33" y="66"/>
                  </a:lnTo>
                  <a:lnTo>
                    <a:pt x="26" y="65"/>
                  </a:lnTo>
                  <a:lnTo>
                    <a:pt x="20" y="63"/>
                  </a:lnTo>
                  <a:lnTo>
                    <a:pt x="14" y="60"/>
                  </a:lnTo>
                  <a:lnTo>
                    <a:pt x="9" y="56"/>
                  </a:lnTo>
                  <a:lnTo>
                    <a:pt x="5" y="51"/>
                  </a:lnTo>
                  <a:lnTo>
                    <a:pt x="2" y="45"/>
                  </a:lnTo>
                  <a:lnTo>
                    <a:pt x="0" y="39"/>
                  </a:lnTo>
                  <a:lnTo>
                    <a:pt x="0" y="33"/>
                  </a:lnTo>
                  <a:lnTo>
                    <a:pt x="0" y="33"/>
                  </a:lnTo>
                  <a:lnTo>
                    <a:pt x="0" y="26"/>
                  </a:lnTo>
                  <a:lnTo>
                    <a:pt x="2" y="20"/>
                  </a:lnTo>
                  <a:lnTo>
                    <a:pt x="5" y="14"/>
                  </a:lnTo>
                  <a:lnTo>
                    <a:pt x="9" y="9"/>
                  </a:lnTo>
                  <a:lnTo>
                    <a:pt x="14" y="5"/>
                  </a:lnTo>
                  <a:lnTo>
                    <a:pt x="20" y="3"/>
                  </a:lnTo>
                  <a:lnTo>
                    <a:pt x="26" y="1"/>
                  </a:lnTo>
                  <a:lnTo>
                    <a:pt x="33" y="0"/>
                  </a:lnTo>
                  <a:lnTo>
                    <a:pt x="1488" y="0"/>
                  </a:lnTo>
                  <a:lnTo>
                    <a:pt x="1488" y="0"/>
                  </a:lnTo>
                  <a:lnTo>
                    <a:pt x="1494" y="1"/>
                  </a:lnTo>
                  <a:lnTo>
                    <a:pt x="1501" y="3"/>
                  </a:lnTo>
                  <a:lnTo>
                    <a:pt x="1507" y="5"/>
                  </a:lnTo>
                  <a:lnTo>
                    <a:pt x="1511" y="9"/>
                  </a:lnTo>
                  <a:lnTo>
                    <a:pt x="1515" y="14"/>
                  </a:lnTo>
                  <a:lnTo>
                    <a:pt x="1518" y="20"/>
                  </a:lnTo>
                  <a:lnTo>
                    <a:pt x="1520" y="26"/>
                  </a:lnTo>
                  <a:lnTo>
                    <a:pt x="1521" y="33"/>
                  </a:lnTo>
                  <a:lnTo>
                    <a:pt x="1521" y="33"/>
                  </a:lnTo>
                  <a:lnTo>
                    <a:pt x="1520" y="39"/>
                  </a:lnTo>
                  <a:lnTo>
                    <a:pt x="1518" y="45"/>
                  </a:lnTo>
                  <a:lnTo>
                    <a:pt x="1515" y="51"/>
                  </a:lnTo>
                  <a:lnTo>
                    <a:pt x="1511" y="56"/>
                  </a:lnTo>
                  <a:lnTo>
                    <a:pt x="1507" y="60"/>
                  </a:lnTo>
                  <a:lnTo>
                    <a:pt x="1501" y="63"/>
                  </a:lnTo>
                  <a:lnTo>
                    <a:pt x="1494" y="65"/>
                  </a:lnTo>
                  <a:lnTo>
                    <a:pt x="1488" y="66"/>
                  </a:lnTo>
                  <a:lnTo>
                    <a:pt x="1488"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2" name="Freeform 783">
              <a:extLst>
                <a:ext uri="{FF2B5EF4-FFF2-40B4-BE49-F238E27FC236}">
                  <a16:creationId xmlns:a16="http://schemas.microsoft.com/office/drawing/2014/main" id="{97C09A30-DE86-B10E-BE40-AB09A5AFE0FD}"/>
                </a:ext>
              </a:extLst>
            </p:cNvPr>
            <p:cNvSpPr>
              <a:spLocks/>
            </p:cNvSpPr>
            <p:nvPr/>
          </p:nvSpPr>
          <p:spPr bwMode="auto">
            <a:xfrm>
              <a:off x="2684463" y="1628776"/>
              <a:ext cx="88900" cy="14288"/>
            </a:xfrm>
            <a:custGeom>
              <a:avLst/>
              <a:gdLst>
                <a:gd name="T0" fmla="*/ 363 w 396"/>
                <a:gd name="T1" fmla="*/ 66 h 66"/>
                <a:gd name="T2" fmla="*/ 33 w 396"/>
                <a:gd name="T3" fmla="*/ 66 h 66"/>
                <a:gd name="T4" fmla="*/ 33 w 396"/>
                <a:gd name="T5" fmla="*/ 66 h 66"/>
                <a:gd name="T6" fmla="*/ 26 w 396"/>
                <a:gd name="T7" fmla="*/ 65 h 66"/>
                <a:gd name="T8" fmla="*/ 20 w 396"/>
                <a:gd name="T9" fmla="*/ 63 h 66"/>
                <a:gd name="T10" fmla="*/ 15 w 396"/>
                <a:gd name="T11" fmla="*/ 61 h 66"/>
                <a:gd name="T12" fmla="*/ 9 w 396"/>
                <a:gd name="T13" fmla="*/ 57 h 66"/>
                <a:gd name="T14" fmla="*/ 5 w 396"/>
                <a:gd name="T15" fmla="*/ 52 h 66"/>
                <a:gd name="T16" fmla="*/ 2 w 396"/>
                <a:gd name="T17" fmla="*/ 45 h 66"/>
                <a:gd name="T18" fmla="*/ 0 w 396"/>
                <a:gd name="T19" fmla="*/ 39 h 66"/>
                <a:gd name="T20" fmla="*/ 0 w 396"/>
                <a:gd name="T21" fmla="*/ 33 h 66"/>
                <a:gd name="T22" fmla="*/ 0 w 396"/>
                <a:gd name="T23" fmla="*/ 33 h 66"/>
                <a:gd name="T24" fmla="*/ 0 w 396"/>
                <a:gd name="T25" fmla="*/ 27 h 66"/>
                <a:gd name="T26" fmla="*/ 2 w 396"/>
                <a:gd name="T27" fmla="*/ 21 h 66"/>
                <a:gd name="T28" fmla="*/ 5 w 396"/>
                <a:gd name="T29" fmla="*/ 14 h 66"/>
                <a:gd name="T30" fmla="*/ 9 w 396"/>
                <a:gd name="T31" fmla="*/ 9 h 66"/>
                <a:gd name="T32" fmla="*/ 15 w 396"/>
                <a:gd name="T33" fmla="*/ 6 h 66"/>
                <a:gd name="T34" fmla="*/ 20 w 396"/>
                <a:gd name="T35" fmla="*/ 3 h 66"/>
                <a:gd name="T36" fmla="*/ 26 w 396"/>
                <a:gd name="T37" fmla="*/ 1 h 66"/>
                <a:gd name="T38" fmla="*/ 33 w 396"/>
                <a:gd name="T39" fmla="*/ 0 h 66"/>
                <a:gd name="T40" fmla="*/ 363 w 396"/>
                <a:gd name="T41" fmla="*/ 0 h 66"/>
                <a:gd name="T42" fmla="*/ 363 w 396"/>
                <a:gd name="T43" fmla="*/ 0 h 66"/>
                <a:gd name="T44" fmla="*/ 371 w 396"/>
                <a:gd name="T45" fmla="*/ 1 h 66"/>
                <a:gd name="T46" fmla="*/ 377 w 396"/>
                <a:gd name="T47" fmla="*/ 3 h 66"/>
                <a:gd name="T48" fmla="*/ 382 w 396"/>
                <a:gd name="T49" fmla="*/ 6 h 66"/>
                <a:gd name="T50" fmla="*/ 387 w 396"/>
                <a:gd name="T51" fmla="*/ 9 h 66"/>
                <a:gd name="T52" fmla="*/ 391 w 396"/>
                <a:gd name="T53" fmla="*/ 14 h 66"/>
                <a:gd name="T54" fmla="*/ 394 w 396"/>
                <a:gd name="T55" fmla="*/ 21 h 66"/>
                <a:gd name="T56" fmla="*/ 396 w 396"/>
                <a:gd name="T57" fmla="*/ 27 h 66"/>
                <a:gd name="T58" fmla="*/ 396 w 396"/>
                <a:gd name="T59" fmla="*/ 33 h 66"/>
                <a:gd name="T60" fmla="*/ 396 w 396"/>
                <a:gd name="T61" fmla="*/ 33 h 66"/>
                <a:gd name="T62" fmla="*/ 396 w 396"/>
                <a:gd name="T63" fmla="*/ 39 h 66"/>
                <a:gd name="T64" fmla="*/ 394 w 396"/>
                <a:gd name="T65" fmla="*/ 45 h 66"/>
                <a:gd name="T66" fmla="*/ 391 w 396"/>
                <a:gd name="T67" fmla="*/ 52 h 66"/>
                <a:gd name="T68" fmla="*/ 387 w 396"/>
                <a:gd name="T69" fmla="*/ 57 h 66"/>
                <a:gd name="T70" fmla="*/ 382 w 396"/>
                <a:gd name="T71" fmla="*/ 61 h 66"/>
                <a:gd name="T72" fmla="*/ 377 w 396"/>
                <a:gd name="T73" fmla="*/ 63 h 66"/>
                <a:gd name="T74" fmla="*/ 371 w 396"/>
                <a:gd name="T75" fmla="*/ 65 h 66"/>
                <a:gd name="T76" fmla="*/ 363 w 396"/>
                <a:gd name="T77" fmla="*/ 66 h 66"/>
                <a:gd name="T78" fmla="*/ 363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3" y="66"/>
                  </a:moveTo>
                  <a:lnTo>
                    <a:pt x="33" y="66"/>
                  </a:lnTo>
                  <a:lnTo>
                    <a:pt x="33" y="66"/>
                  </a:lnTo>
                  <a:lnTo>
                    <a:pt x="26" y="65"/>
                  </a:lnTo>
                  <a:lnTo>
                    <a:pt x="20" y="63"/>
                  </a:lnTo>
                  <a:lnTo>
                    <a:pt x="15" y="61"/>
                  </a:lnTo>
                  <a:lnTo>
                    <a:pt x="9" y="57"/>
                  </a:lnTo>
                  <a:lnTo>
                    <a:pt x="5" y="52"/>
                  </a:lnTo>
                  <a:lnTo>
                    <a:pt x="2" y="45"/>
                  </a:lnTo>
                  <a:lnTo>
                    <a:pt x="0" y="39"/>
                  </a:lnTo>
                  <a:lnTo>
                    <a:pt x="0" y="33"/>
                  </a:lnTo>
                  <a:lnTo>
                    <a:pt x="0" y="33"/>
                  </a:lnTo>
                  <a:lnTo>
                    <a:pt x="0" y="27"/>
                  </a:lnTo>
                  <a:lnTo>
                    <a:pt x="2" y="21"/>
                  </a:lnTo>
                  <a:lnTo>
                    <a:pt x="5" y="14"/>
                  </a:lnTo>
                  <a:lnTo>
                    <a:pt x="9" y="9"/>
                  </a:lnTo>
                  <a:lnTo>
                    <a:pt x="15" y="6"/>
                  </a:lnTo>
                  <a:lnTo>
                    <a:pt x="20" y="3"/>
                  </a:lnTo>
                  <a:lnTo>
                    <a:pt x="26" y="1"/>
                  </a:lnTo>
                  <a:lnTo>
                    <a:pt x="33" y="0"/>
                  </a:lnTo>
                  <a:lnTo>
                    <a:pt x="363" y="0"/>
                  </a:lnTo>
                  <a:lnTo>
                    <a:pt x="363" y="0"/>
                  </a:lnTo>
                  <a:lnTo>
                    <a:pt x="371" y="1"/>
                  </a:lnTo>
                  <a:lnTo>
                    <a:pt x="377" y="3"/>
                  </a:lnTo>
                  <a:lnTo>
                    <a:pt x="382" y="6"/>
                  </a:lnTo>
                  <a:lnTo>
                    <a:pt x="387" y="9"/>
                  </a:lnTo>
                  <a:lnTo>
                    <a:pt x="391" y="14"/>
                  </a:lnTo>
                  <a:lnTo>
                    <a:pt x="394" y="21"/>
                  </a:lnTo>
                  <a:lnTo>
                    <a:pt x="396" y="27"/>
                  </a:lnTo>
                  <a:lnTo>
                    <a:pt x="396" y="33"/>
                  </a:lnTo>
                  <a:lnTo>
                    <a:pt x="396" y="33"/>
                  </a:lnTo>
                  <a:lnTo>
                    <a:pt x="396" y="39"/>
                  </a:lnTo>
                  <a:lnTo>
                    <a:pt x="394" y="45"/>
                  </a:lnTo>
                  <a:lnTo>
                    <a:pt x="391" y="52"/>
                  </a:lnTo>
                  <a:lnTo>
                    <a:pt x="387" y="57"/>
                  </a:lnTo>
                  <a:lnTo>
                    <a:pt x="382" y="61"/>
                  </a:lnTo>
                  <a:lnTo>
                    <a:pt x="377" y="63"/>
                  </a:lnTo>
                  <a:lnTo>
                    <a:pt x="371" y="65"/>
                  </a:lnTo>
                  <a:lnTo>
                    <a:pt x="363" y="66"/>
                  </a:lnTo>
                  <a:lnTo>
                    <a:pt x="3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3" name="Freeform 784">
              <a:extLst>
                <a:ext uri="{FF2B5EF4-FFF2-40B4-BE49-F238E27FC236}">
                  <a16:creationId xmlns:a16="http://schemas.microsoft.com/office/drawing/2014/main" id="{28C74194-149B-3EE0-93F3-9C42DBA513BB}"/>
                </a:ext>
              </a:extLst>
            </p:cNvPr>
            <p:cNvSpPr>
              <a:spLocks/>
            </p:cNvSpPr>
            <p:nvPr/>
          </p:nvSpPr>
          <p:spPr bwMode="auto">
            <a:xfrm>
              <a:off x="2803525" y="1763713"/>
              <a:ext cx="90488" cy="14288"/>
            </a:xfrm>
            <a:custGeom>
              <a:avLst/>
              <a:gdLst>
                <a:gd name="T0" fmla="*/ 364 w 396"/>
                <a:gd name="T1" fmla="*/ 66 h 66"/>
                <a:gd name="T2" fmla="*/ 33 w 396"/>
                <a:gd name="T3" fmla="*/ 66 h 66"/>
                <a:gd name="T4" fmla="*/ 33 w 396"/>
                <a:gd name="T5" fmla="*/ 66 h 66"/>
                <a:gd name="T6" fmla="*/ 27 w 396"/>
                <a:gd name="T7" fmla="*/ 65 h 66"/>
                <a:gd name="T8" fmla="*/ 21 w 396"/>
                <a:gd name="T9" fmla="*/ 64 h 66"/>
                <a:gd name="T10" fmla="*/ 14 w 396"/>
                <a:gd name="T11" fmla="*/ 61 h 66"/>
                <a:gd name="T12" fmla="*/ 9 w 396"/>
                <a:gd name="T13" fmla="*/ 57 h 66"/>
                <a:gd name="T14" fmla="*/ 5 w 396"/>
                <a:gd name="T15" fmla="*/ 52 h 66"/>
                <a:gd name="T16" fmla="*/ 3 w 396"/>
                <a:gd name="T17" fmla="*/ 47 h 66"/>
                <a:gd name="T18" fmla="*/ 1 w 396"/>
                <a:gd name="T19" fmla="*/ 40 h 66"/>
                <a:gd name="T20" fmla="*/ 0 w 396"/>
                <a:gd name="T21" fmla="*/ 33 h 66"/>
                <a:gd name="T22" fmla="*/ 0 w 396"/>
                <a:gd name="T23" fmla="*/ 33 h 66"/>
                <a:gd name="T24" fmla="*/ 1 w 396"/>
                <a:gd name="T25" fmla="*/ 27 h 66"/>
                <a:gd name="T26" fmla="*/ 3 w 396"/>
                <a:gd name="T27" fmla="*/ 21 h 66"/>
                <a:gd name="T28" fmla="*/ 5 w 396"/>
                <a:gd name="T29" fmla="*/ 15 h 66"/>
                <a:gd name="T30" fmla="*/ 9 w 396"/>
                <a:gd name="T31" fmla="*/ 10 h 66"/>
                <a:gd name="T32" fmla="*/ 14 w 396"/>
                <a:gd name="T33" fmla="*/ 6 h 66"/>
                <a:gd name="T34" fmla="*/ 21 w 396"/>
                <a:gd name="T35" fmla="*/ 3 h 66"/>
                <a:gd name="T36" fmla="*/ 27 w 396"/>
                <a:gd name="T37" fmla="*/ 1 h 66"/>
                <a:gd name="T38" fmla="*/ 33 w 396"/>
                <a:gd name="T39" fmla="*/ 0 h 66"/>
                <a:gd name="T40" fmla="*/ 364 w 396"/>
                <a:gd name="T41" fmla="*/ 0 h 66"/>
                <a:gd name="T42" fmla="*/ 364 w 396"/>
                <a:gd name="T43" fmla="*/ 0 h 66"/>
                <a:gd name="T44" fmla="*/ 370 w 396"/>
                <a:gd name="T45" fmla="*/ 1 h 66"/>
                <a:gd name="T46" fmla="*/ 377 w 396"/>
                <a:gd name="T47" fmla="*/ 3 h 66"/>
                <a:gd name="T48" fmla="*/ 382 w 396"/>
                <a:gd name="T49" fmla="*/ 6 h 66"/>
                <a:gd name="T50" fmla="*/ 387 w 396"/>
                <a:gd name="T51" fmla="*/ 10 h 66"/>
                <a:gd name="T52" fmla="*/ 391 w 396"/>
                <a:gd name="T53" fmla="*/ 15 h 66"/>
                <a:gd name="T54" fmla="*/ 394 w 396"/>
                <a:gd name="T55" fmla="*/ 21 h 66"/>
                <a:gd name="T56" fmla="*/ 396 w 396"/>
                <a:gd name="T57" fmla="*/ 27 h 66"/>
                <a:gd name="T58" fmla="*/ 396 w 396"/>
                <a:gd name="T59" fmla="*/ 33 h 66"/>
                <a:gd name="T60" fmla="*/ 396 w 396"/>
                <a:gd name="T61" fmla="*/ 33 h 66"/>
                <a:gd name="T62" fmla="*/ 396 w 396"/>
                <a:gd name="T63" fmla="*/ 40 h 66"/>
                <a:gd name="T64" fmla="*/ 394 w 396"/>
                <a:gd name="T65" fmla="*/ 47 h 66"/>
                <a:gd name="T66" fmla="*/ 391 w 396"/>
                <a:gd name="T67" fmla="*/ 52 h 66"/>
                <a:gd name="T68" fmla="*/ 387 w 396"/>
                <a:gd name="T69" fmla="*/ 57 h 66"/>
                <a:gd name="T70" fmla="*/ 382 w 396"/>
                <a:gd name="T71" fmla="*/ 61 h 66"/>
                <a:gd name="T72" fmla="*/ 377 w 396"/>
                <a:gd name="T73" fmla="*/ 64 h 66"/>
                <a:gd name="T74" fmla="*/ 370 w 396"/>
                <a:gd name="T75" fmla="*/ 65 h 66"/>
                <a:gd name="T76" fmla="*/ 364 w 396"/>
                <a:gd name="T77" fmla="*/ 66 h 66"/>
                <a:gd name="T78" fmla="*/ 364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4" y="66"/>
                  </a:moveTo>
                  <a:lnTo>
                    <a:pt x="33" y="66"/>
                  </a:lnTo>
                  <a:lnTo>
                    <a:pt x="33" y="66"/>
                  </a:lnTo>
                  <a:lnTo>
                    <a:pt x="27" y="65"/>
                  </a:lnTo>
                  <a:lnTo>
                    <a:pt x="21" y="64"/>
                  </a:lnTo>
                  <a:lnTo>
                    <a:pt x="14" y="61"/>
                  </a:lnTo>
                  <a:lnTo>
                    <a:pt x="9" y="57"/>
                  </a:lnTo>
                  <a:lnTo>
                    <a:pt x="5" y="52"/>
                  </a:lnTo>
                  <a:lnTo>
                    <a:pt x="3" y="47"/>
                  </a:lnTo>
                  <a:lnTo>
                    <a:pt x="1" y="40"/>
                  </a:lnTo>
                  <a:lnTo>
                    <a:pt x="0" y="33"/>
                  </a:lnTo>
                  <a:lnTo>
                    <a:pt x="0" y="33"/>
                  </a:lnTo>
                  <a:lnTo>
                    <a:pt x="1" y="27"/>
                  </a:lnTo>
                  <a:lnTo>
                    <a:pt x="3" y="21"/>
                  </a:lnTo>
                  <a:lnTo>
                    <a:pt x="5" y="15"/>
                  </a:lnTo>
                  <a:lnTo>
                    <a:pt x="9" y="10"/>
                  </a:lnTo>
                  <a:lnTo>
                    <a:pt x="14" y="6"/>
                  </a:lnTo>
                  <a:lnTo>
                    <a:pt x="21" y="3"/>
                  </a:lnTo>
                  <a:lnTo>
                    <a:pt x="27" y="1"/>
                  </a:lnTo>
                  <a:lnTo>
                    <a:pt x="33" y="0"/>
                  </a:lnTo>
                  <a:lnTo>
                    <a:pt x="364" y="0"/>
                  </a:lnTo>
                  <a:lnTo>
                    <a:pt x="364" y="0"/>
                  </a:lnTo>
                  <a:lnTo>
                    <a:pt x="370" y="1"/>
                  </a:lnTo>
                  <a:lnTo>
                    <a:pt x="377" y="3"/>
                  </a:lnTo>
                  <a:lnTo>
                    <a:pt x="382" y="6"/>
                  </a:lnTo>
                  <a:lnTo>
                    <a:pt x="387" y="10"/>
                  </a:lnTo>
                  <a:lnTo>
                    <a:pt x="391" y="15"/>
                  </a:lnTo>
                  <a:lnTo>
                    <a:pt x="394" y="21"/>
                  </a:lnTo>
                  <a:lnTo>
                    <a:pt x="396" y="27"/>
                  </a:lnTo>
                  <a:lnTo>
                    <a:pt x="396" y="33"/>
                  </a:lnTo>
                  <a:lnTo>
                    <a:pt x="396" y="33"/>
                  </a:lnTo>
                  <a:lnTo>
                    <a:pt x="396" y="40"/>
                  </a:lnTo>
                  <a:lnTo>
                    <a:pt x="394" y="47"/>
                  </a:lnTo>
                  <a:lnTo>
                    <a:pt x="391" y="52"/>
                  </a:lnTo>
                  <a:lnTo>
                    <a:pt x="387" y="57"/>
                  </a:lnTo>
                  <a:lnTo>
                    <a:pt x="382" y="61"/>
                  </a:lnTo>
                  <a:lnTo>
                    <a:pt x="377" y="64"/>
                  </a:lnTo>
                  <a:lnTo>
                    <a:pt x="370" y="65"/>
                  </a:lnTo>
                  <a:lnTo>
                    <a:pt x="364" y="66"/>
                  </a:lnTo>
                  <a:lnTo>
                    <a:pt x="36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4" name="Freeform 785">
              <a:extLst>
                <a:ext uri="{FF2B5EF4-FFF2-40B4-BE49-F238E27FC236}">
                  <a16:creationId xmlns:a16="http://schemas.microsoft.com/office/drawing/2014/main" id="{4DE33464-A088-5715-3EC3-9CB761F63B61}"/>
                </a:ext>
              </a:extLst>
            </p:cNvPr>
            <p:cNvSpPr>
              <a:spLocks/>
            </p:cNvSpPr>
            <p:nvPr/>
          </p:nvSpPr>
          <p:spPr bwMode="auto">
            <a:xfrm>
              <a:off x="2803525" y="1628776"/>
              <a:ext cx="90488" cy="14288"/>
            </a:xfrm>
            <a:custGeom>
              <a:avLst/>
              <a:gdLst>
                <a:gd name="T0" fmla="*/ 364 w 396"/>
                <a:gd name="T1" fmla="*/ 66 h 66"/>
                <a:gd name="T2" fmla="*/ 33 w 396"/>
                <a:gd name="T3" fmla="*/ 66 h 66"/>
                <a:gd name="T4" fmla="*/ 33 w 396"/>
                <a:gd name="T5" fmla="*/ 66 h 66"/>
                <a:gd name="T6" fmla="*/ 27 w 396"/>
                <a:gd name="T7" fmla="*/ 65 h 66"/>
                <a:gd name="T8" fmla="*/ 21 w 396"/>
                <a:gd name="T9" fmla="*/ 63 h 66"/>
                <a:gd name="T10" fmla="*/ 14 w 396"/>
                <a:gd name="T11" fmla="*/ 61 h 66"/>
                <a:gd name="T12" fmla="*/ 9 w 396"/>
                <a:gd name="T13" fmla="*/ 57 h 66"/>
                <a:gd name="T14" fmla="*/ 5 w 396"/>
                <a:gd name="T15" fmla="*/ 52 h 66"/>
                <a:gd name="T16" fmla="*/ 3 w 396"/>
                <a:gd name="T17" fmla="*/ 45 h 66"/>
                <a:gd name="T18" fmla="*/ 1 w 396"/>
                <a:gd name="T19" fmla="*/ 39 h 66"/>
                <a:gd name="T20" fmla="*/ 0 w 396"/>
                <a:gd name="T21" fmla="*/ 33 h 66"/>
                <a:gd name="T22" fmla="*/ 0 w 396"/>
                <a:gd name="T23" fmla="*/ 33 h 66"/>
                <a:gd name="T24" fmla="*/ 1 w 396"/>
                <a:gd name="T25" fmla="*/ 27 h 66"/>
                <a:gd name="T26" fmla="*/ 3 w 396"/>
                <a:gd name="T27" fmla="*/ 21 h 66"/>
                <a:gd name="T28" fmla="*/ 5 w 396"/>
                <a:gd name="T29" fmla="*/ 14 h 66"/>
                <a:gd name="T30" fmla="*/ 9 w 396"/>
                <a:gd name="T31" fmla="*/ 9 h 66"/>
                <a:gd name="T32" fmla="*/ 14 w 396"/>
                <a:gd name="T33" fmla="*/ 6 h 66"/>
                <a:gd name="T34" fmla="*/ 21 w 396"/>
                <a:gd name="T35" fmla="*/ 3 h 66"/>
                <a:gd name="T36" fmla="*/ 27 w 396"/>
                <a:gd name="T37" fmla="*/ 1 h 66"/>
                <a:gd name="T38" fmla="*/ 33 w 396"/>
                <a:gd name="T39" fmla="*/ 0 h 66"/>
                <a:gd name="T40" fmla="*/ 364 w 396"/>
                <a:gd name="T41" fmla="*/ 0 h 66"/>
                <a:gd name="T42" fmla="*/ 364 w 396"/>
                <a:gd name="T43" fmla="*/ 0 h 66"/>
                <a:gd name="T44" fmla="*/ 370 w 396"/>
                <a:gd name="T45" fmla="*/ 1 h 66"/>
                <a:gd name="T46" fmla="*/ 377 w 396"/>
                <a:gd name="T47" fmla="*/ 3 h 66"/>
                <a:gd name="T48" fmla="*/ 382 w 396"/>
                <a:gd name="T49" fmla="*/ 6 h 66"/>
                <a:gd name="T50" fmla="*/ 387 w 396"/>
                <a:gd name="T51" fmla="*/ 9 h 66"/>
                <a:gd name="T52" fmla="*/ 391 w 396"/>
                <a:gd name="T53" fmla="*/ 14 h 66"/>
                <a:gd name="T54" fmla="*/ 394 w 396"/>
                <a:gd name="T55" fmla="*/ 21 h 66"/>
                <a:gd name="T56" fmla="*/ 396 w 396"/>
                <a:gd name="T57" fmla="*/ 27 h 66"/>
                <a:gd name="T58" fmla="*/ 396 w 396"/>
                <a:gd name="T59" fmla="*/ 33 h 66"/>
                <a:gd name="T60" fmla="*/ 396 w 396"/>
                <a:gd name="T61" fmla="*/ 33 h 66"/>
                <a:gd name="T62" fmla="*/ 396 w 396"/>
                <a:gd name="T63" fmla="*/ 39 h 66"/>
                <a:gd name="T64" fmla="*/ 394 w 396"/>
                <a:gd name="T65" fmla="*/ 45 h 66"/>
                <a:gd name="T66" fmla="*/ 391 w 396"/>
                <a:gd name="T67" fmla="*/ 52 h 66"/>
                <a:gd name="T68" fmla="*/ 387 w 396"/>
                <a:gd name="T69" fmla="*/ 57 h 66"/>
                <a:gd name="T70" fmla="*/ 382 w 396"/>
                <a:gd name="T71" fmla="*/ 61 h 66"/>
                <a:gd name="T72" fmla="*/ 377 w 396"/>
                <a:gd name="T73" fmla="*/ 63 h 66"/>
                <a:gd name="T74" fmla="*/ 370 w 396"/>
                <a:gd name="T75" fmla="*/ 65 h 66"/>
                <a:gd name="T76" fmla="*/ 364 w 396"/>
                <a:gd name="T77" fmla="*/ 66 h 66"/>
                <a:gd name="T78" fmla="*/ 364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4" y="66"/>
                  </a:moveTo>
                  <a:lnTo>
                    <a:pt x="33" y="66"/>
                  </a:lnTo>
                  <a:lnTo>
                    <a:pt x="33" y="66"/>
                  </a:lnTo>
                  <a:lnTo>
                    <a:pt x="27" y="65"/>
                  </a:lnTo>
                  <a:lnTo>
                    <a:pt x="21" y="63"/>
                  </a:lnTo>
                  <a:lnTo>
                    <a:pt x="14" y="61"/>
                  </a:lnTo>
                  <a:lnTo>
                    <a:pt x="9" y="57"/>
                  </a:lnTo>
                  <a:lnTo>
                    <a:pt x="5" y="52"/>
                  </a:lnTo>
                  <a:lnTo>
                    <a:pt x="3" y="45"/>
                  </a:lnTo>
                  <a:lnTo>
                    <a:pt x="1" y="39"/>
                  </a:lnTo>
                  <a:lnTo>
                    <a:pt x="0" y="33"/>
                  </a:lnTo>
                  <a:lnTo>
                    <a:pt x="0" y="33"/>
                  </a:lnTo>
                  <a:lnTo>
                    <a:pt x="1" y="27"/>
                  </a:lnTo>
                  <a:lnTo>
                    <a:pt x="3" y="21"/>
                  </a:lnTo>
                  <a:lnTo>
                    <a:pt x="5" y="14"/>
                  </a:lnTo>
                  <a:lnTo>
                    <a:pt x="9" y="9"/>
                  </a:lnTo>
                  <a:lnTo>
                    <a:pt x="14" y="6"/>
                  </a:lnTo>
                  <a:lnTo>
                    <a:pt x="21" y="3"/>
                  </a:lnTo>
                  <a:lnTo>
                    <a:pt x="27" y="1"/>
                  </a:lnTo>
                  <a:lnTo>
                    <a:pt x="33" y="0"/>
                  </a:lnTo>
                  <a:lnTo>
                    <a:pt x="364" y="0"/>
                  </a:lnTo>
                  <a:lnTo>
                    <a:pt x="364" y="0"/>
                  </a:lnTo>
                  <a:lnTo>
                    <a:pt x="370" y="1"/>
                  </a:lnTo>
                  <a:lnTo>
                    <a:pt x="377" y="3"/>
                  </a:lnTo>
                  <a:lnTo>
                    <a:pt x="382" y="6"/>
                  </a:lnTo>
                  <a:lnTo>
                    <a:pt x="387" y="9"/>
                  </a:lnTo>
                  <a:lnTo>
                    <a:pt x="391" y="14"/>
                  </a:lnTo>
                  <a:lnTo>
                    <a:pt x="394" y="21"/>
                  </a:lnTo>
                  <a:lnTo>
                    <a:pt x="396" y="27"/>
                  </a:lnTo>
                  <a:lnTo>
                    <a:pt x="396" y="33"/>
                  </a:lnTo>
                  <a:lnTo>
                    <a:pt x="396" y="33"/>
                  </a:lnTo>
                  <a:lnTo>
                    <a:pt x="396" y="39"/>
                  </a:lnTo>
                  <a:lnTo>
                    <a:pt x="394" y="45"/>
                  </a:lnTo>
                  <a:lnTo>
                    <a:pt x="391" y="52"/>
                  </a:lnTo>
                  <a:lnTo>
                    <a:pt x="387" y="57"/>
                  </a:lnTo>
                  <a:lnTo>
                    <a:pt x="382" y="61"/>
                  </a:lnTo>
                  <a:lnTo>
                    <a:pt x="377" y="63"/>
                  </a:lnTo>
                  <a:lnTo>
                    <a:pt x="370" y="65"/>
                  </a:lnTo>
                  <a:lnTo>
                    <a:pt x="364" y="66"/>
                  </a:lnTo>
                  <a:lnTo>
                    <a:pt x="36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5" name="Rectangle 786">
              <a:extLst>
                <a:ext uri="{FF2B5EF4-FFF2-40B4-BE49-F238E27FC236}">
                  <a16:creationId xmlns:a16="http://schemas.microsoft.com/office/drawing/2014/main" id="{6165AA04-F108-06C8-1913-D50E835ECF46}"/>
                </a:ext>
              </a:extLst>
            </p:cNvPr>
            <p:cNvSpPr>
              <a:spLocks noChangeArrowheads="1"/>
            </p:cNvSpPr>
            <p:nvPr/>
          </p:nvSpPr>
          <p:spPr bwMode="auto">
            <a:xfrm>
              <a:off x="2720975" y="1636713"/>
              <a:ext cx="15875"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6" name="Rectangle 787">
              <a:extLst>
                <a:ext uri="{FF2B5EF4-FFF2-40B4-BE49-F238E27FC236}">
                  <a16:creationId xmlns:a16="http://schemas.microsoft.com/office/drawing/2014/main" id="{A8420557-CE45-141B-6FC3-90719E0ACFDE}"/>
                </a:ext>
              </a:extLst>
            </p:cNvPr>
            <p:cNvSpPr>
              <a:spLocks noChangeArrowheads="1"/>
            </p:cNvSpPr>
            <p:nvPr/>
          </p:nvSpPr>
          <p:spPr bwMode="auto">
            <a:xfrm>
              <a:off x="2751138" y="1636713"/>
              <a:ext cx="15875"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7" name="Rectangle 788">
              <a:extLst>
                <a:ext uri="{FF2B5EF4-FFF2-40B4-BE49-F238E27FC236}">
                  <a16:creationId xmlns:a16="http://schemas.microsoft.com/office/drawing/2014/main" id="{16DCAB33-443B-E16A-A64A-155208665AB5}"/>
                </a:ext>
              </a:extLst>
            </p:cNvPr>
            <p:cNvSpPr>
              <a:spLocks noChangeArrowheads="1"/>
            </p:cNvSpPr>
            <p:nvPr/>
          </p:nvSpPr>
          <p:spPr bwMode="auto">
            <a:xfrm>
              <a:off x="2811463" y="1636713"/>
              <a:ext cx="14288"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8" name="Rectangle 789">
              <a:extLst>
                <a:ext uri="{FF2B5EF4-FFF2-40B4-BE49-F238E27FC236}">
                  <a16:creationId xmlns:a16="http://schemas.microsoft.com/office/drawing/2014/main" id="{69B5ED11-291E-19E7-FC49-38D6B976EDB3}"/>
                </a:ext>
              </a:extLst>
            </p:cNvPr>
            <p:cNvSpPr>
              <a:spLocks noChangeArrowheads="1"/>
            </p:cNvSpPr>
            <p:nvPr/>
          </p:nvSpPr>
          <p:spPr bwMode="auto">
            <a:xfrm>
              <a:off x="2841625" y="1636713"/>
              <a:ext cx="14288"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9" name="Rectangle 790">
              <a:extLst>
                <a:ext uri="{FF2B5EF4-FFF2-40B4-BE49-F238E27FC236}">
                  <a16:creationId xmlns:a16="http://schemas.microsoft.com/office/drawing/2014/main" id="{D8D8AA1C-0AFB-F9BA-2819-723BA4AB0843}"/>
                </a:ext>
              </a:extLst>
            </p:cNvPr>
            <p:cNvSpPr>
              <a:spLocks noChangeArrowheads="1"/>
            </p:cNvSpPr>
            <p:nvPr/>
          </p:nvSpPr>
          <p:spPr bwMode="auto">
            <a:xfrm>
              <a:off x="2871788" y="1636713"/>
              <a:ext cx="14288"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0" name="Freeform 791">
              <a:extLst>
                <a:ext uri="{FF2B5EF4-FFF2-40B4-BE49-F238E27FC236}">
                  <a16:creationId xmlns:a16="http://schemas.microsoft.com/office/drawing/2014/main" id="{2D8E15EF-E270-50DC-6B3A-BB0BF3D3FC0D}"/>
                </a:ext>
              </a:extLst>
            </p:cNvPr>
            <p:cNvSpPr>
              <a:spLocks/>
            </p:cNvSpPr>
            <p:nvPr/>
          </p:nvSpPr>
          <p:spPr bwMode="auto">
            <a:xfrm>
              <a:off x="2924175" y="1763713"/>
              <a:ext cx="90488" cy="14288"/>
            </a:xfrm>
            <a:custGeom>
              <a:avLst/>
              <a:gdLst>
                <a:gd name="T0" fmla="*/ 364 w 397"/>
                <a:gd name="T1" fmla="*/ 66 h 66"/>
                <a:gd name="T2" fmla="*/ 33 w 397"/>
                <a:gd name="T3" fmla="*/ 66 h 66"/>
                <a:gd name="T4" fmla="*/ 33 w 397"/>
                <a:gd name="T5" fmla="*/ 66 h 66"/>
                <a:gd name="T6" fmla="*/ 27 w 397"/>
                <a:gd name="T7" fmla="*/ 65 h 66"/>
                <a:gd name="T8" fmla="*/ 20 w 397"/>
                <a:gd name="T9" fmla="*/ 64 h 66"/>
                <a:gd name="T10" fmla="*/ 14 w 397"/>
                <a:gd name="T11" fmla="*/ 61 h 66"/>
                <a:gd name="T12" fmla="*/ 10 w 397"/>
                <a:gd name="T13" fmla="*/ 57 h 66"/>
                <a:gd name="T14" fmla="*/ 6 w 397"/>
                <a:gd name="T15" fmla="*/ 52 h 66"/>
                <a:gd name="T16" fmla="*/ 3 w 397"/>
                <a:gd name="T17" fmla="*/ 47 h 66"/>
                <a:gd name="T18" fmla="*/ 1 w 397"/>
                <a:gd name="T19" fmla="*/ 40 h 66"/>
                <a:gd name="T20" fmla="*/ 0 w 397"/>
                <a:gd name="T21" fmla="*/ 33 h 66"/>
                <a:gd name="T22" fmla="*/ 0 w 397"/>
                <a:gd name="T23" fmla="*/ 33 h 66"/>
                <a:gd name="T24" fmla="*/ 1 w 397"/>
                <a:gd name="T25" fmla="*/ 27 h 66"/>
                <a:gd name="T26" fmla="*/ 3 w 397"/>
                <a:gd name="T27" fmla="*/ 21 h 66"/>
                <a:gd name="T28" fmla="*/ 6 w 397"/>
                <a:gd name="T29" fmla="*/ 15 h 66"/>
                <a:gd name="T30" fmla="*/ 10 w 397"/>
                <a:gd name="T31" fmla="*/ 10 h 66"/>
                <a:gd name="T32" fmla="*/ 14 w 397"/>
                <a:gd name="T33" fmla="*/ 6 h 66"/>
                <a:gd name="T34" fmla="*/ 20 w 397"/>
                <a:gd name="T35" fmla="*/ 3 h 66"/>
                <a:gd name="T36" fmla="*/ 27 w 397"/>
                <a:gd name="T37" fmla="*/ 1 h 66"/>
                <a:gd name="T38" fmla="*/ 33 w 397"/>
                <a:gd name="T39" fmla="*/ 0 h 66"/>
                <a:gd name="T40" fmla="*/ 364 w 397"/>
                <a:gd name="T41" fmla="*/ 0 h 66"/>
                <a:gd name="T42" fmla="*/ 364 w 397"/>
                <a:gd name="T43" fmla="*/ 0 h 66"/>
                <a:gd name="T44" fmla="*/ 370 w 397"/>
                <a:gd name="T45" fmla="*/ 1 h 66"/>
                <a:gd name="T46" fmla="*/ 376 w 397"/>
                <a:gd name="T47" fmla="*/ 3 h 66"/>
                <a:gd name="T48" fmla="*/ 383 w 397"/>
                <a:gd name="T49" fmla="*/ 6 h 66"/>
                <a:gd name="T50" fmla="*/ 387 w 397"/>
                <a:gd name="T51" fmla="*/ 10 h 66"/>
                <a:gd name="T52" fmla="*/ 391 w 397"/>
                <a:gd name="T53" fmla="*/ 15 h 66"/>
                <a:gd name="T54" fmla="*/ 394 w 397"/>
                <a:gd name="T55" fmla="*/ 21 h 66"/>
                <a:gd name="T56" fmla="*/ 396 w 397"/>
                <a:gd name="T57" fmla="*/ 27 h 66"/>
                <a:gd name="T58" fmla="*/ 397 w 397"/>
                <a:gd name="T59" fmla="*/ 33 h 66"/>
                <a:gd name="T60" fmla="*/ 397 w 397"/>
                <a:gd name="T61" fmla="*/ 33 h 66"/>
                <a:gd name="T62" fmla="*/ 396 w 397"/>
                <a:gd name="T63" fmla="*/ 40 h 66"/>
                <a:gd name="T64" fmla="*/ 394 w 397"/>
                <a:gd name="T65" fmla="*/ 47 h 66"/>
                <a:gd name="T66" fmla="*/ 391 w 397"/>
                <a:gd name="T67" fmla="*/ 52 h 66"/>
                <a:gd name="T68" fmla="*/ 387 w 397"/>
                <a:gd name="T69" fmla="*/ 57 h 66"/>
                <a:gd name="T70" fmla="*/ 383 w 397"/>
                <a:gd name="T71" fmla="*/ 61 h 66"/>
                <a:gd name="T72" fmla="*/ 376 w 397"/>
                <a:gd name="T73" fmla="*/ 64 h 66"/>
                <a:gd name="T74" fmla="*/ 370 w 397"/>
                <a:gd name="T75" fmla="*/ 65 h 66"/>
                <a:gd name="T76" fmla="*/ 364 w 397"/>
                <a:gd name="T77" fmla="*/ 66 h 66"/>
                <a:gd name="T78" fmla="*/ 364 w 397"/>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7" h="66">
                  <a:moveTo>
                    <a:pt x="364" y="66"/>
                  </a:moveTo>
                  <a:lnTo>
                    <a:pt x="33" y="66"/>
                  </a:lnTo>
                  <a:lnTo>
                    <a:pt x="33" y="66"/>
                  </a:lnTo>
                  <a:lnTo>
                    <a:pt x="27" y="65"/>
                  </a:lnTo>
                  <a:lnTo>
                    <a:pt x="20" y="64"/>
                  </a:lnTo>
                  <a:lnTo>
                    <a:pt x="14" y="61"/>
                  </a:lnTo>
                  <a:lnTo>
                    <a:pt x="10" y="57"/>
                  </a:lnTo>
                  <a:lnTo>
                    <a:pt x="6" y="52"/>
                  </a:lnTo>
                  <a:lnTo>
                    <a:pt x="3" y="47"/>
                  </a:lnTo>
                  <a:lnTo>
                    <a:pt x="1" y="40"/>
                  </a:lnTo>
                  <a:lnTo>
                    <a:pt x="0" y="33"/>
                  </a:lnTo>
                  <a:lnTo>
                    <a:pt x="0" y="33"/>
                  </a:lnTo>
                  <a:lnTo>
                    <a:pt x="1" y="27"/>
                  </a:lnTo>
                  <a:lnTo>
                    <a:pt x="3" y="21"/>
                  </a:lnTo>
                  <a:lnTo>
                    <a:pt x="6" y="15"/>
                  </a:lnTo>
                  <a:lnTo>
                    <a:pt x="10" y="10"/>
                  </a:lnTo>
                  <a:lnTo>
                    <a:pt x="14" y="6"/>
                  </a:lnTo>
                  <a:lnTo>
                    <a:pt x="20" y="3"/>
                  </a:lnTo>
                  <a:lnTo>
                    <a:pt x="27" y="1"/>
                  </a:lnTo>
                  <a:lnTo>
                    <a:pt x="33" y="0"/>
                  </a:lnTo>
                  <a:lnTo>
                    <a:pt x="364" y="0"/>
                  </a:lnTo>
                  <a:lnTo>
                    <a:pt x="364" y="0"/>
                  </a:lnTo>
                  <a:lnTo>
                    <a:pt x="370" y="1"/>
                  </a:lnTo>
                  <a:lnTo>
                    <a:pt x="376" y="3"/>
                  </a:lnTo>
                  <a:lnTo>
                    <a:pt x="383" y="6"/>
                  </a:lnTo>
                  <a:lnTo>
                    <a:pt x="387" y="10"/>
                  </a:lnTo>
                  <a:lnTo>
                    <a:pt x="391" y="15"/>
                  </a:lnTo>
                  <a:lnTo>
                    <a:pt x="394" y="21"/>
                  </a:lnTo>
                  <a:lnTo>
                    <a:pt x="396" y="27"/>
                  </a:lnTo>
                  <a:lnTo>
                    <a:pt x="397" y="33"/>
                  </a:lnTo>
                  <a:lnTo>
                    <a:pt x="397" y="33"/>
                  </a:lnTo>
                  <a:lnTo>
                    <a:pt x="396" y="40"/>
                  </a:lnTo>
                  <a:lnTo>
                    <a:pt x="394" y="47"/>
                  </a:lnTo>
                  <a:lnTo>
                    <a:pt x="391" y="52"/>
                  </a:lnTo>
                  <a:lnTo>
                    <a:pt x="387" y="57"/>
                  </a:lnTo>
                  <a:lnTo>
                    <a:pt x="383" y="61"/>
                  </a:lnTo>
                  <a:lnTo>
                    <a:pt x="376" y="64"/>
                  </a:lnTo>
                  <a:lnTo>
                    <a:pt x="370" y="65"/>
                  </a:lnTo>
                  <a:lnTo>
                    <a:pt x="364" y="66"/>
                  </a:lnTo>
                  <a:lnTo>
                    <a:pt x="36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1" name="Freeform 792">
              <a:extLst>
                <a:ext uri="{FF2B5EF4-FFF2-40B4-BE49-F238E27FC236}">
                  <a16:creationId xmlns:a16="http://schemas.microsoft.com/office/drawing/2014/main" id="{45393B91-9A48-0445-0194-C22B9B63CA65}"/>
                </a:ext>
              </a:extLst>
            </p:cNvPr>
            <p:cNvSpPr>
              <a:spLocks/>
            </p:cNvSpPr>
            <p:nvPr/>
          </p:nvSpPr>
          <p:spPr bwMode="auto">
            <a:xfrm>
              <a:off x="2924175" y="1628776"/>
              <a:ext cx="90488" cy="14288"/>
            </a:xfrm>
            <a:custGeom>
              <a:avLst/>
              <a:gdLst>
                <a:gd name="T0" fmla="*/ 364 w 397"/>
                <a:gd name="T1" fmla="*/ 66 h 66"/>
                <a:gd name="T2" fmla="*/ 33 w 397"/>
                <a:gd name="T3" fmla="*/ 66 h 66"/>
                <a:gd name="T4" fmla="*/ 33 w 397"/>
                <a:gd name="T5" fmla="*/ 66 h 66"/>
                <a:gd name="T6" fmla="*/ 27 w 397"/>
                <a:gd name="T7" fmla="*/ 65 h 66"/>
                <a:gd name="T8" fmla="*/ 20 w 397"/>
                <a:gd name="T9" fmla="*/ 63 h 66"/>
                <a:gd name="T10" fmla="*/ 14 w 397"/>
                <a:gd name="T11" fmla="*/ 61 h 66"/>
                <a:gd name="T12" fmla="*/ 10 w 397"/>
                <a:gd name="T13" fmla="*/ 57 h 66"/>
                <a:gd name="T14" fmla="*/ 6 w 397"/>
                <a:gd name="T15" fmla="*/ 52 h 66"/>
                <a:gd name="T16" fmla="*/ 3 w 397"/>
                <a:gd name="T17" fmla="*/ 45 h 66"/>
                <a:gd name="T18" fmla="*/ 1 w 397"/>
                <a:gd name="T19" fmla="*/ 39 h 66"/>
                <a:gd name="T20" fmla="*/ 0 w 397"/>
                <a:gd name="T21" fmla="*/ 33 h 66"/>
                <a:gd name="T22" fmla="*/ 0 w 397"/>
                <a:gd name="T23" fmla="*/ 33 h 66"/>
                <a:gd name="T24" fmla="*/ 1 w 397"/>
                <a:gd name="T25" fmla="*/ 27 h 66"/>
                <a:gd name="T26" fmla="*/ 3 w 397"/>
                <a:gd name="T27" fmla="*/ 21 h 66"/>
                <a:gd name="T28" fmla="*/ 6 w 397"/>
                <a:gd name="T29" fmla="*/ 14 h 66"/>
                <a:gd name="T30" fmla="*/ 10 w 397"/>
                <a:gd name="T31" fmla="*/ 9 h 66"/>
                <a:gd name="T32" fmla="*/ 14 w 397"/>
                <a:gd name="T33" fmla="*/ 6 h 66"/>
                <a:gd name="T34" fmla="*/ 20 w 397"/>
                <a:gd name="T35" fmla="*/ 3 h 66"/>
                <a:gd name="T36" fmla="*/ 27 w 397"/>
                <a:gd name="T37" fmla="*/ 1 h 66"/>
                <a:gd name="T38" fmla="*/ 33 w 397"/>
                <a:gd name="T39" fmla="*/ 0 h 66"/>
                <a:gd name="T40" fmla="*/ 364 w 397"/>
                <a:gd name="T41" fmla="*/ 0 h 66"/>
                <a:gd name="T42" fmla="*/ 364 w 397"/>
                <a:gd name="T43" fmla="*/ 0 h 66"/>
                <a:gd name="T44" fmla="*/ 370 w 397"/>
                <a:gd name="T45" fmla="*/ 1 h 66"/>
                <a:gd name="T46" fmla="*/ 376 w 397"/>
                <a:gd name="T47" fmla="*/ 3 h 66"/>
                <a:gd name="T48" fmla="*/ 383 w 397"/>
                <a:gd name="T49" fmla="*/ 6 h 66"/>
                <a:gd name="T50" fmla="*/ 387 w 397"/>
                <a:gd name="T51" fmla="*/ 9 h 66"/>
                <a:gd name="T52" fmla="*/ 391 w 397"/>
                <a:gd name="T53" fmla="*/ 14 h 66"/>
                <a:gd name="T54" fmla="*/ 394 w 397"/>
                <a:gd name="T55" fmla="*/ 21 h 66"/>
                <a:gd name="T56" fmla="*/ 396 w 397"/>
                <a:gd name="T57" fmla="*/ 27 h 66"/>
                <a:gd name="T58" fmla="*/ 397 w 397"/>
                <a:gd name="T59" fmla="*/ 33 h 66"/>
                <a:gd name="T60" fmla="*/ 397 w 397"/>
                <a:gd name="T61" fmla="*/ 33 h 66"/>
                <a:gd name="T62" fmla="*/ 396 w 397"/>
                <a:gd name="T63" fmla="*/ 39 h 66"/>
                <a:gd name="T64" fmla="*/ 394 w 397"/>
                <a:gd name="T65" fmla="*/ 45 h 66"/>
                <a:gd name="T66" fmla="*/ 391 w 397"/>
                <a:gd name="T67" fmla="*/ 52 h 66"/>
                <a:gd name="T68" fmla="*/ 387 w 397"/>
                <a:gd name="T69" fmla="*/ 57 h 66"/>
                <a:gd name="T70" fmla="*/ 383 w 397"/>
                <a:gd name="T71" fmla="*/ 61 h 66"/>
                <a:gd name="T72" fmla="*/ 376 w 397"/>
                <a:gd name="T73" fmla="*/ 63 h 66"/>
                <a:gd name="T74" fmla="*/ 370 w 397"/>
                <a:gd name="T75" fmla="*/ 65 h 66"/>
                <a:gd name="T76" fmla="*/ 364 w 397"/>
                <a:gd name="T77" fmla="*/ 66 h 66"/>
                <a:gd name="T78" fmla="*/ 364 w 397"/>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7" h="66">
                  <a:moveTo>
                    <a:pt x="364" y="66"/>
                  </a:moveTo>
                  <a:lnTo>
                    <a:pt x="33" y="66"/>
                  </a:lnTo>
                  <a:lnTo>
                    <a:pt x="33" y="66"/>
                  </a:lnTo>
                  <a:lnTo>
                    <a:pt x="27" y="65"/>
                  </a:lnTo>
                  <a:lnTo>
                    <a:pt x="20" y="63"/>
                  </a:lnTo>
                  <a:lnTo>
                    <a:pt x="14" y="61"/>
                  </a:lnTo>
                  <a:lnTo>
                    <a:pt x="10" y="57"/>
                  </a:lnTo>
                  <a:lnTo>
                    <a:pt x="6" y="52"/>
                  </a:lnTo>
                  <a:lnTo>
                    <a:pt x="3" y="45"/>
                  </a:lnTo>
                  <a:lnTo>
                    <a:pt x="1" y="39"/>
                  </a:lnTo>
                  <a:lnTo>
                    <a:pt x="0" y="33"/>
                  </a:lnTo>
                  <a:lnTo>
                    <a:pt x="0" y="33"/>
                  </a:lnTo>
                  <a:lnTo>
                    <a:pt x="1" y="27"/>
                  </a:lnTo>
                  <a:lnTo>
                    <a:pt x="3" y="21"/>
                  </a:lnTo>
                  <a:lnTo>
                    <a:pt x="6" y="14"/>
                  </a:lnTo>
                  <a:lnTo>
                    <a:pt x="10" y="9"/>
                  </a:lnTo>
                  <a:lnTo>
                    <a:pt x="14" y="6"/>
                  </a:lnTo>
                  <a:lnTo>
                    <a:pt x="20" y="3"/>
                  </a:lnTo>
                  <a:lnTo>
                    <a:pt x="27" y="1"/>
                  </a:lnTo>
                  <a:lnTo>
                    <a:pt x="33" y="0"/>
                  </a:lnTo>
                  <a:lnTo>
                    <a:pt x="364" y="0"/>
                  </a:lnTo>
                  <a:lnTo>
                    <a:pt x="364" y="0"/>
                  </a:lnTo>
                  <a:lnTo>
                    <a:pt x="370" y="1"/>
                  </a:lnTo>
                  <a:lnTo>
                    <a:pt x="376" y="3"/>
                  </a:lnTo>
                  <a:lnTo>
                    <a:pt x="383" y="6"/>
                  </a:lnTo>
                  <a:lnTo>
                    <a:pt x="387" y="9"/>
                  </a:lnTo>
                  <a:lnTo>
                    <a:pt x="391" y="14"/>
                  </a:lnTo>
                  <a:lnTo>
                    <a:pt x="394" y="21"/>
                  </a:lnTo>
                  <a:lnTo>
                    <a:pt x="396" y="27"/>
                  </a:lnTo>
                  <a:lnTo>
                    <a:pt x="397" y="33"/>
                  </a:lnTo>
                  <a:lnTo>
                    <a:pt x="397" y="33"/>
                  </a:lnTo>
                  <a:lnTo>
                    <a:pt x="396" y="39"/>
                  </a:lnTo>
                  <a:lnTo>
                    <a:pt x="394" y="45"/>
                  </a:lnTo>
                  <a:lnTo>
                    <a:pt x="391" y="52"/>
                  </a:lnTo>
                  <a:lnTo>
                    <a:pt x="387" y="57"/>
                  </a:lnTo>
                  <a:lnTo>
                    <a:pt x="383" y="61"/>
                  </a:lnTo>
                  <a:lnTo>
                    <a:pt x="376" y="63"/>
                  </a:lnTo>
                  <a:lnTo>
                    <a:pt x="370" y="65"/>
                  </a:lnTo>
                  <a:lnTo>
                    <a:pt x="364" y="66"/>
                  </a:lnTo>
                  <a:lnTo>
                    <a:pt x="36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2" name="Rectangle 793">
              <a:extLst>
                <a:ext uri="{FF2B5EF4-FFF2-40B4-BE49-F238E27FC236}">
                  <a16:creationId xmlns:a16="http://schemas.microsoft.com/office/drawing/2014/main" id="{0E415C60-2DC9-E1FB-9373-BA8A1D083C85}"/>
                </a:ext>
              </a:extLst>
            </p:cNvPr>
            <p:cNvSpPr>
              <a:spLocks noChangeArrowheads="1"/>
            </p:cNvSpPr>
            <p:nvPr/>
          </p:nvSpPr>
          <p:spPr bwMode="auto">
            <a:xfrm>
              <a:off x="2932113" y="1636713"/>
              <a:ext cx="14288"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3" name="Rectangle 794">
              <a:extLst>
                <a:ext uri="{FF2B5EF4-FFF2-40B4-BE49-F238E27FC236}">
                  <a16:creationId xmlns:a16="http://schemas.microsoft.com/office/drawing/2014/main" id="{30205FD1-0060-3158-B5F7-1DC3A8ECAA91}"/>
                </a:ext>
              </a:extLst>
            </p:cNvPr>
            <p:cNvSpPr>
              <a:spLocks noChangeArrowheads="1"/>
            </p:cNvSpPr>
            <p:nvPr/>
          </p:nvSpPr>
          <p:spPr bwMode="auto">
            <a:xfrm>
              <a:off x="2960688" y="1636713"/>
              <a:ext cx="15875"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4" name="Rectangle 795">
              <a:extLst>
                <a:ext uri="{FF2B5EF4-FFF2-40B4-BE49-F238E27FC236}">
                  <a16:creationId xmlns:a16="http://schemas.microsoft.com/office/drawing/2014/main" id="{9D31F824-0BA6-0134-7420-1F88DAC4E06F}"/>
                </a:ext>
              </a:extLst>
            </p:cNvPr>
            <p:cNvSpPr>
              <a:spLocks noChangeArrowheads="1"/>
            </p:cNvSpPr>
            <p:nvPr/>
          </p:nvSpPr>
          <p:spPr bwMode="auto">
            <a:xfrm>
              <a:off x="2990850" y="1636713"/>
              <a:ext cx="15875"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5" name="Freeform 796">
              <a:extLst>
                <a:ext uri="{FF2B5EF4-FFF2-40B4-BE49-F238E27FC236}">
                  <a16:creationId xmlns:a16="http://schemas.microsoft.com/office/drawing/2014/main" id="{8005D523-CF71-FCAB-2D02-D58BDF9DDD18}"/>
                </a:ext>
              </a:extLst>
            </p:cNvPr>
            <p:cNvSpPr>
              <a:spLocks noEditPoints="1"/>
            </p:cNvSpPr>
            <p:nvPr/>
          </p:nvSpPr>
          <p:spPr bwMode="auto">
            <a:xfrm>
              <a:off x="2676525" y="1463676"/>
              <a:ext cx="344488" cy="150813"/>
            </a:xfrm>
            <a:custGeom>
              <a:avLst/>
              <a:gdLst>
                <a:gd name="T0" fmla="*/ 1488 w 1521"/>
                <a:gd name="T1" fmla="*/ 662 h 662"/>
                <a:gd name="T2" fmla="*/ 33 w 1521"/>
                <a:gd name="T3" fmla="*/ 662 h 662"/>
                <a:gd name="T4" fmla="*/ 33 w 1521"/>
                <a:gd name="T5" fmla="*/ 662 h 662"/>
                <a:gd name="T6" fmla="*/ 28 w 1521"/>
                <a:gd name="T7" fmla="*/ 662 h 662"/>
                <a:gd name="T8" fmla="*/ 23 w 1521"/>
                <a:gd name="T9" fmla="*/ 661 h 662"/>
                <a:gd name="T10" fmla="*/ 18 w 1521"/>
                <a:gd name="T11" fmla="*/ 658 h 662"/>
                <a:gd name="T12" fmla="*/ 13 w 1521"/>
                <a:gd name="T13" fmla="*/ 655 h 662"/>
                <a:gd name="T14" fmla="*/ 10 w 1521"/>
                <a:gd name="T15" fmla="*/ 652 h 662"/>
                <a:gd name="T16" fmla="*/ 6 w 1521"/>
                <a:gd name="T17" fmla="*/ 648 h 662"/>
                <a:gd name="T18" fmla="*/ 4 w 1521"/>
                <a:gd name="T19" fmla="*/ 644 h 662"/>
                <a:gd name="T20" fmla="*/ 2 w 1521"/>
                <a:gd name="T21" fmla="*/ 640 h 662"/>
                <a:gd name="T22" fmla="*/ 2 w 1521"/>
                <a:gd name="T23" fmla="*/ 640 h 662"/>
                <a:gd name="T24" fmla="*/ 0 w 1521"/>
                <a:gd name="T25" fmla="*/ 635 h 662"/>
                <a:gd name="T26" fmla="*/ 0 w 1521"/>
                <a:gd name="T27" fmla="*/ 629 h 662"/>
                <a:gd name="T28" fmla="*/ 0 w 1521"/>
                <a:gd name="T29" fmla="*/ 624 h 662"/>
                <a:gd name="T30" fmla="*/ 1 w 1521"/>
                <a:gd name="T31" fmla="*/ 619 h 662"/>
                <a:gd name="T32" fmla="*/ 3 w 1521"/>
                <a:gd name="T33" fmla="*/ 615 h 662"/>
                <a:gd name="T34" fmla="*/ 5 w 1521"/>
                <a:gd name="T35" fmla="*/ 610 h 662"/>
                <a:gd name="T36" fmla="*/ 8 w 1521"/>
                <a:gd name="T37" fmla="*/ 606 h 662"/>
                <a:gd name="T38" fmla="*/ 12 w 1521"/>
                <a:gd name="T39" fmla="*/ 603 h 662"/>
                <a:gd name="T40" fmla="*/ 775 w 1521"/>
                <a:gd name="T41" fmla="*/ 7 h 662"/>
                <a:gd name="T42" fmla="*/ 775 w 1521"/>
                <a:gd name="T43" fmla="*/ 7 h 662"/>
                <a:gd name="T44" fmla="*/ 780 w 1521"/>
                <a:gd name="T45" fmla="*/ 4 h 662"/>
                <a:gd name="T46" fmla="*/ 785 w 1521"/>
                <a:gd name="T47" fmla="*/ 2 h 662"/>
                <a:gd name="T48" fmla="*/ 791 w 1521"/>
                <a:gd name="T49" fmla="*/ 0 h 662"/>
                <a:gd name="T50" fmla="*/ 796 w 1521"/>
                <a:gd name="T51" fmla="*/ 0 h 662"/>
                <a:gd name="T52" fmla="*/ 802 w 1521"/>
                <a:gd name="T53" fmla="*/ 1 h 662"/>
                <a:gd name="T54" fmla="*/ 807 w 1521"/>
                <a:gd name="T55" fmla="*/ 2 h 662"/>
                <a:gd name="T56" fmla="*/ 812 w 1521"/>
                <a:gd name="T57" fmla="*/ 5 h 662"/>
                <a:gd name="T58" fmla="*/ 818 w 1521"/>
                <a:gd name="T59" fmla="*/ 8 h 662"/>
                <a:gd name="T60" fmla="*/ 1510 w 1521"/>
                <a:gd name="T61" fmla="*/ 604 h 662"/>
                <a:gd name="T62" fmla="*/ 1510 w 1521"/>
                <a:gd name="T63" fmla="*/ 604 h 662"/>
                <a:gd name="T64" fmla="*/ 1513 w 1521"/>
                <a:gd name="T65" fmla="*/ 608 h 662"/>
                <a:gd name="T66" fmla="*/ 1516 w 1521"/>
                <a:gd name="T67" fmla="*/ 611 h 662"/>
                <a:gd name="T68" fmla="*/ 1518 w 1521"/>
                <a:gd name="T69" fmla="*/ 616 h 662"/>
                <a:gd name="T70" fmla="*/ 1520 w 1521"/>
                <a:gd name="T71" fmla="*/ 620 h 662"/>
                <a:gd name="T72" fmla="*/ 1520 w 1521"/>
                <a:gd name="T73" fmla="*/ 625 h 662"/>
                <a:gd name="T74" fmla="*/ 1521 w 1521"/>
                <a:gd name="T75" fmla="*/ 631 h 662"/>
                <a:gd name="T76" fmla="*/ 1520 w 1521"/>
                <a:gd name="T77" fmla="*/ 636 h 662"/>
                <a:gd name="T78" fmla="*/ 1519 w 1521"/>
                <a:gd name="T79" fmla="*/ 640 h 662"/>
                <a:gd name="T80" fmla="*/ 1519 w 1521"/>
                <a:gd name="T81" fmla="*/ 640 h 662"/>
                <a:gd name="T82" fmla="*/ 1517 w 1521"/>
                <a:gd name="T83" fmla="*/ 645 h 662"/>
                <a:gd name="T84" fmla="*/ 1514 w 1521"/>
                <a:gd name="T85" fmla="*/ 649 h 662"/>
                <a:gd name="T86" fmla="*/ 1511 w 1521"/>
                <a:gd name="T87" fmla="*/ 652 h 662"/>
                <a:gd name="T88" fmla="*/ 1507 w 1521"/>
                <a:gd name="T89" fmla="*/ 655 h 662"/>
                <a:gd name="T90" fmla="*/ 1503 w 1521"/>
                <a:gd name="T91" fmla="*/ 658 h 662"/>
                <a:gd name="T92" fmla="*/ 1497 w 1521"/>
                <a:gd name="T93" fmla="*/ 661 h 662"/>
                <a:gd name="T94" fmla="*/ 1493 w 1521"/>
                <a:gd name="T95" fmla="*/ 662 h 662"/>
                <a:gd name="T96" fmla="*/ 1488 w 1521"/>
                <a:gd name="T97" fmla="*/ 662 h 662"/>
                <a:gd name="T98" fmla="*/ 1488 w 1521"/>
                <a:gd name="T99" fmla="*/ 662 h 662"/>
                <a:gd name="T100" fmla="*/ 129 w 1521"/>
                <a:gd name="T101" fmla="*/ 595 h 662"/>
                <a:gd name="T102" fmla="*/ 1399 w 1521"/>
                <a:gd name="T103" fmla="*/ 595 h 662"/>
                <a:gd name="T104" fmla="*/ 795 w 1521"/>
                <a:gd name="T105" fmla="*/ 76 h 662"/>
                <a:gd name="T106" fmla="*/ 129 w 1521"/>
                <a:gd name="T107" fmla="*/ 59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21" h="662">
                  <a:moveTo>
                    <a:pt x="1488" y="662"/>
                  </a:moveTo>
                  <a:lnTo>
                    <a:pt x="33" y="662"/>
                  </a:lnTo>
                  <a:lnTo>
                    <a:pt x="33" y="662"/>
                  </a:lnTo>
                  <a:lnTo>
                    <a:pt x="28" y="662"/>
                  </a:lnTo>
                  <a:lnTo>
                    <a:pt x="23" y="661"/>
                  </a:lnTo>
                  <a:lnTo>
                    <a:pt x="18" y="658"/>
                  </a:lnTo>
                  <a:lnTo>
                    <a:pt x="13" y="655"/>
                  </a:lnTo>
                  <a:lnTo>
                    <a:pt x="10" y="652"/>
                  </a:lnTo>
                  <a:lnTo>
                    <a:pt x="6" y="648"/>
                  </a:lnTo>
                  <a:lnTo>
                    <a:pt x="4" y="644"/>
                  </a:lnTo>
                  <a:lnTo>
                    <a:pt x="2" y="640"/>
                  </a:lnTo>
                  <a:lnTo>
                    <a:pt x="2" y="640"/>
                  </a:lnTo>
                  <a:lnTo>
                    <a:pt x="0" y="635"/>
                  </a:lnTo>
                  <a:lnTo>
                    <a:pt x="0" y="629"/>
                  </a:lnTo>
                  <a:lnTo>
                    <a:pt x="0" y="624"/>
                  </a:lnTo>
                  <a:lnTo>
                    <a:pt x="1" y="619"/>
                  </a:lnTo>
                  <a:lnTo>
                    <a:pt x="3" y="615"/>
                  </a:lnTo>
                  <a:lnTo>
                    <a:pt x="5" y="610"/>
                  </a:lnTo>
                  <a:lnTo>
                    <a:pt x="8" y="606"/>
                  </a:lnTo>
                  <a:lnTo>
                    <a:pt x="12" y="603"/>
                  </a:lnTo>
                  <a:lnTo>
                    <a:pt x="775" y="7"/>
                  </a:lnTo>
                  <a:lnTo>
                    <a:pt x="775" y="7"/>
                  </a:lnTo>
                  <a:lnTo>
                    <a:pt x="780" y="4"/>
                  </a:lnTo>
                  <a:lnTo>
                    <a:pt x="785" y="2"/>
                  </a:lnTo>
                  <a:lnTo>
                    <a:pt x="791" y="0"/>
                  </a:lnTo>
                  <a:lnTo>
                    <a:pt x="796" y="0"/>
                  </a:lnTo>
                  <a:lnTo>
                    <a:pt x="802" y="1"/>
                  </a:lnTo>
                  <a:lnTo>
                    <a:pt x="807" y="2"/>
                  </a:lnTo>
                  <a:lnTo>
                    <a:pt x="812" y="5"/>
                  </a:lnTo>
                  <a:lnTo>
                    <a:pt x="818" y="8"/>
                  </a:lnTo>
                  <a:lnTo>
                    <a:pt x="1510" y="604"/>
                  </a:lnTo>
                  <a:lnTo>
                    <a:pt x="1510" y="604"/>
                  </a:lnTo>
                  <a:lnTo>
                    <a:pt x="1513" y="608"/>
                  </a:lnTo>
                  <a:lnTo>
                    <a:pt x="1516" y="611"/>
                  </a:lnTo>
                  <a:lnTo>
                    <a:pt x="1518" y="616"/>
                  </a:lnTo>
                  <a:lnTo>
                    <a:pt x="1520" y="620"/>
                  </a:lnTo>
                  <a:lnTo>
                    <a:pt x="1520" y="625"/>
                  </a:lnTo>
                  <a:lnTo>
                    <a:pt x="1521" y="631"/>
                  </a:lnTo>
                  <a:lnTo>
                    <a:pt x="1520" y="636"/>
                  </a:lnTo>
                  <a:lnTo>
                    <a:pt x="1519" y="640"/>
                  </a:lnTo>
                  <a:lnTo>
                    <a:pt x="1519" y="640"/>
                  </a:lnTo>
                  <a:lnTo>
                    <a:pt x="1517" y="645"/>
                  </a:lnTo>
                  <a:lnTo>
                    <a:pt x="1514" y="649"/>
                  </a:lnTo>
                  <a:lnTo>
                    <a:pt x="1511" y="652"/>
                  </a:lnTo>
                  <a:lnTo>
                    <a:pt x="1507" y="655"/>
                  </a:lnTo>
                  <a:lnTo>
                    <a:pt x="1503" y="658"/>
                  </a:lnTo>
                  <a:lnTo>
                    <a:pt x="1497" y="661"/>
                  </a:lnTo>
                  <a:lnTo>
                    <a:pt x="1493" y="662"/>
                  </a:lnTo>
                  <a:lnTo>
                    <a:pt x="1488" y="662"/>
                  </a:lnTo>
                  <a:lnTo>
                    <a:pt x="1488" y="662"/>
                  </a:lnTo>
                  <a:close/>
                  <a:moveTo>
                    <a:pt x="129" y="595"/>
                  </a:moveTo>
                  <a:lnTo>
                    <a:pt x="1399" y="595"/>
                  </a:lnTo>
                  <a:lnTo>
                    <a:pt x="795" y="76"/>
                  </a:lnTo>
                  <a:lnTo>
                    <a:pt x="129" y="5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36" name="Group 35">
            <a:extLst>
              <a:ext uri="{FF2B5EF4-FFF2-40B4-BE49-F238E27FC236}">
                <a16:creationId xmlns:a16="http://schemas.microsoft.com/office/drawing/2014/main" id="{026D48BB-D8E1-3F16-063E-0DCEDB00613B}"/>
              </a:ext>
            </a:extLst>
          </p:cNvPr>
          <p:cNvGrpSpPr/>
          <p:nvPr/>
        </p:nvGrpSpPr>
        <p:grpSpPr>
          <a:xfrm>
            <a:off x="6258737" y="1508551"/>
            <a:ext cx="351498" cy="469352"/>
            <a:chOff x="5403057" y="4924490"/>
            <a:chExt cx="269876" cy="360363"/>
          </a:xfrm>
          <a:solidFill>
            <a:schemeClr val="bg1"/>
          </a:solidFill>
        </p:grpSpPr>
        <p:grpSp>
          <p:nvGrpSpPr>
            <p:cNvPr id="37" name="Group 36">
              <a:extLst>
                <a:ext uri="{FF2B5EF4-FFF2-40B4-BE49-F238E27FC236}">
                  <a16:creationId xmlns:a16="http://schemas.microsoft.com/office/drawing/2014/main" id="{2F060C55-72AC-BFAF-0F28-480BAB4ABBA1}"/>
                </a:ext>
              </a:extLst>
            </p:cNvPr>
            <p:cNvGrpSpPr/>
            <p:nvPr/>
          </p:nvGrpSpPr>
          <p:grpSpPr>
            <a:xfrm>
              <a:off x="5403057" y="4924490"/>
              <a:ext cx="269876" cy="360363"/>
              <a:chOff x="4906963" y="5078414"/>
              <a:chExt cx="269876" cy="360363"/>
            </a:xfrm>
            <a:grpFill/>
          </p:grpSpPr>
          <p:sp>
            <p:nvSpPr>
              <p:cNvPr id="41" name="Freeform 151">
                <a:extLst>
                  <a:ext uri="{FF2B5EF4-FFF2-40B4-BE49-F238E27FC236}">
                    <a16:creationId xmlns:a16="http://schemas.microsoft.com/office/drawing/2014/main" id="{1DC0A04E-D978-7679-2D0E-42B347A6B031}"/>
                  </a:ext>
                </a:extLst>
              </p:cNvPr>
              <p:cNvSpPr>
                <a:spLocks/>
              </p:cNvSpPr>
              <p:nvPr/>
            </p:nvSpPr>
            <p:spPr bwMode="auto">
              <a:xfrm>
                <a:off x="4906963" y="5108577"/>
                <a:ext cx="180975" cy="300038"/>
              </a:xfrm>
              <a:custGeom>
                <a:avLst/>
                <a:gdLst>
                  <a:gd name="T0" fmla="*/ 230 w 792"/>
                  <a:gd name="T1" fmla="*/ 1322 h 1322"/>
                  <a:gd name="T2" fmla="*/ 184 w 792"/>
                  <a:gd name="T3" fmla="*/ 1318 h 1322"/>
                  <a:gd name="T4" fmla="*/ 140 w 792"/>
                  <a:gd name="T5" fmla="*/ 1305 h 1322"/>
                  <a:gd name="T6" fmla="*/ 101 w 792"/>
                  <a:gd name="T7" fmla="*/ 1283 h 1322"/>
                  <a:gd name="T8" fmla="*/ 67 w 792"/>
                  <a:gd name="T9" fmla="*/ 1255 h 1322"/>
                  <a:gd name="T10" fmla="*/ 39 w 792"/>
                  <a:gd name="T11" fmla="*/ 1220 h 1322"/>
                  <a:gd name="T12" fmla="*/ 17 w 792"/>
                  <a:gd name="T13" fmla="*/ 1180 h 1322"/>
                  <a:gd name="T14" fmla="*/ 4 w 792"/>
                  <a:gd name="T15" fmla="*/ 1137 h 1322"/>
                  <a:gd name="T16" fmla="*/ 0 w 792"/>
                  <a:gd name="T17" fmla="*/ 1090 h 1322"/>
                  <a:gd name="T18" fmla="*/ 0 w 792"/>
                  <a:gd name="T19" fmla="*/ 232 h 1322"/>
                  <a:gd name="T20" fmla="*/ 4 w 792"/>
                  <a:gd name="T21" fmla="*/ 185 h 1322"/>
                  <a:gd name="T22" fmla="*/ 17 w 792"/>
                  <a:gd name="T23" fmla="*/ 142 h 1322"/>
                  <a:gd name="T24" fmla="*/ 39 w 792"/>
                  <a:gd name="T25" fmla="*/ 102 h 1322"/>
                  <a:gd name="T26" fmla="*/ 67 w 792"/>
                  <a:gd name="T27" fmla="*/ 68 h 1322"/>
                  <a:gd name="T28" fmla="*/ 101 w 792"/>
                  <a:gd name="T29" fmla="*/ 40 h 1322"/>
                  <a:gd name="T30" fmla="*/ 140 w 792"/>
                  <a:gd name="T31" fmla="*/ 18 h 1322"/>
                  <a:gd name="T32" fmla="*/ 184 w 792"/>
                  <a:gd name="T33" fmla="*/ 5 h 1322"/>
                  <a:gd name="T34" fmla="*/ 230 w 792"/>
                  <a:gd name="T35" fmla="*/ 0 h 1322"/>
                  <a:gd name="T36" fmla="*/ 759 w 792"/>
                  <a:gd name="T37" fmla="*/ 0 h 1322"/>
                  <a:gd name="T38" fmla="*/ 773 w 792"/>
                  <a:gd name="T39" fmla="*/ 3 h 1322"/>
                  <a:gd name="T40" fmla="*/ 783 w 792"/>
                  <a:gd name="T41" fmla="*/ 10 h 1322"/>
                  <a:gd name="T42" fmla="*/ 790 w 792"/>
                  <a:gd name="T43" fmla="*/ 20 h 1322"/>
                  <a:gd name="T44" fmla="*/ 792 w 792"/>
                  <a:gd name="T45" fmla="*/ 33 h 1322"/>
                  <a:gd name="T46" fmla="*/ 792 w 792"/>
                  <a:gd name="T47" fmla="*/ 40 h 1322"/>
                  <a:gd name="T48" fmla="*/ 787 w 792"/>
                  <a:gd name="T49" fmla="*/ 51 h 1322"/>
                  <a:gd name="T50" fmla="*/ 778 w 792"/>
                  <a:gd name="T51" fmla="*/ 61 h 1322"/>
                  <a:gd name="T52" fmla="*/ 767 w 792"/>
                  <a:gd name="T53" fmla="*/ 66 h 1322"/>
                  <a:gd name="T54" fmla="*/ 230 w 792"/>
                  <a:gd name="T55" fmla="*/ 66 h 1322"/>
                  <a:gd name="T56" fmla="*/ 214 w 792"/>
                  <a:gd name="T57" fmla="*/ 67 h 1322"/>
                  <a:gd name="T58" fmla="*/ 182 w 792"/>
                  <a:gd name="T59" fmla="*/ 73 h 1322"/>
                  <a:gd name="T60" fmla="*/ 152 w 792"/>
                  <a:gd name="T61" fmla="*/ 87 h 1322"/>
                  <a:gd name="T62" fmla="*/ 126 w 792"/>
                  <a:gd name="T63" fmla="*/ 104 h 1322"/>
                  <a:gd name="T64" fmla="*/ 103 w 792"/>
                  <a:gd name="T65" fmla="*/ 126 h 1322"/>
                  <a:gd name="T66" fmla="*/ 86 w 792"/>
                  <a:gd name="T67" fmla="*/ 153 h 1322"/>
                  <a:gd name="T68" fmla="*/ 73 w 792"/>
                  <a:gd name="T69" fmla="*/ 182 h 1322"/>
                  <a:gd name="T70" fmla="*/ 66 w 792"/>
                  <a:gd name="T71" fmla="*/ 215 h 1322"/>
                  <a:gd name="T72" fmla="*/ 66 w 792"/>
                  <a:gd name="T73" fmla="*/ 1090 h 1322"/>
                  <a:gd name="T74" fmla="*/ 66 w 792"/>
                  <a:gd name="T75" fmla="*/ 1108 h 1322"/>
                  <a:gd name="T76" fmla="*/ 73 w 792"/>
                  <a:gd name="T77" fmla="*/ 1140 h 1322"/>
                  <a:gd name="T78" fmla="*/ 86 w 792"/>
                  <a:gd name="T79" fmla="*/ 1170 h 1322"/>
                  <a:gd name="T80" fmla="*/ 103 w 792"/>
                  <a:gd name="T81" fmla="*/ 1196 h 1322"/>
                  <a:gd name="T82" fmla="*/ 126 w 792"/>
                  <a:gd name="T83" fmla="*/ 1219 h 1322"/>
                  <a:gd name="T84" fmla="*/ 152 w 792"/>
                  <a:gd name="T85" fmla="*/ 1236 h 1322"/>
                  <a:gd name="T86" fmla="*/ 182 w 792"/>
                  <a:gd name="T87" fmla="*/ 1249 h 1322"/>
                  <a:gd name="T88" fmla="*/ 214 w 792"/>
                  <a:gd name="T89" fmla="*/ 1255 h 1322"/>
                  <a:gd name="T90" fmla="*/ 230 w 792"/>
                  <a:gd name="T91" fmla="*/ 1256 h 1322"/>
                  <a:gd name="T92" fmla="*/ 244 w 792"/>
                  <a:gd name="T93" fmla="*/ 1259 h 1322"/>
                  <a:gd name="T94" fmla="*/ 254 w 792"/>
                  <a:gd name="T95" fmla="*/ 1266 h 1322"/>
                  <a:gd name="T96" fmla="*/ 262 w 792"/>
                  <a:gd name="T97" fmla="*/ 1277 h 1322"/>
                  <a:gd name="T98" fmla="*/ 264 w 792"/>
                  <a:gd name="T99" fmla="*/ 1289 h 1322"/>
                  <a:gd name="T100" fmla="*/ 264 w 792"/>
                  <a:gd name="T101" fmla="*/ 1296 h 1322"/>
                  <a:gd name="T102" fmla="*/ 258 w 792"/>
                  <a:gd name="T103" fmla="*/ 1308 h 1322"/>
                  <a:gd name="T104" fmla="*/ 249 w 792"/>
                  <a:gd name="T105" fmla="*/ 1317 h 1322"/>
                  <a:gd name="T106" fmla="*/ 238 w 792"/>
                  <a:gd name="T107" fmla="*/ 1321 h 1322"/>
                  <a:gd name="T108" fmla="*/ 230 w 792"/>
                  <a:gd name="T109" fmla="*/ 1322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92" h="1322">
                    <a:moveTo>
                      <a:pt x="230" y="1322"/>
                    </a:moveTo>
                    <a:lnTo>
                      <a:pt x="230" y="1322"/>
                    </a:lnTo>
                    <a:lnTo>
                      <a:pt x="207" y="1321"/>
                    </a:lnTo>
                    <a:lnTo>
                      <a:pt x="184" y="1318"/>
                    </a:lnTo>
                    <a:lnTo>
                      <a:pt x="162" y="1312"/>
                    </a:lnTo>
                    <a:lnTo>
                      <a:pt x="140" y="1305"/>
                    </a:lnTo>
                    <a:lnTo>
                      <a:pt x="121" y="1294"/>
                    </a:lnTo>
                    <a:lnTo>
                      <a:pt x="101" y="1283"/>
                    </a:lnTo>
                    <a:lnTo>
                      <a:pt x="84" y="1269"/>
                    </a:lnTo>
                    <a:lnTo>
                      <a:pt x="67" y="1255"/>
                    </a:lnTo>
                    <a:lnTo>
                      <a:pt x="52" y="1238"/>
                    </a:lnTo>
                    <a:lnTo>
                      <a:pt x="39" y="1220"/>
                    </a:lnTo>
                    <a:lnTo>
                      <a:pt x="28" y="1201"/>
                    </a:lnTo>
                    <a:lnTo>
                      <a:pt x="17" y="1180"/>
                    </a:lnTo>
                    <a:lnTo>
                      <a:pt x="10" y="1160"/>
                    </a:lnTo>
                    <a:lnTo>
                      <a:pt x="4" y="1137"/>
                    </a:lnTo>
                    <a:lnTo>
                      <a:pt x="1" y="1114"/>
                    </a:lnTo>
                    <a:lnTo>
                      <a:pt x="0" y="1090"/>
                    </a:lnTo>
                    <a:lnTo>
                      <a:pt x="0" y="232"/>
                    </a:lnTo>
                    <a:lnTo>
                      <a:pt x="0" y="232"/>
                    </a:lnTo>
                    <a:lnTo>
                      <a:pt x="1" y="208"/>
                    </a:lnTo>
                    <a:lnTo>
                      <a:pt x="4" y="185"/>
                    </a:lnTo>
                    <a:lnTo>
                      <a:pt x="10" y="163"/>
                    </a:lnTo>
                    <a:lnTo>
                      <a:pt x="17" y="142"/>
                    </a:lnTo>
                    <a:lnTo>
                      <a:pt x="28" y="121"/>
                    </a:lnTo>
                    <a:lnTo>
                      <a:pt x="39" y="102"/>
                    </a:lnTo>
                    <a:lnTo>
                      <a:pt x="52" y="85"/>
                    </a:lnTo>
                    <a:lnTo>
                      <a:pt x="67" y="68"/>
                    </a:lnTo>
                    <a:lnTo>
                      <a:pt x="84" y="53"/>
                    </a:lnTo>
                    <a:lnTo>
                      <a:pt x="101" y="40"/>
                    </a:lnTo>
                    <a:lnTo>
                      <a:pt x="121" y="28"/>
                    </a:lnTo>
                    <a:lnTo>
                      <a:pt x="140" y="18"/>
                    </a:lnTo>
                    <a:lnTo>
                      <a:pt x="162" y="10"/>
                    </a:lnTo>
                    <a:lnTo>
                      <a:pt x="184" y="5"/>
                    </a:lnTo>
                    <a:lnTo>
                      <a:pt x="207" y="1"/>
                    </a:lnTo>
                    <a:lnTo>
                      <a:pt x="230" y="0"/>
                    </a:lnTo>
                    <a:lnTo>
                      <a:pt x="759" y="0"/>
                    </a:lnTo>
                    <a:lnTo>
                      <a:pt x="759" y="0"/>
                    </a:lnTo>
                    <a:lnTo>
                      <a:pt x="767" y="1"/>
                    </a:lnTo>
                    <a:lnTo>
                      <a:pt x="773" y="3"/>
                    </a:lnTo>
                    <a:lnTo>
                      <a:pt x="778" y="6"/>
                    </a:lnTo>
                    <a:lnTo>
                      <a:pt x="783" y="10"/>
                    </a:lnTo>
                    <a:lnTo>
                      <a:pt x="787" y="14"/>
                    </a:lnTo>
                    <a:lnTo>
                      <a:pt x="790" y="20"/>
                    </a:lnTo>
                    <a:lnTo>
                      <a:pt x="792" y="27"/>
                    </a:lnTo>
                    <a:lnTo>
                      <a:pt x="792" y="33"/>
                    </a:lnTo>
                    <a:lnTo>
                      <a:pt x="792" y="33"/>
                    </a:lnTo>
                    <a:lnTo>
                      <a:pt x="792" y="40"/>
                    </a:lnTo>
                    <a:lnTo>
                      <a:pt x="790" y="46"/>
                    </a:lnTo>
                    <a:lnTo>
                      <a:pt x="787" y="51"/>
                    </a:lnTo>
                    <a:lnTo>
                      <a:pt x="783" y="57"/>
                    </a:lnTo>
                    <a:lnTo>
                      <a:pt x="778" y="61"/>
                    </a:lnTo>
                    <a:lnTo>
                      <a:pt x="773" y="64"/>
                    </a:lnTo>
                    <a:lnTo>
                      <a:pt x="767" y="66"/>
                    </a:lnTo>
                    <a:lnTo>
                      <a:pt x="759" y="66"/>
                    </a:lnTo>
                    <a:lnTo>
                      <a:pt x="230" y="66"/>
                    </a:lnTo>
                    <a:lnTo>
                      <a:pt x="230" y="66"/>
                    </a:lnTo>
                    <a:lnTo>
                      <a:pt x="214" y="67"/>
                    </a:lnTo>
                    <a:lnTo>
                      <a:pt x="197" y="69"/>
                    </a:lnTo>
                    <a:lnTo>
                      <a:pt x="182" y="73"/>
                    </a:lnTo>
                    <a:lnTo>
                      <a:pt x="166" y="79"/>
                    </a:lnTo>
                    <a:lnTo>
                      <a:pt x="152" y="87"/>
                    </a:lnTo>
                    <a:lnTo>
                      <a:pt x="138" y="95"/>
                    </a:lnTo>
                    <a:lnTo>
                      <a:pt x="126" y="104"/>
                    </a:lnTo>
                    <a:lnTo>
                      <a:pt x="114" y="115"/>
                    </a:lnTo>
                    <a:lnTo>
                      <a:pt x="103" y="126"/>
                    </a:lnTo>
                    <a:lnTo>
                      <a:pt x="94" y="139"/>
                    </a:lnTo>
                    <a:lnTo>
                      <a:pt x="86" y="153"/>
                    </a:lnTo>
                    <a:lnTo>
                      <a:pt x="78" y="167"/>
                    </a:lnTo>
                    <a:lnTo>
                      <a:pt x="73" y="182"/>
                    </a:lnTo>
                    <a:lnTo>
                      <a:pt x="69" y="198"/>
                    </a:lnTo>
                    <a:lnTo>
                      <a:pt x="66" y="215"/>
                    </a:lnTo>
                    <a:lnTo>
                      <a:pt x="66" y="232"/>
                    </a:lnTo>
                    <a:lnTo>
                      <a:pt x="66" y="1090"/>
                    </a:lnTo>
                    <a:lnTo>
                      <a:pt x="66" y="1090"/>
                    </a:lnTo>
                    <a:lnTo>
                      <a:pt x="66" y="1108"/>
                    </a:lnTo>
                    <a:lnTo>
                      <a:pt x="69" y="1124"/>
                    </a:lnTo>
                    <a:lnTo>
                      <a:pt x="73" y="1140"/>
                    </a:lnTo>
                    <a:lnTo>
                      <a:pt x="78" y="1156"/>
                    </a:lnTo>
                    <a:lnTo>
                      <a:pt x="86" y="1170"/>
                    </a:lnTo>
                    <a:lnTo>
                      <a:pt x="94" y="1183"/>
                    </a:lnTo>
                    <a:lnTo>
                      <a:pt x="103" y="1196"/>
                    </a:lnTo>
                    <a:lnTo>
                      <a:pt x="114" y="1207"/>
                    </a:lnTo>
                    <a:lnTo>
                      <a:pt x="126" y="1219"/>
                    </a:lnTo>
                    <a:lnTo>
                      <a:pt x="138" y="1228"/>
                    </a:lnTo>
                    <a:lnTo>
                      <a:pt x="152" y="1236"/>
                    </a:lnTo>
                    <a:lnTo>
                      <a:pt x="166" y="1243"/>
                    </a:lnTo>
                    <a:lnTo>
                      <a:pt x="182" y="1249"/>
                    </a:lnTo>
                    <a:lnTo>
                      <a:pt x="197" y="1253"/>
                    </a:lnTo>
                    <a:lnTo>
                      <a:pt x="214" y="1255"/>
                    </a:lnTo>
                    <a:lnTo>
                      <a:pt x="230" y="1256"/>
                    </a:lnTo>
                    <a:lnTo>
                      <a:pt x="230" y="1256"/>
                    </a:lnTo>
                    <a:lnTo>
                      <a:pt x="238" y="1257"/>
                    </a:lnTo>
                    <a:lnTo>
                      <a:pt x="244" y="1259"/>
                    </a:lnTo>
                    <a:lnTo>
                      <a:pt x="249" y="1262"/>
                    </a:lnTo>
                    <a:lnTo>
                      <a:pt x="254" y="1266"/>
                    </a:lnTo>
                    <a:lnTo>
                      <a:pt x="258" y="1270"/>
                    </a:lnTo>
                    <a:lnTo>
                      <a:pt x="262" y="1277"/>
                    </a:lnTo>
                    <a:lnTo>
                      <a:pt x="264" y="1283"/>
                    </a:lnTo>
                    <a:lnTo>
                      <a:pt x="264" y="1289"/>
                    </a:lnTo>
                    <a:lnTo>
                      <a:pt x="264" y="1289"/>
                    </a:lnTo>
                    <a:lnTo>
                      <a:pt x="264" y="1296"/>
                    </a:lnTo>
                    <a:lnTo>
                      <a:pt x="262" y="1302"/>
                    </a:lnTo>
                    <a:lnTo>
                      <a:pt x="258" y="1308"/>
                    </a:lnTo>
                    <a:lnTo>
                      <a:pt x="254" y="1313"/>
                    </a:lnTo>
                    <a:lnTo>
                      <a:pt x="249" y="1317"/>
                    </a:lnTo>
                    <a:lnTo>
                      <a:pt x="244" y="1320"/>
                    </a:lnTo>
                    <a:lnTo>
                      <a:pt x="238" y="1321"/>
                    </a:lnTo>
                    <a:lnTo>
                      <a:pt x="230" y="1322"/>
                    </a:lnTo>
                    <a:lnTo>
                      <a:pt x="230" y="13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2" name="Freeform 152">
                <a:extLst>
                  <a:ext uri="{FF2B5EF4-FFF2-40B4-BE49-F238E27FC236}">
                    <a16:creationId xmlns:a16="http://schemas.microsoft.com/office/drawing/2014/main" id="{04220F85-E516-A94E-1A25-5696EE13FABA}"/>
                  </a:ext>
                </a:extLst>
              </p:cNvPr>
              <p:cNvSpPr>
                <a:spLocks/>
              </p:cNvSpPr>
              <p:nvPr/>
            </p:nvSpPr>
            <p:spPr bwMode="auto">
              <a:xfrm>
                <a:off x="4997451" y="5108577"/>
                <a:ext cx="179388" cy="300038"/>
              </a:xfrm>
              <a:custGeom>
                <a:avLst/>
                <a:gdLst>
                  <a:gd name="T0" fmla="*/ 33 w 794"/>
                  <a:gd name="T1" fmla="*/ 1322 h 1322"/>
                  <a:gd name="T2" fmla="*/ 27 w 794"/>
                  <a:gd name="T3" fmla="*/ 1321 h 1322"/>
                  <a:gd name="T4" fmla="*/ 15 w 794"/>
                  <a:gd name="T5" fmla="*/ 1317 h 1322"/>
                  <a:gd name="T6" fmla="*/ 6 w 794"/>
                  <a:gd name="T7" fmla="*/ 1308 h 1322"/>
                  <a:gd name="T8" fmla="*/ 1 w 794"/>
                  <a:gd name="T9" fmla="*/ 1296 h 1322"/>
                  <a:gd name="T10" fmla="*/ 0 w 794"/>
                  <a:gd name="T11" fmla="*/ 1289 h 1322"/>
                  <a:gd name="T12" fmla="*/ 3 w 794"/>
                  <a:gd name="T13" fmla="*/ 1277 h 1322"/>
                  <a:gd name="T14" fmla="*/ 9 w 794"/>
                  <a:gd name="T15" fmla="*/ 1266 h 1322"/>
                  <a:gd name="T16" fmla="*/ 21 w 794"/>
                  <a:gd name="T17" fmla="*/ 1259 h 1322"/>
                  <a:gd name="T18" fmla="*/ 33 w 794"/>
                  <a:gd name="T19" fmla="*/ 1256 h 1322"/>
                  <a:gd name="T20" fmla="*/ 562 w 794"/>
                  <a:gd name="T21" fmla="*/ 1256 h 1322"/>
                  <a:gd name="T22" fmla="*/ 595 w 794"/>
                  <a:gd name="T23" fmla="*/ 1253 h 1322"/>
                  <a:gd name="T24" fmla="*/ 626 w 794"/>
                  <a:gd name="T25" fmla="*/ 1243 h 1322"/>
                  <a:gd name="T26" fmla="*/ 654 w 794"/>
                  <a:gd name="T27" fmla="*/ 1228 h 1322"/>
                  <a:gd name="T28" fmla="*/ 679 w 794"/>
                  <a:gd name="T29" fmla="*/ 1207 h 1322"/>
                  <a:gd name="T30" fmla="*/ 700 w 794"/>
                  <a:gd name="T31" fmla="*/ 1183 h 1322"/>
                  <a:gd name="T32" fmla="*/ 714 w 794"/>
                  <a:gd name="T33" fmla="*/ 1156 h 1322"/>
                  <a:gd name="T34" fmla="*/ 724 w 794"/>
                  <a:gd name="T35" fmla="*/ 1124 h 1322"/>
                  <a:gd name="T36" fmla="*/ 728 w 794"/>
                  <a:gd name="T37" fmla="*/ 1090 h 1322"/>
                  <a:gd name="T38" fmla="*/ 728 w 794"/>
                  <a:gd name="T39" fmla="*/ 232 h 1322"/>
                  <a:gd name="T40" fmla="*/ 724 w 794"/>
                  <a:gd name="T41" fmla="*/ 198 h 1322"/>
                  <a:gd name="T42" fmla="*/ 714 w 794"/>
                  <a:gd name="T43" fmla="*/ 167 h 1322"/>
                  <a:gd name="T44" fmla="*/ 700 w 794"/>
                  <a:gd name="T45" fmla="*/ 139 h 1322"/>
                  <a:gd name="T46" fmla="*/ 679 w 794"/>
                  <a:gd name="T47" fmla="*/ 115 h 1322"/>
                  <a:gd name="T48" fmla="*/ 654 w 794"/>
                  <a:gd name="T49" fmla="*/ 95 h 1322"/>
                  <a:gd name="T50" fmla="*/ 626 w 794"/>
                  <a:gd name="T51" fmla="*/ 79 h 1322"/>
                  <a:gd name="T52" fmla="*/ 595 w 794"/>
                  <a:gd name="T53" fmla="*/ 69 h 1322"/>
                  <a:gd name="T54" fmla="*/ 562 w 794"/>
                  <a:gd name="T55" fmla="*/ 66 h 1322"/>
                  <a:gd name="T56" fmla="*/ 556 w 794"/>
                  <a:gd name="T57" fmla="*/ 66 h 1322"/>
                  <a:gd name="T58" fmla="*/ 543 w 794"/>
                  <a:gd name="T59" fmla="*/ 61 h 1322"/>
                  <a:gd name="T60" fmla="*/ 535 w 794"/>
                  <a:gd name="T61" fmla="*/ 51 h 1322"/>
                  <a:gd name="T62" fmla="*/ 530 w 794"/>
                  <a:gd name="T63" fmla="*/ 40 h 1322"/>
                  <a:gd name="T64" fmla="*/ 529 w 794"/>
                  <a:gd name="T65" fmla="*/ 33 h 1322"/>
                  <a:gd name="T66" fmla="*/ 532 w 794"/>
                  <a:gd name="T67" fmla="*/ 20 h 1322"/>
                  <a:gd name="T68" fmla="*/ 539 w 794"/>
                  <a:gd name="T69" fmla="*/ 10 h 1322"/>
                  <a:gd name="T70" fmla="*/ 550 w 794"/>
                  <a:gd name="T71" fmla="*/ 3 h 1322"/>
                  <a:gd name="T72" fmla="*/ 562 w 794"/>
                  <a:gd name="T73" fmla="*/ 0 h 1322"/>
                  <a:gd name="T74" fmla="*/ 586 w 794"/>
                  <a:gd name="T75" fmla="*/ 1 h 1322"/>
                  <a:gd name="T76" fmla="*/ 631 w 794"/>
                  <a:gd name="T77" fmla="*/ 10 h 1322"/>
                  <a:gd name="T78" fmla="*/ 673 w 794"/>
                  <a:gd name="T79" fmla="*/ 28 h 1322"/>
                  <a:gd name="T80" fmla="*/ 709 w 794"/>
                  <a:gd name="T81" fmla="*/ 53 h 1322"/>
                  <a:gd name="T82" fmla="*/ 741 w 794"/>
                  <a:gd name="T83" fmla="*/ 85 h 1322"/>
                  <a:gd name="T84" fmla="*/ 766 w 794"/>
                  <a:gd name="T85" fmla="*/ 121 h 1322"/>
                  <a:gd name="T86" fmla="*/ 783 w 794"/>
                  <a:gd name="T87" fmla="*/ 163 h 1322"/>
                  <a:gd name="T88" fmla="*/ 793 w 794"/>
                  <a:gd name="T89" fmla="*/ 208 h 1322"/>
                  <a:gd name="T90" fmla="*/ 794 w 794"/>
                  <a:gd name="T91" fmla="*/ 1090 h 1322"/>
                  <a:gd name="T92" fmla="*/ 793 w 794"/>
                  <a:gd name="T93" fmla="*/ 1114 h 1322"/>
                  <a:gd name="T94" fmla="*/ 783 w 794"/>
                  <a:gd name="T95" fmla="*/ 1160 h 1322"/>
                  <a:gd name="T96" fmla="*/ 766 w 794"/>
                  <a:gd name="T97" fmla="*/ 1201 h 1322"/>
                  <a:gd name="T98" fmla="*/ 741 w 794"/>
                  <a:gd name="T99" fmla="*/ 1238 h 1322"/>
                  <a:gd name="T100" fmla="*/ 709 w 794"/>
                  <a:gd name="T101" fmla="*/ 1269 h 1322"/>
                  <a:gd name="T102" fmla="*/ 673 w 794"/>
                  <a:gd name="T103" fmla="*/ 1294 h 1322"/>
                  <a:gd name="T104" fmla="*/ 631 w 794"/>
                  <a:gd name="T105" fmla="*/ 1312 h 1322"/>
                  <a:gd name="T106" fmla="*/ 586 w 794"/>
                  <a:gd name="T107" fmla="*/ 1321 h 1322"/>
                  <a:gd name="T108" fmla="*/ 562 w 794"/>
                  <a:gd name="T109" fmla="*/ 1322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94" h="1322">
                    <a:moveTo>
                      <a:pt x="562" y="1322"/>
                    </a:moveTo>
                    <a:lnTo>
                      <a:pt x="33" y="1322"/>
                    </a:lnTo>
                    <a:lnTo>
                      <a:pt x="33" y="1322"/>
                    </a:lnTo>
                    <a:lnTo>
                      <a:pt x="27" y="1321"/>
                    </a:lnTo>
                    <a:lnTo>
                      <a:pt x="21" y="1320"/>
                    </a:lnTo>
                    <a:lnTo>
                      <a:pt x="15" y="1317"/>
                    </a:lnTo>
                    <a:lnTo>
                      <a:pt x="9" y="1313"/>
                    </a:lnTo>
                    <a:lnTo>
                      <a:pt x="6" y="1308"/>
                    </a:lnTo>
                    <a:lnTo>
                      <a:pt x="3" y="1302"/>
                    </a:lnTo>
                    <a:lnTo>
                      <a:pt x="1" y="1296"/>
                    </a:lnTo>
                    <a:lnTo>
                      <a:pt x="0" y="1289"/>
                    </a:lnTo>
                    <a:lnTo>
                      <a:pt x="0" y="1289"/>
                    </a:lnTo>
                    <a:lnTo>
                      <a:pt x="1" y="1283"/>
                    </a:lnTo>
                    <a:lnTo>
                      <a:pt x="3" y="1277"/>
                    </a:lnTo>
                    <a:lnTo>
                      <a:pt x="6" y="1270"/>
                    </a:lnTo>
                    <a:lnTo>
                      <a:pt x="9" y="1266"/>
                    </a:lnTo>
                    <a:lnTo>
                      <a:pt x="15" y="1262"/>
                    </a:lnTo>
                    <a:lnTo>
                      <a:pt x="21" y="1259"/>
                    </a:lnTo>
                    <a:lnTo>
                      <a:pt x="27" y="1257"/>
                    </a:lnTo>
                    <a:lnTo>
                      <a:pt x="33" y="1256"/>
                    </a:lnTo>
                    <a:lnTo>
                      <a:pt x="562" y="1256"/>
                    </a:lnTo>
                    <a:lnTo>
                      <a:pt x="562" y="1256"/>
                    </a:lnTo>
                    <a:lnTo>
                      <a:pt x="579" y="1255"/>
                    </a:lnTo>
                    <a:lnTo>
                      <a:pt x="595" y="1253"/>
                    </a:lnTo>
                    <a:lnTo>
                      <a:pt x="612" y="1249"/>
                    </a:lnTo>
                    <a:lnTo>
                      <a:pt x="626" y="1243"/>
                    </a:lnTo>
                    <a:lnTo>
                      <a:pt x="641" y="1236"/>
                    </a:lnTo>
                    <a:lnTo>
                      <a:pt x="654" y="1228"/>
                    </a:lnTo>
                    <a:lnTo>
                      <a:pt x="668" y="1219"/>
                    </a:lnTo>
                    <a:lnTo>
                      <a:pt x="679" y="1207"/>
                    </a:lnTo>
                    <a:lnTo>
                      <a:pt x="689" y="1196"/>
                    </a:lnTo>
                    <a:lnTo>
                      <a:pt x="700" y="1183"/>
                    </a:lnTo>
                    <a:lnTo>
                      <a:pt x="708" y="1170"/>
                    </a:lnTo>
                    <a:lnTo>
                      <a:pt x="714" y="1156"/>
                    </a:lnTo>
                    <a:lnTo>
                      <a:pt x="720" y="1140"/>
                    </a:lnTo>
                    <a:lnTo>
                      <a:pt x="724" y="1124"/>
                    </a:lnTo>
                    <a:lnTo>
                      <a:pt x="727" y="1108"/>
                    </a:lnTo>
                    <a:lnTo>
                      <a:pt x="728" y="1090"/>
                    </a:lnTo>
                    <a:lnTo>
                      <a:pt x="728" y="232"/>
                    </a:lnTo>
                    <a:lnTo>
                      <a:pt x="728" y="232"/>
                    </a:lnTo>
                    <a:lnTo>
                      <a:pt x="727" y="215"/>
                    </a:lnTo>
                    <a:lnTo>
                      <a:pt x="724" y="198"/>
                    </a:lnTo>
                    <a:lnTo>
                      <a:pt x="720" y="182"/>
                    </a:lnTo>
                    <a:lnTo>
                      <a:pt x="714" y="167"/>
                    </a:lnTo>
                    <a:lnTo>
                      <a:pt x="708" y="153"/>
                    </a:lnTo>
                    <a:lnTo>
                      <a:pt x="700" y="139"/>
                    </a:lnTo>
                    <a:lnTo>
                      <a:pt x="689" y="126"/>
                    </a:lnTo>
                    <a:lnTo>
                      <a:pt x="679" y="115"/>
                    </a:lnTo>
                    <a:lnTo>
                      <a:pt x="668" y="104"/>
                    </a:lnTo>
                    <a:lnTo>
                      <a:pt x="654" y="95"/>
                    </a:lnTo>
                    <a:lnTo>
                      <a:pt x="641" y="87"/>
                    </a:lnTo>
                    <a:lnTo>
                      <a:pt x="626" y="79"/>
                    </a:lnTo>
                    <a:lnTo>
                      <a:pt x="612" y="73"/>
                    </a:lnTo>
                    <a:lnTo>
                      <a:pt x="595" y="69"/>
                    </a:lnTo>
                    <a:lnTo>
                      <a:pt x="579" y="67"/>
                    </a:lnTo>
                    <a:lnTo>
                      <a:pt x="562" y="66"/>
                    </a:lnTo>
                    <a:lnTo>
                      <a:pt x="562" y="66"/>
                    </a:lnTo>
                    <a:lnTo>
                      <a:pt x="556" y="66"/>
                    </a:lnTo>
                    <a:lnTo>
                      <a:pt x="550" y="64"/>
                    </a:lnTo>
                    <a:lnTo>
                      <a:pt x="543" y="61"/>
                    </a:lnTo>
                    <a:lnTo>
                      <a:pt x="539" y="57"/>
                    </a:lnTo>
                    <a:lnTo>
                      <a:pt x="535" y="51"/>
                    </a:lnTo>
                    <a:lnTo>
                      <a:pt x="532" y="46"/>
                    </a:lnTo>
                    <a:lnTo>
                      <a:pt x="530" y="40"/>
                    </a:lnTo>
                    <a:lnTo>
                      <a:pt x="529" y="33"/>
                    </a:lnTo>
                    <a:lnTo>
                      <a:pt x="529" y="33"/>
                    </a:lnTo>
                    <a:lnTo>
                      <a:pt x="530" y="27"/>
                    </a:lnTo>
                    <a:lnTo>
                      <a:pt x="532" y="20"/>
                    </a:lnTo>
                    <a:lnTo>
                      <a:pt x="535" y="14"/>
                    </a:lnTo>
                    <a:lnTo>
                      <a:pt x="539" y="10"/>
                    </a:lnTo>
                    <a:lnTo>
                      <a:pt x="543" y="6"/>
                    </a:lnTo>
                    <a:lnTo>
                      <a:pt x="550" y="3"/>
                    </a:lnTo>
                    <a:lnTo>
                      <a:pt x="556" y="1"/>
                    </a:lnTo>
                    <a:lnTo>
                      <a:pt x="562" y="0"/>
                    </a:lnTo>
                    <a:lnTo>
                      <a:pt x="562" y="0"/>
                    </a:lnTo>
                    <a:lnTo>
                      <a:pt x="586" y="1"/>
                    </a:lnTo>
                    <a:lnTo>
                      <a:pt x="609" y="5"/>
                    </a:lnTo>
                    <a:lnTo>
                      <a:pt x="631" y="10"/>
                    </a:lnTo>
                    <a:lnTo>
                      <a:pt x="652" y="18"/>
                    </a:lnTo>
                    <a:lnTo>
                      <a:pt x="673" y="28"/>
                    </a:lnTo>
                    <a:lnTo>
                      <a:pt x="691" y="40"/>
                    </a:lnTo>
                    <a:lnTo>
                      <a:pt x="709" y="53"/>
                    </a:lnTo>
                    <a:lnTo>
                      <a:pt x="725" y="68"/>
                    </a:lnTo>
                    <a:lnTo>
                      <a:pt x="741" y="85"/>
                    </a:lnTo>
                    <a:lnTo>
                      <a:pt x="753" y="102"/>
                    </a:lnTo>
                    <a:lnTo>
                      <a:pt x="766" y="121"/>
                    </a:lnTo>
                    <a:lnTo>
                      <a:pt x="775" y="142"/>
                    </a:lnTo>
                    <a:lnTo>
                      <a:pt x="783" y="163"/>
                    </a:lnTo>
                    <a:lnTo>
                      <a:pt x="789" y="185"/>
                    </a:lnTo>
                    <a:lnTo>
                      <a:pt x="793" y="208"/>
                    </a:lnTo>
                    <a:lnTo>
                      <a:pt x="794" y="232"/>
                    </a:lnTo>
                    <a:lnTo>
                      <a:pt x="794" y="1090"/>
                    </a:lnTo>
                    <a:lnTo>
                      <a:pt x="794" y="1090"/>
                    </a:lnTo>
                    <a:lnTo>
                      <a:pt x="793" y="1114"/>
                    </a:lnTo>
                    <a:lnTo>
                      <a:pt x="789" y="1137"/>
                    </a:lnTo>
                    <a:lnTo>
                      <a:pt x="783" y="1160"/>
                    </a:lnTo>
                    <a:lnTo>
                      <a:pt x="775" y="1180"/>
                    </a:lnTo>
                    <a:lnTo>
                      <a:pt x="766" y="1201"/>
                    </a:lnTo>
                    <a:lnTo>
                      <a:pt x="753" y="1220"/>
                    </a:lnTo>
                    <a:lnTo>
                      <a:pt x="741" y="1238"/>
                    </a:lnTo>
                    <a:lnTo>
                      <a:pt x="725" y="1255"/>
                    </a:lnTo>
                    <a:lnTo>
                      <a:pt x="709" y="1269"/>
                    </a:lnTo>
                    <a:lnTo>
                      <a:pt x="691" y="1283"/>
                    </a:lnTo>
                    <a:lnTo>
                      <a:pt x="673" y="1294"/>
                    </a:lnTo>
                    <a:lnTo>
                      <a:pt x="652" y="1305"/>
                    </a:lnTo>
                    <a:lnTo>
                      <a:pt x="631" y="1312"/>
                    </a:lnTo>
                    <a:lnTo>
                      <a:pt x="609" y="1318"/>
                    </a:lnTo>
                    <a:lnTo>
                      <a:pt x="586" y="1321"/>
                    </a:lnTo>
                    <a:lnTo>
                      <a:pt x="562" y="1322"/>
                    </a:lnTo>
                    <a:lnTo>
                      <a:pt x="562" y="13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3" name="Freeform 153">
                <a:extLst>
                  <a:ext uri="{FF2B5EF4-FFF2-40B4-BE49-F238E27FC236}">
                    <a16:creationId xmlns:a16="http://schemas.microsoft.com/office/drawing/2014/main" id="{504BA420-C1BE-827F-3D62-E21F9C66F3A6}"/>
                  </a:ext>
                </a:extLst>
              </p:cNvPr>
              <p:cNvSpPr>
                <a:spLocks/>
              </p:cNvSpPr>
              <p:nvPr/>
            </p:nvSpPr>
            <p:spPr bwMode="auto">
              <a:xfrm>
                <a:off x="5041901" y="5078414"/>
                <a:ext cx="46038" cy="74613"/>
              </a:xfrm>
              <a:custGeom>
                <a:avLst/>
                <a:gdLst>
                  <a:gd name="T0" fmla="*/ 33 w 197"/>
                  <a:gd name="T1" fmla="*/ 330 h 330"/>
                  <a:gd name="T2" fmla="*/ 33 w 197"/>
                  <a:gd name="T3" fmla="*/ 330 h 330"/>
                  <a:gd name="T4" fmla="*/ 27 w 197"/>
                  <a:gd name="T5" fmla="*/ 329 h 330"/>
                  <a:gd name="T6" fmla="*/ 20 w 197"/>
                  <a:gd name="T7" fmla="*/ 328 h 330"/>
                  <a:gd name="T8" fmla="*/ 14 w 197"/>
                  <a:gd name="T9" fmla="*/ 325 h 330"/>
                  <a:gd name="T10" fmla="*/ 9 w 197"/>
                  <a:gd name="T11" fmla="*/ 321 h 330"/>
                  <a:gd name="T12" fmla="*/ 9 w 197"/>
                  <a:gd name="T13" fmla="*/ 321 h 330"/>
                  <a:gd name="T14" fmla="*/ 5 w 197"/>
                  <a:gd name="T15" fmla="*/ 316 h 330"/>
                  <a:gd name="T16" fmla="*/ 2 w 197"/>
                  <a:gd name="T17" fmla="*/ 310 h 330"/>
                  <a:gd name="T18" fmla="*/ 0 w 197"/>
                  <a:gd name="T19" fmla="*/ 304 h 330"/>
                  <a:gd name="T20" fmla="*/ 0 w 197"/>
                  <a:gd name="T21" fmla="*/ 297 h 330"/>
                  <a:gd name="T22" fmla="*/ 0 w 197"/>
                  <a:gd name="T23" fmla="*/ 291 h 330"/>
                  <a:gd name="T24" fmla="*/ 2 w 197"/>
                  <a:gd name="T25" fmla="*/ 285 h 330"/>
                  <a:gd name="T26" fmla="*/ 5 w 197"/>
                  <a:gd name="T27" fmla="*/ 279 h 330"/>
                  <a:gd name="T28" fmla="*/ 9 w 197"/>
                  <a:gd name="T29" fmla="*/ 274 h 330"/>
                  <a:gd name="T30" fmla="*/ 118 w 197"/>
                  <a:gd name="T31" fmla="*/ 165 h 330"/>
                  <a:gd name="T32" fmla="*/ 9 w 197"/>
                  <a:gd name="T33" fmla="*/ 56 h 330"/>
                  <a:gd name="T34" fmla="*/ 9 w 197"/>
                  <a:gd name="T35" fmla="*/ 56 h 330"/>
                  <a:gd name="T36" fmla="*/ 5 w 197"/>
                  <a:gd name="T37" fmla="*/ 51 h 330"/>
                  <a:gd name="T38" fmla="*/ 2 w 197"/>
                  <a:gd name="T39" fmla="*/ 45 h 330"/>
                  <a:gd name="T40" fmla="*/ 0 w 197"/>
                  <a:gd name="T41" fmla="*/ 40 h 330"/>
                  <a:gd name="T42" fmla="*/ 0 w 197"/>
                  <a:gd name="T43" fmla="*/ 32 h 330"/>
                  <a:gd name="T44" fmla="*/ 0 w 197"/>
                  <a:gd name="T45" fmla="*/ 26 h 330"/>
                  <a:gd name="T46" fmla="*/ 2 w 197"/>
                  <a:gd name="T47" fmla="*/ 20 h 330"/>
                  <a:gd name="T48" fmla="*/ 5 w 197"/>
                  <a:gd name="T49" fmla="*/ 15 h 330"/>
                  <a:gd name="T50" fmla="*/ 9 w 197"/>
                  <a:gd name="T51" fmla="*/ 10 h 330"/>
                  <a:gd name="T52" fmla="*/ 9 w 197"/>
                  <a:gd name="T53" fmla="*/ 10 h 330"/>
                  <a:gd name="T54" fmla="*/ 14 w 197"/>
                  <a:gd name="T55" fmla="*/ 6 h 330"/>
                  <a:gd name="T56" fmla="*/ 20 w 197"/>
                  <a:gd name="T57" fmla="*/ 2 h 330"/>
                  <a:gd name="T58" fmla="*/ 27 w 197"/>
                  <a:gd name="T59" fmla="*/ 0 h 330"/>
                  <a:gd name="T60" fmla="*/ 33 w 197"/>
                  <a:gd name="T61" fmla="*/ 0 h 330"/>
                  <a:gd name="T62" fmla="*/ 39 w 197"/>
                  <a:gd name="T63" fmla="*/ 0 h 330"/>
                  <a:gd name="T64" fmla="*/ 45 w 197"/>
                  <a:gd name="T65" fmla="*/ 2 h 330"/>
                  <a:gd name="T66" fmla="*/ 50 w 197"/>
                  <a:gd name="T67" fmla="*/ 6 h 330"/>
                  <a:gd name="T68" fmla="*/ 56 w 197"/>
                  <a:gd name="T69" fmla="*/ 10 h 330"/>
                  <a:gd name="T70" fmla="*/ 188 w 197"/>
                  <a:gd name="T71" fmla="*/ 142 h 330"/>
                  <a:gd name="T72" fmla="*/ 188 w 197"/>
                  <a:gd name="T73" fmla="*/ 142 h 330"/>
                  <a:gd name="T74" fmla="*/ 192 w 197"/>
                  <a:gd name="T75" fmla="*/ 147 h 330"/>
                  <a:gd name="T76" fmla="*/ 195 w 197"/>
                  <a:gd name="T77" fmla="*/ 152 h 330"/>
                  <a:gd name="T78" fmla="*/ 197 w 197"/>
                  <a:gd name="T79" fmla="*/ 159 h 330"/>
                  <a:gd name="T80" fmla="*/ 197 w 197"/>
                  <a:gd name="T81" fmla="*/ 165 h 330"/>
                  <a:gd name="T82" fmla="*/ 197 w 197"/>
                  <a:gd name="T83" fmla="*/ 171 h 330"/>
                  <a:gd name="T84" fmla="*/ 195 w 197"/>
                  <a:gd name="T85" fmla="*/ 177 h 330"/>
                  <a:gd name="T86" fmla="*/ 192 w 197"/>
                  <a:gd name="T87" fmla="*/ 183 h 330"/>
                  <a:gd name="T88" fmla="*/ 188 w 197"/>
                  <a:gd name="T89" fmla="*/ 189 h 330"/>
                  <a:gd name="T90" fmla="*/ 56 w 197"/>
                  <a:gd name="T91" fmla="*/ 321 h 330"/>
                  <a:gd name="T92" fmla="*/ 56 w 197"/>
                  <a:gd name="T93" fmla="*/ 321 h 330"/>
                  <a:gd name="T94" fmla="*/ 50 w 197"/>
                  <a:gd name="T95" fmla="*/ 325 h 330"/>
                  <a:gd name="T96" fmla="*/ 45 w 197"/>
                  <a:gd name="T97" fmla="*/ 328 h 330"/>
                  <a:gd name="T98" fmla="*/ 39 w 197"/>
                  <a:gd name="T99" fmla="*/ 329 h 330"/>
                  <a:gd name="T100" fmla="*/ 33 w 197"/>
                  <a:gd name="T101" fmla="*/ 330 h 330"/>
                  <a:gd name="T102" fmla="*/ 33 w 197"/>
                  <a:gd name="T103"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7" h="330">
                    <a:moveTo>
                      <a:pt x="33" y="330"/>
                    </a:moveTo>
                    <a:lnTo>
                      <a:pt x="33" y="330"/>
                    </a:lnTo>
                    <a:lnTo>
                      <a:pt x="27" y="329"/>
                    </a:lnTo>
                    <a:lnTo>
                      <a:pt x="20" y="328"/>
                    </a:lnTo>
                    <a:lnTo>
                      <a:pt x="14" y="325"/>
                    </a:lnTo>
                    <a:lnTo>
                      <a:pt x="9" y="321"/>
                    </a:lnTo>
                    <a:lnTo>
                      <a:pt x="9" y="321"/>
                    </a:lnTo>
                    <a:lnTo>
                      <a:pt x="5" y="316"/>
                    </a:lnTo>
                    <a:lnTo>
                      <a:pt x="2" y="310"/>
                    </a:lnTo>
                    <a:lnTo>
                      <a:pt x="0" y="304"/>
                    </a:lnTo>
                    <a:lnTo>
                      <a:pt x="0" y="297"/>
                    </a:lnTo>
                    <a:lnTo>
                      <a:pt x="0" y="291"/>
                    </a:lnTo>
                    <a:lnTo>
                      <a:pt x="2" y="285"/>
                    </a:lnTo>
                    <a:lnTo>
                      <a:pt x="5" y="279"/>
                    </a:lnTo>
                    <a:lnTo>
                      <a:pt x="9" y="274"/>
                    </a:lnTo>
                    <a:lnTo>
                      <a:pt x="118" y="165"/>
                    </a:lnTo>
                    <a:lnTo>
                      <a:pt x="9" y="56"/>
                    </a:lnTo>
                    <a:lnTo>
                      <a:pt x="9" y="56"/>
                    </a:lnTo>
                    <a:lnTo>
                      <a:pt x="5" y="51"/>
                    </a:lnTo>
                    <a:lnTo>
                      <a:pt x="2" y="45"/>
                    </a:lnTo>
                    <a:lnTo>
                      <a:pt x="0" y="40"/>
                    </a:lnTo>
                    <a:lnTo>
                      <a:pt x="0" y="32"/>
                    </a:lnTo>
                    <a:lnTo>
                      <a:pt x="0" y="26"/>
                    </a:lnTo>
                    <a:lnTo>
                      <a:pt x="2" y="20"/>
                    </a:lnTo>
                    <a:lnTo>
                      <a:pt x="5" y="15"/>
                    </a:lnTo>
                    <a:lnTo>
                      <a:pt x="9" y="10"/>
                    </a:lnTo>
                    <a:lnTo>
                      <a:pt x="9" y="10"/>
                    </a:lnTo>
                    <a:lnTo>
                      <a:pt x="14" y="6"/>
                    </a:lnTo>
                    <a:lnTo>
                      <a:pt x="20" y="2"/>
                    </a:lnTo>
                    <a:lnTo>
                      <a:pt x="27" y="0"/>
                    </a:lnTo>
                    <a:lnTo>
                      <a:pt x="33" y="0"/>
                    </a:lnTo>
                    <a:lnTo>
                      <a:pt x="39" y="0"/>
                    </a:lnTo>
                    <a:lnTo>
                      <a:pt x="45" y="2"/>
                    </a:lnTo>
                    <a:lnTo>
                      <a:pt x="50" y="6"/>
                    </a:lnTo>
                    <a:lnTo>
                      <a:pt x="56" y="10"/>
                    </a:lnTo>
                    <a:lnTo>
                      <a:pt x="188" y="142"/>
                    </a:lnTo>
                    <a:lnTo>
                      <a:pt x="188" y="142"/>
                    </a:lnTo>
                    <a:lnTo>
                      <a:pt x="192" y="147"/>
                    </a:lnTo>
                    <a:lnTo>
                      <a:pt x="195" y="152"/>
                    </a:lnTo>
                    <a:lnTo>
                      <a:pt x="197" y="159"/>
                    </a:lnTo>
                    <a:lnTo>
                      <a:pt x="197" y="165"/>
                    </a:lnTo>
                    <a:lnTo>
                      <a:pt x="197" y="171"/>
                    </a:lnTo>
                    <a:lnTo>
                      <a:pt x="195" y="177"/>
                    </a:lnTo>
                    <a:lnTo>
                      <a:pt x="192" y="183"/>
                    </a:lnTo>
                    <a:lnTo>
                      <a:pt x="188" y="189"/>
                    </a:lnTo>
                    <a:lnTo>
                      <a:pt x="56" y="321"/>
                    </a:lnTo>
                    <a:lnTo>
                      <a:pt x="56" y="321"/>
                    </a:lnTo>
                    <a:lnTo>
                      <a:pt x="50" y="325"/>
                    </a:lnTo>
                    <a:lnTo>
                      <a:pt x="45" y="328"/>
                    </a:lnTo>
                    <a:lnTo>
                      <a:pt x="39" y="329"/>
                    </a:lnTo>
                    <a:lnTo>
                      <a:pt x="33" y="330"/>
                    </a:lnTo>
                    <a:lnTo>
                      <a:pt x="33"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4" name="Freeform 154">
                <a:extLst>
                  <a:ext uri="{FF2B5EF4-FFF2-40B4-BE49-F238E27FC236}">
                    <a16:creationId xmlns:a16="http://schemas.microsoft.com/office/drawing/2014/main" id="{A9592B68-8472-4DBB-A35F-5A539E9BED16}"/>
                  </a:ext>
                </a:extLst>
              </p:cNvPr>
              <p:cNvSpPr>
                <a:spLocks/>
              </p:cNvSpPr>
              <p:nvPr/>
            </p:nvSpPr>
            <p:spPr bwMode="auto">
              <a:xfrm>
                <a:off x="4997451" y="5362577"/>
                <a:ext cx="44450" cy="76200"/>
              </a:xfrm>
              <a:custGeom>
                <a:avLst/>
                <a:gdLst>
                  <a:gd name="T0" fmla="*/ 166 w 199"/>
                  <a:gd name="T1" fmla="*/ 332 h 332"/>
                  <a:gd name="T2" fmla="*/ 166 w 199"/>
                  <a:gd name="T3" fmla="*/ 332 h 332"/>
                  <a:gd name="T4" fmla="*/ 159 w 199"/>
                  <a:gd name="T5" fmla="*/ 331 h 332"/>
                  <a:gd name="T6" fmla="*/ 153 w 199"/>
                  <a:gd name="T7" fmla="*/ 329 h 332"/>
                  <a:gd name="T8" fmla="*/ 147 w 199"/>
                  <a:gd name="T9" fmla="*/ 326 h 332"/>
                  <a:gd name="T10" fmla="*/ 142 w 199"/>
                  <a:gd name="T11" fmla="*/ 322 h 332"/>
                  <a:gd name="T12" fmla="*/ 9 w 199"/>
                  <a:gd name="T13" fmla="*/ 190 h 332"/>
                  <a:gd name="T14" fmla="*/ 9 w 199"/>
                  <a:gd name="T15" fmla="*/ 190 h 332"/>
                  <a:gd name="T16" fmla="*/ 5 w 199"/>
                  <a:gd name="T17" fmla="*/ 185 h 332"/>
                  <a:gd name="T18" fmla="*/ 2 w 199"/>
                  <a:gd name="T19" fmla="*/ 178 h 332"/>
                  <a:gd name="T20" fmla="*/ 1 w 199"/>
                  <a:gd name="T21" fmla="*/ 172 h 332"/>
                  <a:gd name="T22" fmla="*/ 0 w 199"/>
                  <a:gd name="T23" fmla="*/ 166 h 332"/>
                  <a:gd name="T24" fmla="*/ 1 w 199"/>
                  <a:gd name="T25" fmla="*/ 160 h 332"/>
                  <a:gd name="T26" fmla="*/ 2 w 199"/>
                  <a:gd name="T27" fmla="*/ 154 h 332"/>
                  <a:gd name="T28" fmla="*/ 5 w 199"/>
                  <a:gd name="T29" fmla="*/ 148 h 332"/>
                  <a:gd name="T30" fmla="*/ 9 w 199"/>
                  <a:gd name="T31" fmla="*/ 143 h 332"/>
                  <a:gd name="T32" fmla="*/ 142 w 199"/>
                  <a:gd name="T33" fmla="*/ 11 h 332"/>
                  <a:gd name="T34" fmla="*/ 142 w 199"/>
                  <a:gd name="T35" fmla="*/ 11 h 332"/>
                  <a:gd name="T36" fmla="*/ 147 w 199"/>
                  <a:gd name="T37" fmla="*/ 7 h 332"/>
                  <a:gd name="T38" fmla="*/ 153 w 199"/>
                  <a:gd name="T39" fmla="*/ 4 h 332"/>
                  <a:gd name="T40" fmla="*/ 159 w 199"/>
                  <a:gd name="T41" fmla="*/ 1 h 332"/>
                  <a:gd name="T42" fmla="*/ 166 w 199"/>
                  <a:gd name="T43" fmla="*/ 0 h 332"/>
                  <a:gd name="T44" fmla="*/ 172 w 199"/>
                  <a:gd name="T45" fmla="*/ 1 h 332"/>
                  <a:gd name="T46" fmla="*/ 178 w 199"/>
                  <a:gd name="T47" fmla="*/ 4 h 332"/>
                  <a:gd name="T48" fmla="*/ 183 w 199"/>
                  <a:gd name="T49" fmla="*/ 7 h 332"/>
                  <a:gd name="T50" fmla="*/ 188 w 199"/>
                  <a:gd name="T51" fmla="*/ 11 h 332"/>
                  <a:gd name="T52" fmla="*/ 188 w 199"/>
                  <a:gd name="T53" fmla="*/ 11 h 332"/>
                  <a:gd name="T54" fmla="*/ 193 w 199"/>
                  <a:gd name="T55" fmla="*/ 16 h 332"/>
                  <a:gd name="T56" fmla="*/ 196 w 199"/>
                  <a:gd name="T57" fmla="*/ 21 h 332"/>
                  <a:gd name="T58" fmla="*/ 198 w 199"/>
                  <a:gd name="T59" fmla="*/ 27 h 332"/>
                  <a:gd name="T60" fmla="*/ 199 w 199"/>
                  <a:gd name="T61" fmla="*/ 34 h 332"/>
                  <a:gd name="T62" fmla="*/ 198 w 199"/>
                  <a:gd name="T63" fmla="*/ 40 h 332"/>
                  <a:gd name="T64" fmla="*/ 196 w 199"/>
                  <a:gd name="T65" fmla="*/ 46 h 332"/>
                  <a:gd name="T66" fmla="*/ 193 w 199"/>
                  <a:gd name="T67" fmla="*/ 52 h 332"/>
                  <a:gd name="T68" fmla="*/ 188 w 199"/>
                  <a:gd name="T69" fmla="*/ 57 h 332"/>
                  <a:gd name="T70" fmla="*/ 80 w 199"/>
                  <a:gd name="T71" fmla="*/ 166 h 332"/>
                  <a:gd name="T72" fmla="*/ 188 w 199"/>
                  <a:gd name="T73" fmla="*/ 275 h 332"/>
                  <a:gd name="T74" fmla="*/ 188 w 199"/>
                  <a:gd name="T75" fmla="*/ 275 h 332"/>
                  <a:gd name="T76" fmla="*/ 193 w 199"/>
                  <a:gd name="T77" fmla="*/ 280 h 332"/>
                  <a:gd name="T78" fmla="*/ 196 w 199"/>
                  <a:gd name="T79" fmla="*/ 286 h 332"/>
                  <a:gd name="T80" fmla="*/ 198 w 199"/>
                  <a:gd name="T81" fmla="*/ 292 h 332"/>
                  <a:gd name="T82" fmla="*/ 199 w 199"/>
                  <a:gd name="T83" fmla="*/ 298 h 332"/>
                  <a:gd name="T84" fmla="*/ 198 w 199"/>
                  <a:gd name="T85" fmla="*/ 305 h 332"/>
                  <a:gd name="T86" fmla="*/ 196 w 199"/>
                  <a:gd name="T87" fmla="*/ 311 h 332"/>
                  <a:gd name="T88" fmla="*/ 193 w 199"/>
                  <a:gd name="T89" fmla="*/ 317 h 332"/>
                  <a:gd name="T90" fmla="*/ 188 w 199"/>
                  <a:gd name="T91" fmla="*/ 322 h 332"/>
                  <a:gd name="T92" fmla="*/ 188 w 199"/>
                  <a:gd name="T93" fmla="*/ 322 h 332"/>
                  <a:gd name="T94" fmla="*/ 183 w 199"/>
                  <a:gd name="T95" fmla="*/ 326 h 332"/>
                  <a:gd name="T96" fmla="*/ 178 w 199"/>
                  <a:gd name="T97" fmla="*/ 329 h 332"/>
                  <a:gd name="T98" fmla="*/ 172 w 199"/>
                  <a:gd name="T99" fmla="*/ 331 h 332"/>
                  <a:gd name="T100" fmla="*/ 166 w 199"/>
                  <a:gd name="T101" fmla="*/ 332 h 332"/>
                  <a:gd name="T102" fmla="*/ 166 w 199"/>
                  <a:gd name="T103"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9" h="332">
                    <a:moveTo>
                      <a:pt x="166" y="332"/>
                    </a:moveTo>
                    <a:lnTo>
                      <a:pt x="166" y="332"/>
                    </a:lnTo>
                    <a:lnTo>
                      <a:pt x="159" y="331"/>
                    </a:lnTo>
                    <a:lnTo>
                      <a:pt x="153" y="329"/>
                    </a:lnTo>
                    <a:lnTo>
                      <a:pt x="147" y="326"/>
                    </a:lnTo>
                    <a:lnTo>
                      <a:pt x="142" y="322"/>
                    </a:lnTo>
                    <a:lnTo>
                      <a:pt x="9" y="190"/>
                    </a:lnTo>
                    <a:lnTo>
                      <a:pt x="9" y="190"/>
                    </a:lnTo>
                    <a:lnTo>
                      <a:pt x="5" y="185"/>
                    </a:lnTo>
                    <a:lnTo>
                      <a:pt x="2" y="178"/>
                    </a:lnTo>
                    <a:lnTo>
                      <a:pt x="1" y="172"/>
                    </a:lnTo>
                    <a:lnTo>
                      <a:pt x="0" y="166"/>
                    </a:lnTo>
                    <a:lnTo>
                      <a:pt x="1" y="160"/>
                    </a:lnTo>
                    <a:lnTo>
                      <a:pt x="2" y="154"/>
                    </a:lnTo>
                    <a:lnTo>
                      <a:pt x="5" y="148"/>
                    </a:lnTo>
                    <a:lnTo>
                      <a:pt x="9" y="143"/>
                    </a:lnTo>
                    <a:lnTo>
                      <a:pt x="142" y="11"/>
                    </a:lnTo>
                    <a:lnTo>
                      <a:pt x="142" y="11"/>
                    </a:lnTo>
                    <a:lnTo>
                      <a:pt x="147" y="7"/>
                    </a:lnTo>
                    <a:lnTo>
                      <a:pt x="153" y="4"/>
                    </a:lnTo>
                    <a:lnTo>
                      <a:pt x="159" y="1"/>
                    </a:lnTo>
                    <a:lnTo>
                      <a:pt x="166" y="0"/>
                    </a:lnTo>
                    <a:lnTo>
                      <a:pt x="172" y="1"/>
                    </a:lnTo>
                    <a:lnTo>
                      <a:pt x="178" y="4"/>
                    </a:lnTo>
                    <a:lnTo>
                      <a:pt x="183" y="7"/>
                    </a:lnTo>
                    <a:lnTo>
                      <a:pt x="188" y="11"/>
                    </a:lnTo>
                    <a:lnTo>
                      <a:pt x="188" y="11"/>
                    </a:lnTo>
                    <a:lnTo>
                      <a:pt x="193" y="16"/>
                    </a:lnTo>
                    <a:lnTo>
                      <a:pt x="196" y="21"/>
                    </a:lnTo>
                    <a:lnTo>
                      <a:pt x="198" y="27"/>
                    </a:lnTo>
                    <a:lnTo>
                      <a:pt x="199" y="34"/>
                    </a:lnTo>
                    <a:lnTo>
                      <a:pt x="198" y="40"/>
                    </a:lnTo>
                    <a:lnTo>
                      <a:pt x="196" y="46"/>
                    </a:lnTo>
                    <a:lnTo>
                      <a:pt x="193" y="52"/>
                    </a:lnTo>
                    <a:lnTo>
                      <a:pt x="188" y="57"/>
                    </a:lnTo>
                    <a:lnTo>
                      <a:pt x="80" y="166"/>
                    </a:lnTo>
                    <a:lnTo>
                      <a:pt x="188" y="275"/>
                    </a:lnTo>
                    <a:lnTo>
                      <a:pt x="188" y="275"/>
                    </a:lnTo>
                    <a:lnTo>
                      <a:pt x="193" y="280"/>
                    </a:lnTo>
                    <a:lnTo>
                      <a:pt x="196" y="286"/>
                    </a:lnTo>
                    <a:lnTo>
                      <a:pt x="198" y="292"/>
                    </a:lnTo>
                    <a:lnTo>
                      <a:pt x="199" y="298"/>
                    </a:lnTo>
                    <a:lnTo>
                      <a:pt x="198" y="305"/>
                    </a:lnTo>
                    <a:lnTo>
                      <a:pt x="196" y="311"/>
                    </a:lnTo>
                    <a:lnTo>
                      <a:pt x="193" y="317"/>
                    </a:lnTo>
                    <a:lnTo>
                      <a:pt x="188" y="322"/>
                    </a:lnTo>
                    <a:lnTo>
                      <a:pt x="188" y="322"/>
                    </a:lnTo>
                    <a:lnTo>
                      <a:pt x="183" y="326"/>
                    </a:lnTo>
                    <a:lnTo>
                      <a:pt x="178" y="329"/>
                    </a:lnTo>
                    <a:lnTo>
                      <a:pt x="172" y="331"/>
                    </a:lnTo>
                    <a:lnTo>
                      <a:pt x="166" y="332"/>
                    </a:lnTo>
                    <a:lnTo>
                      <a:pt x="166" y="3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38" name="Group 37">
              <a:extLst>
                <a:ext uri="{FF2B5EF4-FFF2-40B4-BE49-F238E27FC236}">
                  <a16:creationId xmlns:a16="http://schemas.microsoft.com/office/drawing/2014/main" id="{E5033C76-F697-1860-78CC-4AC13BBC2C2C}"/>
                </a:ext>
              </a:extLst>
            </p:cNvPr>
            <p:cNvGrpSpPr/>
            <p:nvPr/>
          </p:nvGrpSpPr>
          <p:grpSpPr>
            <a:xfrm>
              <a:off x="5464176" y="5029265"/>
              <a:ext cx="147638" cy="150813"/>
              <a:chOff x="6021389" y="4770566"/>
              <a:chExt cx="147638" cy="150813"/>
            </a:xfrm>
            <a:grpFill/>
          </p:grpSpPr>
          <p:sp>
            <p:nvSpPr>
              <p:cNvPr id="39" name="Freeform 65">
                <a:extLst>
                  <a:ext uri="{FF2B5EF4-FFF2-40B4-BE49-F238E27FC236}">
                    <a16:creationId xmlns:a16="http://schemas.microsoft.com/office/drawing/2014/main" id="{C1A6E58B-BB2C-4068-1461-4C2D9C184B4A}"/>
                  </a:ext>
                </a:extLst>
              </p:cNvPr>
              <p:cNvSpPr>
                <a:spLocks noEditPoints="1"/>
              </p:cNvSpPr>
              <p:nvPr/>
            </p:nvSpPr>
            <p:spPr bwMode="auto">
              <a:xfrm>
                <a:off x="6065839" y="4815016"/>
                <a:ext cx="58738" cy="60325"/>
              </a:xfrm>
              <a:custGeom>
                <a:avLst/>
                <a:gdLst>
                  <a:gd name="T0" fmla="*/ 113 w 226"/>
                  <a:gd name="T1" fmla="*/ 227 h 227"/>
                  <a:gd name="T2" fmla="*/ 91 w 226"/>
                  <a:gd name="T3" fmla="*/ 224 h 227"/>
                  <a:gd name="T4" fmla="*/ 69 w 226"/>
                  <a:gd name="T5" fmla="*/ 218 h 227"/>
                  <a:gd name="T6" fmla="*/ 50 w 226"/>
                  <a:gd name="T7" fmla="*/ 207 h 227"/>
                  <a:gd name="T8" fmla="*/ 33 w 226"/>
                  <a:gd name="T9" fmla="*/ 194 h 227"/>
                  <a:gd name="T10" fmla="*/ 19 w 226"/>
                  <a:gd name="T11" fmla="*/ 177 h 227"/>
                  <a:gd name="T12" fmla="*/ 9 w 226"/>
                  <a:gd name="T13" fmla="*/ 158 h 227"/>
                  <a:gd name="T14" fmla="*/ 2 w 226"/>
                  <a:gd name="T15" fmla="*/ 136 h 227"/>
                  <a:gd name="T16" fmla="*/ 0 w 226"/>
                  <a:gd name="T17" fmla="*/ 113 h 227"/>
                  <a:gd name="T18" fmla="*/ 1 w 226"/>
                  <a:gd name="T19" fmla="*/ 102 h 227"/>
                  <a:gd name="T20" fmla="*/ 5 w 226"/>
                  <a:gd name="T21" fmla="*/ 80 h 227"/>
                  <a:gd name="T22" fmla="*/ 14 w 226"/>
                  <a:gd name="T23" fmla="*/ 60 h 227"/>
                  <a:gd name="T24" fmla="*/ 26 w 226"/>
                  <a:gd name="T25" fmla="*/ 41 h 227"/>
                  <a:gd name="T26" fmla="*/ 41 w 226"/>
                  <a:gd name="T27" fmla="*/ 26 h 227"/>
                  <a:gd name="T28" fmla="*/ 59 w 226"/>
                  <a:gd name="T29" fmla="*/ 14 h 227"/>
                  <a:gd name="T30" fmla="*/ 80 w 226"/>
                  <a:gd name="T31" fmla="*/ 5 h 227"/>
                  <a:gd name="T32" fmla="*/ 102 w 226"/>
                  <a:gd name="T33" fmla="*/ 1 h 227"/>
                  <a:gd name="T34" fmla="*/ 113 w 226"/>
                  <a:gd name="T35" fmla="*/ 0 h 227"/>
                  <a:gd name="T36" fmla="*/ 136 w 226"/>
                  <a:gd name="T37" fmla="*/ 2 h 227"/>
                  <a:gd name="T38" fmla="*/ 157 w 226"/>
                  <a:gd name="T39" fmla="*/ 9 h 227"/>
                  <a:gd name="T40" fmla="*/ 177 w 226"/>
                  <a:gd name="T41" fmla="*/ 19 h 227"/>
                  <a:gd name="T42" fmla="*/ 194 w 226"/>
                  <a:gd name="T43" fmla="*/ 33 h 227"/>
                  <a:gd name="T44" fmla="*/ 207 w 226"/>
                  <a:gd name="T45" fmla="*/ 50 h 227"/>
                  <a:gd name="T46" fmla="*/ 218 w 226"/>
                  <a:gd name="T47" fmla="*/ 70 h 227"/>
                  <a:gd name="T48" fmla="*/ 224 w 226"/>
                  <a:gd name="T49" fmla="*/ 91 h 227"/>
                  <a:gd name="T50" fmla="*/ 226 w 226"/>
                  <a:gd name="T51" fmla="*/ 113 h 227"/>
                  <a:gd name="T52" fmla="*/ 226 w 226"/>
                  <a:gd name="T53" fmla="*/ 125 h 227"/>
                  <a:gd name="T54" fmla="*/ 221 w 226"/>
                  <a:gd name="T55" fmla="*/ 147 h 227"/>
                  <a:gd name="T56" fmla="*/ 213 w 226"/>
                  <a:gd name="T57" fmla="*/ 168 h 227"/>
                  <a:gd name="T58" fmla="*/ 201 w 226"/>
                  <a:gd name="T59" fmla="*/ 186 h 227"/>
                  <a:gd name="T60" fmla="*/ 186 w 226"/>
                  <a:gd name="T61" fmla="*/ 201 h 227"/>
                  <a:gd name="T62" fmla="*/ 167 w 226"/>
                  <a:gd name="T63" fmla="*/ 213 h 227"/>
                  <a:gd name="T64" fmla="*/ 147 w 226"/>
                  <a:gd name="T65" fmla="*/ 222 h 227"/>
                  <a:gd name="T66" fmla="*/ 125 w 226"/>
                  <a:gd name="T67" fmla="*/ 226 h 227"/>
                  <a:gd name="T68" fmla="*/ 113 w 226"/>
                  <a:gd name="T69" fmla="*/ 227 h 227"/>
                  <a:gd name="T70" fmla="*/ 113 w 226"/>
                  <a:gd name="T71" fmla="*/ 56 h 227"/>
                  <a:gd name="T72" fmla="*/ 91 w 226"/>
                  <a:gd name="T73" fmla="*/ 62 h 227"/>
                  <a:gd name="T74" fmla="*/ 74 w 226"/>
                  <a:gd name="T75" fmla="*/ 74 h 227"/>
                  <a:gd name="T76" fmla="*/ 61 w 226"/>
                  <a:gd name="T77" fmla="*/ 92 h 227"/>
                  <a:gd name="T78" fmla="*/ 56 w 226"/>
                  <a:gd name="T79" fmla="*/ 113 h 227"/>
                  <a:gd name="T80" fmla="*/ 57 w 226"/>
                  <a:gd name="T81" fmla="*/ 125 h 227"/>
                  <a:gd name="T82" fmla="*/ 66 w 226"/>
                  <a:gd name="T83" fmla="*/ 145 h 227"/>
                  <a:gd name="T84" fmla="*/ 82 w 226"/>
                  <a:gd name="T85" fmla="*/ 161 h 227"/>
                  <a:gd name="T86" fmla="*/ 102 w 226"/>
                  <a:gd name="T87" fmla="*/ 169 h 227"/>
                  <a:gd name="T88" fmla="*/ 113 w 226"/>
                  <a:gd name="T89" fmla="*/ 170 h 227"/>
                  <a:gd name="T90" fmla="*/ 135 w 226"/>
                  <a:gd name="T91" fmla="*/ 166 h 227"/>
                  <a:gd name="T92" fmla="*/ 153 w 226"/>
                  <a:gd name="T93" fmla="*/ 153 h 227"/>
                  <a:gd name="T94" fmla="*/ 165 w 226"/>
                  <a:gd name="T95" fmla="*/ 135 h 227"/>
                  <a:gd name="T96" fmla="*/ 169 w 226"/>
                  <a:gd name="T97" fmla="*/ 113 h 227"/>
                  <a:gd name="T98" fmla="*/ 168 w 226"/>
                  <a:gd name="T99" fmla="*/ 102 h 227"/>
                  <a:gd name="T100" fmla="*/ 160 w 226"/>
                  <a:gd name="T101" fmla="*/ 82 h 227"/>
                  <a:gd name="T102" fmla="*/ 145 w 226"/>
                  <a:gd name="T103" fmla="*/ 67 h 227"/>
                  <a:gd name="T104" fmla="*/ 125 w 226"/>
                  <a:gd name="T105" fmla="*/ 58 h 227"/>
                  <a:gd name="T106" fmla="*/ 113 w 226"/>
                  <a:gd name="T107" fmla="*/ 5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227">
                    <a:moveTo>
                      <a:pt x="113" y="227"/>
                    </a:moveTo>
                    <a:lnTo>
                      <a:pt x="113" y="227"/>
                    </a:lnTo>
                    <a:lnTo>
                      <a:pt x="102" y="226"/>
                    </a:lnTo>
                    <a:lnTo>
                      <a:pt x="91" y="224"/>
                    </a:lnTo>
                    <a:lnTo>
                      <a:pt x="80" y="222"/>
                    </a:lnTo>
                    <a:lnTo>
                      <a:pt x="69" y="218"/>
                    </a:lnTo>
                    <a:lnTo>
                      <a:pt x="59" y="213"/>
                    </a:lnTo>
                    <a:lnTo>
                      <a:pt x="50" y="207"/>
                    </a:lnTo>
                    <a:lnTo>
                      <a:pt x="41" y="201"/>
                    </a:lnTo>
                    <a:lnTo>
                      <a:pt x="33" y="194"/>
                    </a:lnTo>
                    <a:lnTo>
                      <a:pt x="26" y="186"/>
                    </a:lnTo>
                    <a:lnTo>
                      <a:pt x="19" y="177"/>
                    </a:lnTo>
                    <a:lnTo>
                      <a:pt x="14" y="168"/>
                    </a:lnTo>
                    <a:lnTo>
                      <a:pt x="9" y="158"/>
                    </a:lnTo>
                    <a:lnTo>
                      <a:pt x="5" y="147"/>
                    </a:lnTo>
                    <a:lnTo>
                      <a:pt x="2" y="136"/>
                    </a:lnTo>
                    <a:lnTo>
                      <a:pt x="1" y="125"/>
                    </a:lnTo>
                    <a:lnTo>
                      <a:pt x="0" y="113"/>
                    </a:lnTo>
                    <a:lnTo>
                      <a:pt x="0" y="113"/>
                    </a:lnTo>
                    <a:lnTo>
                      <a:pt x="1" y="102"/>
                    </a:lnTo>
                    <a:lnTo>
                      <a:pt x="2" y="91"/>
                    </a:lnTo>
                    <a:lnTo>
                      <a:pt x="5" y="80"/>
                    </a:lnTo>
                    <a:lnTo>
                      <a:pt x="9" y="70"/>
                    </a:lnTo>
                    <a:lnTo>
                      <a:pt x="14" y="60"/>
                    </a:lnTo>
                    <a:lnTo>
                      <a:pt x="19" y="50"/>
                    </a:lnTo>
                    <a:lnTo>
                      <a:pt x="26" y="41"/>
                    </a:lnTo>
                    <a:lnTo>
                      <a:pt x="33" y="33"/>
                    </a:lnTo>
                    <a:lnTo>
                      <a:pt x="41" y="26"/>
                    </a:lnTo>
                    <a:lnTo>
                      <a:pt x="50" y="19"/>
                    </a:lnTo>
                    <a:lnTo>
                      <a:pt x="59" y="14"/>
                    </a:lnTo>
                    <a:lnTo>
                      <a:pt x="69" y="9"/>
                    </a:lnTo>
                    <a:lnTo>
                      <a:pt x="80" y="5"/>
                    </a:lnTo>
                    <a:lnTo>
                      <a:pt x="91" y="2"/>
                    </a:lnTo>
                    <a:lnTo>
                      <a:pt x="102" y="1"/>
                    </a:lnTo>
                    <a:lnTo>
                      <a:pt x="113" y="0"/>
                    </a:lnTo>
                    <a:lnTo>
                      <a:pt x="113" y="0"/>
                    </a:lnTo>
                    <a:lnTo>
                      <a:pt x="125" y="1"/>
                    </a:lnTo>
                    <a:lnTo>
                      <a:pt x="136" y="2"/>
                    </a:lnTo>
                    <a:lnTo>
                      <a:pt x="147" y="5"/>
                    </a:lnTo>
                    <a:lnTo>
                      <a:pt x="157" y="9"/>
                    </a:lnTo>
                    <a:lnTo>
                      <a:pt x="167" y="14"/>
                    </a:lnTo>
                    <a:lnTo>
                      <a:pt x="177" y="19"/>
                    </a:lnTo>
                    <a:lnTo>
                      <a:pt x="186" y="26"/>
                    </a:lnTo>
                    <a:lnTo>
                      <a:pt x="194" y="33"/>
                    </a:lnTo>
                    <a:lnTo>
                      <a:pt x="201" y="41"/>
                    </a:lnTo>
                    <a:lnTo>
                      <a:pt x="207" y="50"/>
                    </a:lnTo>
                    <a:lnTo>
                      <a:pt x="213" y="60"/>
                    </a:lnTo>
                    <a:lnTo>
                      <a:pt x="218" y="70"/>
                    </a:lnTo>
                    <a:lnTo>
                      <a:pt x="221" y="80"/>
                    </a:lnTo>
                    <a:lnTo>
                      <a:pt x="224" y="91"/>
                    </a:lnTo>
                    <a:lnTo>
                      <a:pt x="226" y="102"/>
                    </a:lnTo>
                    <a:lnTo>
                      <a:pt x="226" y="113"/>
                    </a:lnTo>
                    <a:lnTo>
                      <a:pt x="226" y="113"/>
                    </a:lnTo>
                    <a:lnTo>
                      <a:pt x="226" y="125"/>
                    </a:lnTo>
                    <a:lnTo>
                      <a:pt x="224" y="136"/>
                    </a:lnTo>
                    <a:lnTo>
                      <a:pt x="221" y="147"/>
                    </a:lnTo>
                    <a:lnTo>
                      <a:pt x="218" y="158"/>
                    </a:lnTo>
                    <a:lnTo>
                      <a:pt x="213" y="168"/>
                    </a:lnTo>
                    <a:lnTo>
                      <a:pt x="207" y="177"/>
                    </a:lnTo>
                    <a:lnTo>
                      <a:pt x="201" y="186"/>
                    </a:lnTo>
                    <a:lnTo>
                      <a:pt x="194" y="194"/>
                    </a:lnTo>
                    <a:lnTo>
                      <a:pt x="186" y="201"/>
                    </a:lnTo>
                    <a:lnTo>
                      <a:pt x="177" y="207"/>
                    </a:lnTo>
                    <a:lnTo>
                      <a:pt x="167" y="213"/>
                    </a:lnTo>
                    <a:lnTo>
                      <a:pt x="157" y="218"/>
                    </a:lnTo>
                    <a:lnTo>
                      <a:pt x="147" y="222"/>
                    </a:lnTo>
                    <a:lnTo>
                      <a:pt x="136" y="224"/>
                    </a:lnTo>
                    <a:lnTo>
                      <a:pt x="125" y="226"/>
                    </a:lnTo>
                    <a:lnTo>
                      <a:pt x="113" y="227"/>
                    </a:lnTo>
                    <a:lnTo>
                      <a:pt x="113" y="227"/>
                    </a:lnTo>
                    <a:close/>
                    <a:moveTo>
                      <a:pt x="113" y="56"/>
                    </a:moveTo>
                    <a:lnTo>
                      <a:pt x="113" y="56"/>
                    </a:lnTo>
                    <a:lnTo>
                      <a:pt x="102" y="58"/>
                    </a:lnTo>
                    <a:lnTo>
                      <a:pt x="91" y="62"/>
                    </a:lnTo>
                    <a:lnTo>
                      <a:pt x="82" y="67"/>
                    </a:lnTo>
                    <a:lnTo>
                      <a:pt x="74" y="74"/>
                    </a:lnTo>
                    <a:lnTo>
                      <a:pt x="66" y="82"/>
                    </a:lnTo>
                    <a:lnTo>
                      <a:pt x="61" y="92"/>
                    </a:lnTo>
                    <a:lnTo>
                      <a:pt x="57" y="102"/>
                    </a:lnTo>
                    <a:lnTo>
                      <a:pt x="56" y="113"/>
                    </a:lnTo>
                    <a:lnTo>
                      <a:pt x="56" y="113"/>
                    </a:lnTo>
                    <a:lnTo>
                      <a:pt x="57" y="125"/>
                    </a:lnTo>
                    <a:lnTo>
                      <a:pt x="61" y="135"/>
                    </a:lnTo>
                    <a:lnTo>
                      <a:pt x="66" y="145"/>
                    </a:lnTo>
                    <a:lnTo>
                      <a:pt x="74" y="153"/>
                    </a:lnTo>
                    <a:lnTo>
                      <a:pt x="82" y="161"/>
                    </a:lnTo>
                    <a:lnTo>
                      <a:pt x="91" y="166"/>
                    </a:lnTo>
                    <a:lnTo>
                      <a:pt x="102" y="169"/>
                    </a:lnTo>
                    <a:lnTo>
                      <a:pt x="113" y="170"/>
                    </a:lnTo>
                    <a:lnTo>
                      <a:pt x="113" y="170"/>
                    </a:lnTo>
                    <a:lnTo>
                      <a:pt x="125" y="169"/>
                    </a:lnTo>
                    <a:lnTo>
                      <a:pt x="135" y="166"/>
                    </a:lnTo>
                    <a:lnTo>
                      <a:pt x="145" y="161"/>
                    </a:lnTo>
                    <a:lnTo>
                      <a:pt x="153" y="153"/>
                    </a:lnTo>
                    <a:lnTo>
                      <a:pt x="160" y="145"/>
                    </a:lnTo>
                    <a:lnTo>
                      <a:pt x="165" y="135"/>
                    </a:lnTo>
                    <a:lnTo>
                      <a:pt x="168" y="125"/>
                    </a:lnTo>
                    <a:lnTo>
                      <a:pt x="169" y="113"/>
                    </a:lnTo>
                    <a:lnTo>
                      <a:pt x="169" y="113"/>
                    </a:lnTo>
                    <a:lnTo>
                      <a:pt x="168" y="102"/>
                    </a:lnTo>
                    <a:lnTo>
                      <a:pt x="165" y="92"/>
                    </a:lnTo>
                    <a:lnTo>
                      <a:pt x="160" y="82"/>
                    </a:lnTo>
                    <a:lnTo>
                      <a:pt x="153" y="74"/>
                    </a:lnTo>
                    <a:lnTo>
                      <a:pt x="145" y="67"/>
                    </a:lnTo>
                    <a:lnTo>
                      <a:pt x="135" y="62"/>
                    </a:lnTo>
                    <a:lnTo>
                      <a:pt x="125" y="58"/>
                    </a:lnTo>
                    <a:lnTo>
                      <a:pt x="113" y="56"/>
                    </a:lnTo>
                    <a:lnTo>
                      <a:pt x="113"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0" name="Freeform 67">
                <a:extLst>
                  <a:ext uri="{FF2B5EF4-FFF2-40B4-BE49-F238E27FC236}">
                    <a16:creationId xmlns:a16="http://schemas.microsoft.com/office/drawing/2014/main" id="{9E5AF0C9-A12D-94EC-F64F-0199007CAACF}"/>
                  </a:ext>
                </a:extLst>
              </p:cNvPr>
              <p:cNvSpPr>
                <a:spLocks noEditPoints="1"/>
              </p:cNvSpPr>
              <p:nvPr/>
            </p:nvSpPr>
            <p:spPr bwMode="auto">
              <a:xfrm>
                <a:off x="6021389" y="4770566"/>
                <a:ext cx="147638" cy="150813"/>
              </a:xfrm>
              <a:custGeom>
                <a:avLst/>
                <a:gdLst>
                  <a:gd name="T0" fmla="*/ 209 w 556"/>
                  <a:gd name="T1" fmla="*/ 562 h 567"/>
                  <a:gd name="T2" fmla="*/ 197 w 556"/>
                  <a:gd name="T3" fmla="*/ 493 h 567"/>
                  <a:gd name="T4" fmla="*/ 99 w 556"/>
                  <a:gd name="T5" fmla="*/ 485 h 567"/>
                  <a:gd name="T6" fmla="*/ 73 w 556"/>
                  <a:gd name="T7" fmla="*/ 485 h 567"/>
                  <a:gd name="T8" fmla="*/ 2 w 556"/>
                  <a:gd name="T9" fmla="*/ 371 h 567"/>
                  <a:gd name="T10" fmla="*/ 6 w 556"/>
                  <a:gd name="T11" fmla="*/ 345 h 567"/>
                  <a:gd name="T12" fmla="*/ 52 w 556"/>
                  <a:gd name="T13" fmla="*/ 283 h 567"/>
                  <a:gd name="T14" fmla="*/ 10 w 556"/>
                  <a:gd name="T15" fmla="*/ 226 h 567"/>
                  <a:gd name="T16" fmla="*/ 1 w 556"/>
                  <a:gd name="T17" fmla="*/ 201 h 567"/>
                  <a:gd name="T18" fmla="*/ 70 w 556"/>
                  <a:gd name="T19" fmla="*/ 84 h 567"/>
                  <a:gd name="T20" fmla="*/ 100 w 556"/>
                  <a:gd name="T21" fmla="*/ 82 h 567"/>
                  <a:gd name="T22" fmla="*/ 197 w 556"/>
                  <a:gd name="T23" fmla="*/ 74 h 567"/>
                  <a:gd name="T24" fmla="*/ 205 w 556"/>
                  <a:gd name="T25" fmla="*/ 8 h 567"/>
                  <a:gd name="T26" fmla="*/ 339 w 556"/>
                  <a:gd name="T27" fmla="*/ 0 h 567"/>
                  <a:gd name="T28" fmla="*/ 365 w 556"/>
                  <a:gd name="T29" fmla="*/ 17 h 567"/>
                  <a:gd name="T30" fmla="*/ 394 w 556"/>
                  <a:gd name="T31" fmla="*/ 87 h 567"/>
                  <a:gd name="T32" fmla="*/ 467 w 556"/>
                  <a:gd name="T33" fmla="*/ 79 h 567"/>
                  <a:gd name="T34" fmla="*/ 492 w 556"/>
                  <a:gd name="T35" fmla="*/ 88 h 567"/>
                  <a:gd name="T36" fmla="*/ 556 w 556"/>
                  <a:gd name="T37" fmla="*/ 207 h 567"/>
                  <a:gd name="T38" fmla="*/ 502 w 556"/>
                  <a:gd name="T39" fmla="*/ 252 h 567"/>
                  <a:gd name="T40" fmla="*/ 503 w 556"/>
                  <a:gd name="T41" fmla="*/ 314 h 567"/>
                  <a:gd name="T42" fmla="*/ 556 w 556"/>
                  <a:gd name="T43" fmla="*/ 355 h 567"/>
                  <a:gd name="T44" fmla="*/ 496 w 556"/>
                  <a:gd name="T45" fmla="*/ 474 h 567"/>
                  <a:gd name="T46" fmla="*/ 473 w 556"/>
                  <a:gd name="T47" fmla="*/ 488 h 567"/>
                  <a:gd name="T48" fmla="*/ 407 w 556"/>
                  <a:gd name="T49" fmla="*/ 471 h 567"/>
                  <a:gd name="T50" fmla="*/ 367 w 556"/>
                  <a:gd name="T51" fmla="*/ 545 h 567"/>
                  <a:gd name="T52" fmla="*/ 345 w 556"/>
                  <a:gd name="T53" fmla="*/ 566 h 567"/>
                  <a:gd name="T54" fmla="*/ 310 w 556"/>
                  <a:gd name="T55" fmla="*/ 474 h 567"/>
                  <a:gd name="T56" fmla="*/ 322 w 556"/>
                  <a:gd name="T57" fmla="*/ 451 h 567"/>
                  <a:gd name="T58" fmla="*/ 382 w 556"/>
                  <a:gd name="T59" fmla="*/ 419 h 567"/>
                  <a:gd name="T60" fmla="*/ 413 w 556"/>
                  <a:gd name="T61" fmla="*/ 399 h 567"/>
                  <a:gd name="T62" fmla="*/ 489 w 556"/>
                  <a:gd name="T63" fmla="*/ 372 h 567"/>
                  <a:gd name="T64" fmla="*/ 446 w 556"/>
                  <a:gd name="T65" fmla="*/ 341 h 567"/>
                  <a:gd name="T66" fmla="*/ 447 w 556"/>
                  <a:gd name="T67" fmla="*/ 303 h 567"/>
                  <a:gd name="T68" fmla="*/ 443 w 556"/>
                  <a:gd name="T69" fmla="*/ 240 h 567"/>
                  <a:gd name="T70" fmla="*/ 453 w 556"/>
                  <a:gd name="T71" fmla="*/ 215 h 567"/>
                  <a:gd name="T72" fmla="*/ 426 w 556"/>
                  <a:gd name="T73" fmla="*/ 166 h 567"/>
                  <a:gd name="T74" fmla="*/ 400 w 556"/>
                  <a:gd name="T75" fmla="*/ 163 h 567"/>
                  <a:gd name="T76" fmla="*/ 330 w 556"/>
                  <a:gd name="T77" fmla="*/ 120 h 567"/>
                  <a:gd name="T78" fmla="*/ 313 w 556"/>
                  <a:gd name="T79" fmla="*/ 106 h 567"/>
                  <a:gd name="T80" fmla="*/ 254 w 556"/>
                  <a:gd name="T81" fmla="*/ 93 h 567"/>
                  <a:gd name="T82" fmla="*/ 246 w 556"/>
                  <a:gd name="T83" fmla="*/ 113 h 567"/>
                  <a:gd name="T84" fmla="*/ 195 w 556"/>
                  <a:gd name="T85" fmla="*/ 138 h 567"/>
                  <a:gd name="T86" fmla="*/ 156 w 556"/>
                  <a:gd name="T87" fmla="*/ 165 h 567"/>
                  <a:gd name="T88" fmla="*/ 130 w 556"/>
                  <a:gd name="T89" fmla="*/ 164 h 567"/>
                  <a:gd name="T90" fmla="*/ 107 w 556"/>
                  <a:gd name="T91" fmla="*/ 218 h 567"/>
                  <a:gd name="T92" fmla="*/ 113 w 556"/>
                  <a:gd name="T93" fmla="*/ 244 h 567"/>
                  <a:gd name="T94" fmla="*/ 113 w 556"/>
                  <a:gd name="T95" fmla="*/ 322 h 567"/>
                  <a:gd name="T96" fmla="*/ 109 w 556"/>
                  <a:gd name="T97" fmla="*/ 345 h 567"/>
                  <a:gd name="T98" fmla="*/ 130 w 556"/>
                  <a:gd name="T99" fmla="*/ 402 h 567"/>
                  <a:gd name="T100" fmla="*/ 152 w 556"/>
                  <a:gd name="T101" fmla="*/ 400 h 567"/>
                  <a:gd name="T102" fmla="*/ 178 w 556"/>
                  <a:gd name="T103" fmla="*/ 418 h 567"/>
                  <a:gd name="T104" fmla="*/ 242 w 556"/>
                  <a:gd name="T105" fmla="*/ 451 h 567"/>
                  <a:gd name="T106" fmla="*/ 254 w 556"/>
                  <a:gd name="T107" fmla="*/ 474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6" h="567">
                    <a:moveTo>
                      <a:pt x="339" y="567"/>
                    </a:moveTo>
                    <a:lnTo>
                      <a:pt x="225" y="567"/>
                    </a:lnTo>
                    <a:lnTo>
                      <a:pt x="225" y="567"/>
                    </a:lnTo>
                    <a:lnTo>
                      <a:pt x="219" y="566"/>
                    </a:lnTo>
                    <a:lnTo>
                      <a:pt x="214" y="565"/>
                    </a:lnTo>
                    <a:lnTo>
                      <a:pt x="209" y="562"/>
                    </a:lnTo>
                    <a:lnTo>
                      <a:pt x="205" y="559"/>
                    </a:lnTo>
                    <a:lnTo>
                      <a:pt x="202" y="555"/>
                    </a:lnTo>
                    <a:lnTo>
                      <a:pt x="199" y="550"/>
                    </a:lnTo>
                    <a:lnTo>
                      <a:pt x="198" y="545"/>
                    </a:lnTo>
                    <a:lnTo>
                      <a:pt x="197" y="539"/>
                    </a:lnTo>
                    <a:lnTo>
                      <a:pt x="197" y="493"/>
                    </a:lnTo>
                    <a:lnTo>
                      <a:pt x="197" y="493"/>
                    </a:lnTo>
                    <a:lnTo>
                      <a:pt x="182" y="487"/>
                    </a:lnTo>
                    <a:lnTo>
                      <a:pt x="168" y="479"/>
                    </a:lnTo>
                    <a:lnTo>
                      <a:pt x="154" y="471"/>
                    </a:lnTo>
                    <a:lnTo>
                      <a:pt x="141" y="462"/>
                    </a:lnTo>
                    <a:lnTo>
                      <a:pt x="99" y="485"/>
                    </a:lnTo>
                    <a:lnTo>
                      <a:pt x="99" y="485"/>
                    </a:lnTo>
                    <a:lnTo>
                      <a:pt x="94" y="487"/>
                    </a:lnTo>
                    <a:lnTo>
                      <a:pt x="89" y="488"/>
                    </a:lnTo>
                    <a:lnTo>
                      <a:pt x="83" y="488"/>
                    </a:lnTo>
                    <a:lnTo>
                      <a:pt x="78" y="487"/>
                    </a:lnTo>
                    <a:lnTo>
                      <a:pt x="73" y="485"/>
                    </a:lnTo>
                    <a:lnTo>
                      <a:pt x="68" y="483"/>
                    </a:lnTo>
                    <a:lnTo>
                      <a:pt x="64" y="479"/>
                    </a:lnTo>
                    <a:lnTo>
                      <a:pt x="61" y="474"/>
                    </a:lnTo>
                    <a:lnTo>
                      <a:pt x="4" y="376"/>
                    </a:lnTo>
                    <a:lnTo>
                      <a:pt x="4" y="376"/>
                    </a:lnTo>
                    <a:lnTo>
                      <a:pt x="2" y="371"/>
                    </a:lnTo>
                    <a:lnTo>
                      <a:pt x="1" y="366"/>
                    </a:lnTo>
                    <a:lnTo>
                      <a:pt x="0" y="360"/>
                    </a:lnTo>
                    <a:lnTo>
                      <a:pt x="1" y="355"/>
                    </a:lnTo>
                    <a:lnTo>
                      <a:pt x="1" y="355"/>
                    </a:lnTo>
                    <a:lnTo>
                      <a:pt x="3" y="350"/>
                    </a:lnTo>
                    <a:lnTo>
                      <a:pt x="6" y="345"/>
                    </a:lnTo>
                    <a:lnTo>
                      <a:pt x="10" y="341"/>
                    </a:lnTo>
                    <a:lnTo>
                      <a:pt x="14" y="338"/>
                    </a:lnTo>
                    <a:lnTo>
                      <a:pt x="54" y="314"/>
                    </a:lnTo>
                    <a:lnTo>
                      <a:pt x="54" y="314"/>
                    </a:lnTo>
                    <a:lnTo>
                      <a:pt x="52" y="299"/>
                    </a:lnTo>
                    <a:lnTo>
                      <a:pt x="52" y="283"/>
                    </a:lnTo>
                    <a:lnTo>
                      <a:pt x="52" y="283"/>
                    </a:lnTo>
                    <a:lnTo>
                      <a:pt x="52" y="268"/>
                    </a:lnTo>
                    <a:lnTo>
                      <a:pt x="54" y="252"/>
                    </a:lnTo>
                    <a:lnTo>
                      <a:pt x="15" y="230"/>
                    </a:lnTo>
                    <a:lnTo>
                      <a:pt x="15" y="230"/>
                    </a:lnTo>
                    <a:lnTo>
                      <a:pt x="10" y="226"/>
                    </a:lnTo>
                    <a:lnTo>
                      <a:pt x="7" y="222"/>
                    </a:lnTo>
                    <a:lnTo>
                      <a:pt x="4" y="217"/>
                    </a:lnTo>
                    <a:lnTo>
                      <a:pt x="2" y="212"/>
                    </a:lnTo>
                    <a:lnTo>
                      <a:pt x="2" y="212"/>
                    </a:lnTo>
                    <a:lnTo>
                      <a:pt x="1" y="206"/>
                    </a:lnTo>
                    <a:lnTo>
                      <a:pt x="1" y="201"/>
                    </a:lnTo>
                    <a:lnTo>
                      <a:pt x="2" y="196"/>
                    </a:lnTo>
                    <a:lnTo>
                      <a:pt x="5" y="191"/>
                    </a:lnTo>
                    <a:lnTo>
                      <a:pt x="62" y="92"/>
                    </a:lnTo>
                    <a:lnTo>
                      <a:pt x="62" y="92"/>
                    </a:lnTo>
                    <a:lnTo>
                      <a:pt x="66" y="88"/>
                    </a:lnTo>
                    <a:lnTo>
                      <a:pt x="70" y="84"/>
                    </a:lnTo>
                    <a:lnTo>
                      <a:pt x="74" y="81"/>
                    </a:lnTo>
                    <a:lnTo>
                      <a:pt x="79" y="79"/>
                    </a:lnTo>
                    <a:lnTo>
                      <a:pt x="84" y="78"/>
                    </a:lnTo>
                    <a:lnTo>
                      <a:pt x="90" y="79"/>
                    </a:lnTo>
                    <a:lnTo>
                      <a:pt x="95" y="80"/>
                    </a:lnTo>
                    <a:lnTo>
                      <a:pt x="100" y="82"/>
                    </a:lnTo>
                    <a:lnTo>
                      <a:pt x="141" y="105"/>
                    </a:lnTo>
                    <a:lnTo>
                      <a:pt x="141" y="105"/>
                    </a:lnTo>
                    <a:lnTo>
                      <a:pt x="154" y="96"/>
                    </a:lnTo>
                    <a:lnTo>
                      <a:pt x="168" y="88"/>
                    </a:lnTo>
                    <a:lnTo>
                      <a:pt x="182" y="80"/>
                    </a:lnTo>
                    <a:lnTo>
                      <a:pt x="197" y="74"/>
                    </a:lnTo>
                    <a:lnTo>
                      <a:pt x="197" y="28"/>
                    </a:lnTo>
                    <a:lnTo>
                      <a:pt x="197" y="28"/>
                    </a:lnTo>
                    <a:lnTo>
                      <a:pt x="198" y="22"/>
                    </a:lnTo>
                    <a:lnTo>
                      <a:pt x="199" y="17"/>
                    </a:lnTo>
                    <a:lnTo>
                      <a:pt x="202" y="12"/>
                    </a:lnTo>
                    <a:lnTo>
                      <a:pt x="205" y="8"/>
                    </a:lnTo>
                    <a:lnTo>
                      <a:pt x="209" y="5"/>
                    </a:lnTo>
                    <a:lnTo>
                      <a:pt x="214" y="2"/>
                    </a:lnTo>
                    <a:lnTo>
                      <a:pt x="219" y="0"/>
                    </a:lnTo>
                    <a:lnTo>
                      <a:pt x="225" y="0"/>
                    </a:lnTo>
                    <a:lnTo>
                      <a:pt x="339" y="0"/>
                    </a:lnTo>
                    <a:lnTo>
                      <a:pt x="339" y="0"/>
                    </a:lnTo>
                    <a:lnTo>
                      <a:pt x="345" y="0"/>
                    </a:lnTo>
                    <a:lnTo>
                      <a:pt x="350" y="2"/>
                    </a:lnTo>
                    <a:lnTo>
                      <a:pt x="355" y="5"/>
                    </a:lnTo>
                    <a:lnTo>
                      <a:pt x="359" y="8"/>
                    </a:lnTo>
                    <a:lnTo>
                      <a:pt x="363" y="12"/>
                    </a:lnTo>
                    <a:lnTo>
                      <a:pt x="365" y="17"/>
                    </a:lnTo>
                    <a:lnTo>
                      <a:pt x="367" y="22"/>
                    </a:lnTo>
                    <a:lnTo>
                      <a:pt x="367" y="28"/>
                    </a:lnTo>
                    <a:lnTo>
                      <a:pt x="367" y="74"/>
                    </a:lnTo>
                    <a:lnTo>
                      <a:pt x="367" y="74"/>
                    </a:lnTo>
                    <a:lnTo>
                      <a:pt x="381" y="80"/>
                    </a:lnTo>
                    <a:lnTo>
                      <a:pt x="394" y="87"/>
                    </a:lnTo>
                    <a:lnTo>
                      <a:pt x="407" y="95"/>
                    </a:lnTo>
                    <a:lnTo>
                      <a:pt x="419" y="104"/>
                    </a:lnTo>
                    <a:lnTo>
                      <a:pt x="456" y="82"/>
                    </a:lnTo>
                    <a:lnTo>
                      <a:pt x="456" y="82"/>
                    </a:lnTo>
                    <a:lnTo>
                      <a:pt x="461" y="80"/>
                    </a:lnTo>
                    <a:lnTo>
                      <a:pt x="467" y="79"/>
                    </a:lnTo>
                    <a:lnTo>
                      <a:pt x="472" y="78"/>
                    </a:lnTo>
                    <a:lnTo>
                      <a:pt x="478" y="79"/>
                    </a:lnTo>
                    <a:lnTo>
                      <a:pt x="478" y="79"/>
                    </a:lnTo>
                    <a:lnTo>
                      <a:pt x="483" y="81"/>
                    </a:lnTo>
                    <a:lnTo>
                      <a:pt x="488" y="84"/>
                    </a:lnTo>
                    <a:lnTo>
                      <a:pt x="492" y="88"/>
                    </a:lnTo>
                    <a:lnTo>
                      <a:pt x="495" y="92"/>
                    </a:lnTo>
                    <a:lnTo>
                      <a:pt x="552" y="191"/>
                    </a:lnTo>
                    <a:lnTo>
                      <a:pt x="552" y="191"/>
                    </a:lnTo>
                    <a:lnTo>
                      <a:pt x="555" y="196"/>
                    </a:lnTo>
                    <a:lnTo>
                      <a:pt x="556" y="201"/>
                    </a:lnTo>
                    <a:lnTo>
                      <a:pt x="556" y="207"/>
                    </a:lnTo>
                    <a:lnTo>
                      <a:pt x="555" y="212"/>
                    </a:lnTo>
                    <a:lnTo>
                      <a:pt x="553" y="217"/>
                    </a:lnTo>
                    <a:lnTo>
                      <a:pt x="550" y="222"/>
                    </a:lnTo>
                    <a:lnTo>
                      <a:pt x="547" y="226"/>
                    </a:lnTo>
                    <a:lnTo>
                      <a:pt x="542" y="230"/>
                    </a:lnTo>
                    <a:lnTo>
                      <a:pt x="502" y="252"/>
                    </a:lnTo>
                    <a:lnTo>
                      <a:pt x="502" y="252"/>
                    </a:lnTo>
                    <a:lnTo>
                      <a:pt x="504" y="268"/>
                    </a:lnTo>
                    <a:lnTo>
                      <a:pt x="505" y="283"/>
                    </a:lnTo>
                    <a:lnTo>
                      <a:pt x="505" y="283"/>
                    </a:lnTo>
                    <a:lnTo>
                      <a:pt x="504" y="299"/>
                    </a:lnTo>
                    <a:lnTo>
                      <a:pt x="503" y="314"/>
                    </a:lnTo>
                    <a:lnTo>
                      <a:pt x="542" y="338"/>
                    </a:lnTo>
                    <a:lnTo>
                      <a:pt x="542" y="338"/>
                    </a:lnTo>
                    <a:lnTo>
                      <a:pt x="547" y="341"/>
                    </a:lnTo>
                    <a:lnTo>
                      <a:pt x="551" y="345"/>
                    </a:lnTo>
                    <a:lnTo>
                      <a:pt x="554" y="350"/>
                    </a:lnTo>
                    <a:lnTo>
                      <a:pt x="556" y="355"/>
                    </a:lnTo>
                    <a:lnTo>
                      <a:pt x="556" y="360"/>
                    </a:lnTo>
                    <a:lnTo>
                      <a:pt x="556" y="365"/>
                    </a:lnTo>
                    <a:lnTo>
                      <a:pt x="555" y="371"/>
                    </a:lnTo>
                    <a:lnTo>
                      <a:pt x="553" y="376"/>
                    </a:lnTo>
                    <a:lnTo>
                      <a:pt x="496" y="474"/>
                    </a:lnTo>
                    <a:lnTo>
                      <a:pt x="496" y="474"/>
                    </a:lnTo>
                    <a:lnTo>
                      <a:pt x="493" y="479"/>
                    </a:lnTo>
                    <a:lnTo>
                      <a:pt x="489" y="482"/>
                    </a:lnTo>
                    <a:lnTo>
                      <a:pt x="484" y="485"/>
                    </a:lnTo>
                    <a:lnTo>
                      <a:pt x="479" y="487"/>
                    </a:lnTo>
                    <a:lnTo>
                      <a:pt x="479" y="487"/>
                    </a:lnTo>
                    <a:lnTo>
                      <a:pt x="473" y="488"/>
                    </a:lnTo>
                    <a:lnTo>
                      <a:pt x="468" y="488"/>
                    </a:lnTo>
                    <a:lnTo>
                      <a:pt x="463" y="487"/>
                    </a:lnTo>
                    <a:lnTo>
                      <a:pt x="458" y="484"/>
                    </a:lnTo>
                    <a:lnTo>
                      <a:pt x="419" y="462"/>
                    </a:lnTo>
                    <a:lnTo>
                      <a:pt x="419" y="462"/>
                    </a:lnTo>
                    <a:lnTo>
                      <a:pt x="407" y="471"/>
                    </a:lnTo>
                    <a:lnTo>
                      <a:pt x="394" y="479"/>
                    </a:lnTo>
                    <a:lnTo>
                      <a:pt x="381" y="487"/>
                    </a:lnTo>
                    <a:lnTo>
                      <a:pt x="367" y="493"/>
                    </a:lnTo>
                    <a:lnTo>
                      <a:pt x="367" y="539"/>
                    </a:lnTo>
                    <a:lnTo>
                      <a:pt x="367" y="539"/>
                    </a:lnTo>
                    <a:lnTo>
                      <a:pt x="367" y="545"/>
                    </a:lnTo>
                    <a:lnTo>
                      <a:pt x="365" y="550"/>
                    </a:lnTo>
                    <a:lnTo>
                      <a:pt x="363" y="555"/>
                    </a:lnTo>
                    <a:lnTo>
                      <a:pt x="359" y="559"/>
                    </a:lnTo>
                    <a:lnTo>
                      <a:pt x="355" y="562"/>
                    </a:lnTo>
                    <a:lnTo>
                      <a:pt x="350" y="565"/>
                    </a:lnTo>
                    <a:lnTo>
                      <a:pt x="345" y="566"/>
                    </a:lnTo>
                    <a:lnTo>
                      <a:pt x="339" y="567"/>
                    </a:lnTo>
                    <a:lnTo>
                      <a:pt x="339" y="567"/>
                    </a:lnTo>
                    <a:close/>
                    <a:moveTo>
                      <a:pt x="254" y="510"/>
                    </a:moveTo>
                    <a:lnTo>
                      <a:pt x="310" y="510"/>
                    </a:lnTo>
                    <a:lnTo>
                      <a:pt x="310" y="474"/>
                    </a:lnTo>
                    <a:lnTo>
                      <a:pt x="310" y="474"/>
                    </a:lnTo>
                    <a:lnTo>
                      <a:pt x="311" y="469"/>
                    </a:lnTo>
                    <a:lnTo>
                      <a:pt x="312" y="465"/>
                    </a:lnTo>
                    <a:lnTo>
                      <a:pt x="313" y="461"/>
                    </a:lnTo>
                    <a:lnTo>
                      <a:pt x="316" y="457"/>
                    </a:lnTo>
                    <a:lnTo>
                      <a:pt x="318" y="454"/>
                    </a:lnTo>
                    <a:lnTo>
                      <a:pt x="322" y="451"/>
                    </a:lnTo>
                    <a:lnTo>
                      <a:pt x="326" y="448"/>
                    </a:lnTo>
                    <a:lnTo>
                      <a:pt x="330" y="447"/>
                    </a:lnTo>
                    <a:lnTo>
                      <a:pt x="330" y="447"/>
                    </a:lnTo>
                    <a:lnTo>
                      <a:pt x="349" y="440"/>
                    </a:lnTo>
                    <a:lnTo>
                      <a:pt x="366" y="431"/>
                    </a:lnTo>
                    <a:lnTo>
                      <a:pt x="382" y="419"/>
                    </a:lnTo>
                    <a:lnTo>
                      <a:pt x="397" y="407"/>
                    </a:lnTo>
                    <a:lnTo>
                      <a:pt x="397" y="407"/>
                    </a:lnTo>
                    <a:lnTo>
                      <a:pt x="400" y="404"/>
                    </a:lnTo>
                    <a:lnTo>
                      <a:pt x="404" y="401"/>
                    </a:lnTo>
                    <a:lnTo>
                      <a:pt x="409" y="400"/>
                    </a:lnTo>
                    <a:lnTo>
                      <a:pt x="413" y="399"/>
                    </a:lnTo>
                    <a:lnTo>
                      <a:pt x="417" y="399"/>
                    </a:lnTo>
                    <a:lnTo>
                      <a:pt x="422" y="399"/>
                    </a:lnTo>
                    <a:lnTo>
                      <a:pt x="426" y="401"/>
                    </a:lnTo>
                    <a:lnTo>
                      <a:pt x="430" y="403"/>
                    </a:lnTo>
                    <a:lnTo>
                      <a:pt x="462" y="421"/>
                    </a:lnTo>
                    <a:lnTo>
                      <a:pt x="489" y="372"/>
                    </a:lnTo>
                    <a:lnTo>
                      <a:pt x="457" y="354"/>
                    </a:lnTo>
                    <a:lnTo>
                      <a:pt x="457" y="354"/>
                    </a:lnTo>
                    <a:lnTo>
                      <a:pt x="454" y="351"/>
                    </a:lnTo>
                    <a:lnTo>
                      <a:pt x="450" y="348"/>
                    </a:lnTo>
                    <a:lnTo>
                      <a:pt x="448" y="345"/>
                    </a:lnTo>
                    <a:lnTo>
                      <a:pt x="446" y="341"/>
                    </a:lnTo>
                    <a:lnTo>
                      <a:pt x="444" y="337"/>
                    </a:lnTo>
                    <a:lnTo>
                      <a:pt x="443" y="332"/>
                    </a:lnTo>
                    <a:lnTo>
                      <a:pt x="443" y="328"/>
                    </a:lnTo>
                    <a:lnTo>
                      <a:pt x="444" y="322"/>
                    </a:lnTo>
                    <a:lnTo>
                      <a:pt x="444" y="322"/>
                    </a:lnTo>
                    <a:lnTo>
                      <a:pt x="447" y="303"/>
                    </a:lnTo>
                    <a:lnTo>
                      <a:pt x="449" y="283"/>
                    </a:lnTo>
                    <a:lnTo>
                      <a:pt x="449" y="283"/>
                    </a:lnTo>
                    <a:lnTo>
                      <a:pt x="447" y="264"/>
                    </a:lnTo>
                    <a:lnTo>
                      <a:pt x="444" y="244"/>
                    </a:lnTo>
                    <a:lnTo>
                      <a:pt x="444" y="244"/>
                    </a:lnTo>
                    <a:lnTo>
                      <a:pt x="443" y="240"/>
                    </a:lnTo>
                    <a:lnTo>
                      <a:pt x="443" y="235"/>
                    </a:lnTo>
                    <a:lnTo>
                      <a:pt x="444" y="231"/>
                    </a:lnTo>
                    <a:lnTo>
                      <a:pt x="445" y="226"/>
                    </a:lnTo>
                    <a:lnTo>
                      <a:pt x="447" y="222"/>
                    </a:lnTo>
                    <a:lnTo>
                      <a:pt x="450" y="218"/>
                    </a:lnTo>
                    <a:lnTo>
                      <a:pt x="453" y="215"/>
                    </a:lnTo>
                    <a:lnTo>
                      <a:pt x="457" y="213"/>
                    </a:lnTo>
                    <a:lnTo>
                      <a:pt x="489" y="194"/>
                    </a:lnTo>
                    <a:lnTo>
                      <a:pt x="461" y="146"/>
                    </a:lnTo>
                    <a:lnTo>
                      <a:pt x="430" y="164"/>
                    </a:lnTo>
                    <a:lnTo>
                      <a:pt x="430" y="164"/>
                    </a:lnTo>
                    <a:lnTo>
                      <a:pt x="426" y="166"/>
                    </a:lnTo>
                    <a:lnTo>
                      <a:pt x="422" y="167"/>
                    </a:lnTo>
                    <a:lnTo>
                      <a:pt x="417" y="168"/>
                    </a:lnTo>
                    <a:lnTo>
                      <a:pt x="413" y="168"/>
                    </a:lnTo>
                    <a:lnTo>
                      <a:pt x="409" y="167"/>
                    </a:lnTo>
                    <a:lnTo>
                      <a:pt x="404" y="165"/>
                    </a:lnTo>
                    <a:lnTo>
                      <a:pt x="400" y="163"/>
                    </a:lnTo>
                    <a:lnTo>
                      <a:pt x="397" y="160"/>
                    </a:lnTo>
                    <a:lnTo>
                      <a:pt x="397" y="160"/>
                    </a:lnTo>
                    <a:lnTo>
                      <a:pt x="382" y="148"/>
                    </a:lnTo>
                    <a:lnTo>
                      <a:pt x="366" y="137"/>
                    </a:lnTo>
                    <a:lnTo>
                      <a:pt x="349" y="127"/>
                    </a:lnTo>
                    <a:lnTo>
                      <a:pt x="330" y="120"/>
                    </a:lnTo>
                    <a:lnTo>
                      <a:pt x="330" y="120"/>
                    </a:lnTo>
                    <a:lnTo>
                      <a:pt x="326" y="118"/>
                    </a:lnTo>
                    <a:lnTo>
                      <a:pt x="322" y="116"/>
                    </a:lnTo>
                    <a:lnTo>
                      <a:pt x="318" y="113"/>
                    </a:lnTo>
                    <a:lnTo>
                      <a:pt x="316" y="110"/>
                    </a:lnTo>
                    <a:lnTo>
                      <a:pt x="313" y="106"/>
                    </a:lnTo>
                    <a:lnTo>
                      <a:pt x="312" y="102"/>
                    </a:lnTo>
                    <a:lnTo>
                      <a:pt x="311" y="98"/>
                    </a:lnTo>
                    <a:lnTo>
                      <a:pt x="310" y="93"/>
                    </a:lnTo>
                    <a:lnTo>
                      <a:pt x="310" y="57"/>
                    </a:lnTo>
                    <a:lnTo>
                      <a:pt x="254" y="57"/>
                    </a:lnTo>
                    <a:lnTo>
                      <a:pt x="254" y="93"/>
                    </a:lnTo>
                    <a:lnTo>
                      <a:pt x="254" y="93"/>
                    </a:lnTo>
                    <a:lnTo>
                      <a:pt x="254" y="98"/>
                    </a:lnTo>
                    <a:lnTo>
                      <a:pt x="253" y="102"/>
                    </a:lnTo>
                    <a:lnTo>
                      <a:pt x="251" y="106"/>
                    </a:lnTo>
                    <a:lnTo>
                      <a:pt x="249" y="110"/>
                    </a:lnTo>
                    <a:lnTo>
                      <a:pt x="246" y="113"/>
                    </a:lnTo>
                    <a:lnTo>
                      <a:pt x="243" y="116"/>
                    </a:lnTo>
                    <a:lnTo>
                      <a:pt x="239" y="118"/>
                    </a:lnTo>
                    <a:lnTo>
                      <a:pt x="234" y="120"/>
                    </a:lnTo>
                    <a:lnTo>
                      <a:pt x="234" y="120"/>
                    </a:lnTo>
                    <a:lnTo>
                      <a:pt x="214" y="127"/>
                    </a:lnTo>
                    <a:lnTo>
                      <a:pt x="195" y="138"/>
                    </a:lnTo>
                    <a:lnTo>
                      <a:pt x="178" y="148"/>
                    </a:lnTo>
                    <a:lnTo>
                      <a:pt x="171" y="154"/>
                    </a:lnTo>
                    <a:lnTo>
                      <a:pt x="164" y="160"/>
                    </a:lnTo>
                    <a:lnTo>
                      <a:pt x="164" y="160"/>
                    </a:lnTo>
                    <a:lnTo>
                      <a:pt x="160" y="163"/>
                    </a:lnTo>
                    <a:lnTo>
                      <a:pt x="156" y="165"/>
                    </a:lnTo>
                    <a:lnTo>
                      <a:pt x="152" y="167"/>
                    </a:lnTo>
                    <a:lnTo>
                      <a:pt x="148" y="168"/>
                    </a:lnTo>
                    <a:lnTo>
                      <a:pt x="143" y="168"/>
                    </a:lnTo>
                    <a:lnTo>
                      <a:pt x="139" y="167"/>
                    </a:lnTo>
                    <a:lnTo>
                      <a:pt x="134" y="166"/>
                    </a:lnTo>
                    <a:lnTo>
                      <a:pt x="130" y="164"/>
                    </a:lnTo>
                    <a:lnTo>
                      <a:pt x="97" y="146"/>
                    </a:lnTo>
                    <a:lnTo>
                      <a:pt x="68" y="194"/>
                    </a:lnTo>
                    <a:lnTo>
                      <a:pt x="100" y="213"/>
                    </a:lnTo>
                    <a:lnTo>
                      <a:pt x="100" y="213"/>
                    </a:lnTo>
                    <a:lnTo>
                      <a:pt x="103" y="215"/>
                    </a:lnTo>
                    <a:lnTo>
                      <a:pt x="107" y="218"/>
                    </a:lnTo>
                    <a:lnTo>
                      <a:pt x="109" y="222"/>
                    </a:lnTo>
                    <a:lnTo>
                      <a:pt x="111" y="226"/>
                    </a:lnTo>
                    <a:lnTo>
                      <a:pt x="113" y="231"/>
                    </a:lnTo>
                    <a:lnTo>
                      <a:pt x="113" y="235"/>
                    </a:lnTo>
                    <a:lnTo>
                      <a:pt x="113" y="240"/>
                    </a:lnTo>
                    <a:lnTo>
                      <a:pt x="113" y="244"/>
                    </a:lnTo>
                    <a:lnTo>
                      <a:pt x="113" y="244"/>
                    </a:lnTo>
                    <a:lnTo>
                      <a:pt x="109" y="264"/>
                    </a:lnTo>
                    <a:lnTo>
                      <a:pt x="108" y="283"/>
                    </a:lnTo>
                    <a:lnTo>
                      <a:pt x="108" y="283"/>
                    </a:lnTo>
                    <a:lnTo>
                      <a:pt x="109" y="303"/>
                    </a:lnTo>
                    <a:lnTo>
                      <a:pt x="113" y="322"/>
                    </a:lnTo>
                    <a:lnTo>
                      <a:pt x="113" y="322"/>
                    </a:lnTo>
                    <a:lnTo>
                      <a:pt x="113" y="328"/>
                    </a:lnTo>
                    <a:lnTo>
                      <a:pt x="113" y="332"/>
                    </a:lnTo>
                    <a:lnTo>
                      <a:pt x="113" y="337"/>
                    </a:lnTo>
                    <a:lnTo>
                      <a:pt x="111" y="341"/>
                    </a:lnTo>
                    <a:lnTo>
                      <a:pt x="109" y="345"/>
                    </a:lnTo>
                    <a:lnTo>
                      <a:pt x="106" y="348"/>
                    </a:lnTo>
                    <a:lnTo>
                      <a:pt x="103" y="351"/>
                    </a:lnTo>
                    <a:lnTo>
                      <a:pt x="99" y="354"/>
                    </a:lnTo>
                    <a:lnTo>
                      <a:pt x="68" y="372"/>
                    </a:lnTo>
                    <a:lnTo>
                      <a:pt x="96" y="421"/>
                    </a:lnTo>
                    <a:lnTo>
                      <a:pt x="130" y="402"/>
                    </a:lnTo>
                    <a:lnTo>
                      <a:pt x="130" y="402"/>
                    </a:lnTo>
                    <a:lnTo>
                      <a:pt x="134" y="401"/>
                    </a:lnTo>
                    <a:lnTo>
                      <a:pt x="139" y="399"/>
                    </a:lnTo>
                    <a:lnTo>
                      <a:pt x="143" y="399"/>
                    </a:lnTo>
                    <a:lnTo>
                      <a:pt x="148" y="399"/>
                    </a:lnTo>
                    <a:lnTo>
                      <a:pt x="152" y="400"/>
                    </a:lnTo>
                    <a:lnTo>
                      <a:pt x="156" y="402"/>
                    </a:lnTo>
                    <a:lnTo>
                      <a:pt x="160" y="404"/>
                    </a:lnTo>
                    <a:lnTo>
                      <a:pt x="164" y="407"/>
                    </a:lnTo>
                    <a:lnTo>
                      <a:pt x="164" y="407"/>
                    </a:lnTo>
                    <a:lnTo>
                      <a:pt x="170" y="413"/>
                    </a:lnTo>
                    <a:lnTo>
                      <a:pt x="178" y="418"/>
                    </a:lnTo>
                    <a:lnTo>
                      <a:pt x="195" y="430"/>
                    </a:lnTo>
                    <a:lnTo>
                      <a:pt x="214" y="439"/>
                    </a:lnTo>
                    <a:lnTo>
                      <a:pt x="234" y="447"/>
                    </a:lnTo>
                    <a:lnTo>
                      <a:pt x="234" y="447"/>
                    </a:lnTo>
                    <a:lnTo>
                      <a:pt x="239" y="448"/>
                    </a:lnTo>
                    <a:lnTo>
                      <a:pt x="242" y="451"/>
                    </a:lnTo>
                    <a:lnTo>
                      <a:pt x="246" y="454"/>
                    </a:lnTo>
                    <a:lnTo>
                      <a:pt x="249" y="457"/>
                    </a:lnTo>
                    <a:lnTo>
                      <a:pt x="251" y="461"/>
                    </a:lnTo>
                    <a:lnTo>
                      <a:pt x="253" y="465"/>
                    </a:lnTo>
                    <a:lnTo>
                      <a:pt x="254" y="469"/>
                    </a:lnTo>
                    <a:lnTo>
                      <a:pt x="254" y="474"/>
                    </a:lnTo>
                    <a:lnTo>
                      <a:pt x="254"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grpSp>
        <p:nvGrpSpPr>
          <p:cNvPr id="45" name="Group 44">
            <a:extLst>
              <a:ext uri="{FF2B5EF4-FFF2-40B4-BE49-F238E27FC236}">
                <a16:creationId xmlns:a16="http://schemas.microsoft.com/office/drawing/2014/main" id="{8791A94E-3F52-68E6-99F8-42E7445211FA}"/>
              </a:ext>
            </a:extLst>
          </p:cNvPr>
          <p:cNvGrpSpPr/>
          <p:nvPr/>
        </p:nvGrpSpPr>
        <p:grpSpPr>
          <a:xfrm>
            <a:off x="8469585" y="1561028"/>
            <a:ext cx="360363" cy="360363"/>
            <a:chOff x="6996113" y="2528889"/>
            <a:chExt cx="360363" cy="360363"/>
          </a:xfrm>
          <a:solidFill>
            <a:schemeClr val="bg1"/>
          </a:solidFill>
        </p:grpSpPr>
        <p:sp>
          <p:nvSpPr>
            <p:cNvPr id="51" name="Freeform 138">
              <a:extLst>
                <a:ext uri="{FF2B5EF4-FFF2-40B4-BE49-F238E27FC236}">
                  <a16:creationId xmlns:a16="http://schemas.microsoft.com/office/drawing/2014/main" id="{4C13C2AD-2638-B467-E102-A34076CA3B6D}"/>
                </a:ext>
              </a:extLst>
            </p:cNvPr>
            <p:cNvSpPr>
              <a:spLocks/>
            </p:cNvSpPr>
            <p:nvPr/>
          </p:nvSpPr>
          <p:spPr bwMode="auto">
            <a:xfrm>
              <a:off x="6996113" y="2874964"/>
              <a:ext cx="360363" cy="14288"/>
            </a:xfrm>
            <a:custGeom>
              <a:avLst/>
              <a:gdLst>
                <a:gd name="T0" fmla="*/ 1554 w 1587"/>
                <a:gd name="T1" fmla="*/ 66 h 66"/>
                <a:gd name="T2" fmla="*/ 33 w 1587"/>
                <a:gd name="T3" fmla="*/ 66 h 66"/>
                <a:gd name="T4" fmla="*/ 33 w 1587"/>
                <a:gd name="T5" fmla="*/ 66 h 66"/>
                <a:gd name="T6" fmla="*/ 27 w 1587"/>
                <a:gd name="T7" fmla="*/ 65 h 66"/>
                <a:gd name="T8" fmla="*/ 20 w 1587"/>
                <a:gd name="T9" fmla="*/ 63 h 66"/>
                <a:gd name="T10" fmla="*/ 14 w 1587"/>
                <a:gd name="T11" fmla="*/ 60 h 66"/>
                <a:gd name="T12" fmla="*/ 10 w 1587"/>
                <a:gd name="T13" fmla="*/ 56 h 66"/>
                <a:gd name="T14" fmla="*/ 6 w 1587"/>
                <a:gd name="T15" fmla="*/ 51 h 66"/>
                <a:gd name="T16" fmla="*/ 3 w 1587"/>
                <a:gd name="T17" fmla="*/ 45 h 66"/>
                <a:gd name="T18" fmla="*/ 1 w 1587"/>
                <a:gd name="T19" fmla="*/ 39 h 66"/>
                <a:gd name="T20" fmla="*/ 0 w 1587"/>
                <a:gd name="T21" fmla="*/ 33 h 66"/>
                <a:gd name="T22" fmla="*/ 0 w 1587"/>
                <a:gd name="T23" fmla="*/ 33 h 66"/>
                <a:gd name="T24" fmla="*/ 1 w 1587"/>
                <a:gd name="T25" fmla="*/ 26 h 66"/>
                <a:gd name="T26" fmla="*/ 3 w 1587"/>
                <a:gd name="T27" fmla="*/ 20 h 66"/>
                <a:gd name="T28" fmla="*/ 6 w 1587"/>
                <a:gd name="T29" fmla="*/ 14 h 66"/>
                <a:gd name="T30" fmla="*/ 10 w 1587"/>
                <a:gd name="T31" fmla="*/ 9 h 66"/>
                <a:gd name="T32" fmla="*/ 14 w 1587"/>
                <a:gd name="T33" fmla="*/ 5 h 66"/>
                <a:gd name="T34" fmla="*/ 20 w 1587"/>
                <a:gd name="T35" fmla="*/ 3 h 66"/>
                <a:gd name="T36" fmla="*/ 27 w 1587"/>
                <a:gd name="T37" fmla="*/ 1 h 66"/>
                <a:gd name="T38" fmla="*/ 33 w 1587"/>
                <a:gd name="T39" fmla="*/ 0 h 66"/>
                <a:gd name="T40" fmla="*/ 1554 w 1587"/>
                <a:gd name="T41" fmla="*/ 0 h 66"/>
                <a:gd name="T42" fmla="*/ 1554 w 1587"/>
                <a:gd name="T43" fmla="*/ 0 h 66"/>
                <a:gd name="T44" fmla="*/ 1560 w 1587"/>
                <a:gd name="T45" fmla="*/ 1 h 66"/>
                <a:gd name="T46" fmla="*/ 1566 w 1587"/>
                <a:gd name="T47" fmla="*/ 3 h 66"/>
                <a:gd name="T48" fmla="*/ 1573 w 1587"/>
                <a:gd name="T49" fmla="*/ 5 h 66"/>
                <a:gd name="T50" fmla="*/ 1577 w 1587"/>
                <a:gd name="T51" fmla="*/ 9 h 66"/>
                <a:gd name="T52" fmla="*/ 1581 w 1587"/>
                <a:gd name="T53" fmla="*/ 14 h 66"/>
                <a:gd name="T54" fmla="*/ 1584 w 1587"/>
                <a:gd name="T55" fmla="*/ 20 h 66"/>
                <a:gd name="T56" fmla="*/ 1586 w 1587"/>
                <a:gd name="T57" fmla="*/ 26 h 66"/>
                <a:gd name="T58" fmla="*/ 1587 w 1587"/>
                <a:gd name="T59" fmla="*/ 33 h 66"/>
                <a:gd name="T60" fmla="*/ 1587 w 1587"/>
                <a:gd name="T61" fmla="*/ 33 h 66"/>
                <a:gd name="T62" fmla="*/ 1586 w 1587"/>
                <a:gd name="T63" fmla="*/ 39 h 66"/>
                <a:gd name="T64" fmla="*/ 1584 w 1587"/>
                <a:gd name="T65" fmla="*/ 45 h 66"/>
                <a:gd name="T66" fmla="*/ 1581 w 1587"/>
                <a:gd name="T67" fmla="*/ 51 h 66"/>
                <a:gd name="T68" fmla="*/ 1577 w 1587"/>
                <a:gd name="T69" fmla="*/ 56 h 66"/>
                <a:gd name="T70" fmla="*/ 1573 w 1587"/>
                <a:gd name="T71" fmla="*/ 60 h 66"/>
                <a:gd name="T72" fmla="*/ 1566 w 1587"/>
                <a:gd name="T73" fmla="*/ 63 h 66"/>
                <a:gd name="T74" fmla="*/ 1560 w 1587"/>
                <a:gd name="T75" fmla="*/ 65 h 66"/>
                <a:gd name="T76" fmla="*/ 1554 w 1587"/>
                <a:gd name="T77" fmla="*/ 66 h 66"/>
                <a:gd name="T78" fmla="*/ 1554 w 1587"/>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87" h="66">
                  <a:moveTo>
                    <a:pt x="1554" y="66"/>
                  </a:moveTo>
                  <a:lnTo>
                    <a:pt x="33" y="66"/>
                  </a:lnTo>
                  <a:lnTo>
                    <a:pt x="33" y="66"/>
                  </a:lnTo>
                  <a:lnTo>
                    <a:pt x="27" y="65"/>
                  </a:lnTo>
                  <a:lnTo>
                    <a:pt x="20" y="63"/>
                  </a:lnTo>
                  <a:lnTo>
                    <a:pt x="14" y="60"/>
                  </a:lnTo>
                  <a:lnTo>
                    <a:pt x="10" y="56"/>
                  </a:lnTo>
                  <a:lnTo>
                    <a:pt x="6" y="51"/>
                  </a:lnTo>
                  <a:lnTo>
                    <a:pt x="3" y="45"/>
                  </a:lnTo>
                  <a:lnTo>
                    <a:pt x="1" y="39"/>
                  </a:lnTo>
                  <a:lnTo>
                    <a:pt x="0" y="33"/>
                  </a:lnTo>
                  <a:lnTo>
                    <a:pt x="0" y="33"/>
                  </a:lnTo>
                  <a:lnTo>
                    <a:pt x="1" y="26"/>
                  </a:lnTo>
                  <a:lnTo>
                    <a:pt x="3" y="20"/>
                  </a:lnTo>
                  <a:lnTo>
                    <a:pt x="6" y="14"/>
                  </a:lnTo>
                  <a:lnTo>
                    <a:pt x="10" y="9"/>
                  </a:lnTo>
                  <a:lnTo>
                    <a:pt x="14" y="5"/>
                  </a:lnTo>
                  <a:lnTo>
                    <a:pt x="20" y="3"/>
                  </a:lnTo>
                  <a:lnTo>
                    <a:pt x="27" y="1"/>
                  </a:lnTo>
                  <a:lnTo>
                    <a:pt x="33" y="0"/>
                  </a:lnTo>
                  <a:lnTo>
                    <a:pt x="1554" y="0"/>
                  </a:lnTo>
                  <a:lnTo>
                    <a:pt x="1554" y="0"/>
                  </a:lnTo>
                  <a:lnTo>
                    <a:pt x="1560" y="1"/>
                  </a:lnTo>
                  <a:lnTo>
                    <a:pt x="1566" y="3"/>
                  </a:lnTo>
                  <a:lnTo>
                    <a:pt x="1573" y="5"/>
                  </a:lnTo>
                  <a:lnTo>
                    <a:pt x="1577" y="9"/>
                  </a:lnTo>
                  <a:lnTo>
                    <a:pt x="1581" y="14"/>
                  </a:lnTo>
                  <a:lnTo>
                    <a:pt x="1584" y="20"/>
                  </a:lnTo>
                  <a:lnTo>
                    <a:pt x="1586" y="26"/>
                  </a:lnTo>
                  <a:lnTo>
                    <a:pt x="1587" y="33"/>
                  </a:lnTo>
                  <a:lnTo>
                    <a:pt x="1587" y="33"/>
                  </a:lnTo>
                  <a:lnTo>
                    <a:pt x="1586" y="39"/>
                  </a:lnTo>
                  <a:lnTo>
                    <a:pt x="1584" y="45"/>
                  </a:lnTo>
                  <a:lnTo>
                    <a:pt x="1581" y="51"/>
                  </a:lnTo>
                  <a:lnTo>
                    <a:pt x="1577" y="56"/>
                  </a:lnTo>
                  <a:lnTo>
                    <a:pt x="1573" y="60"/>
                  </a:lnTo>
                  <a:lnTo>
                    <a:pt x="1566" y="63"/>
                  </a:lnTo>
                  <a:lnTo>
                    <a:pt x="1560" y="65"/>
                  </a:lnTo>
                  <a:lnTo>
                    <a:pt x="1554" y="66"/>
                  </a:lnTo>
                  <a:lnTo>
                    <a:pt x="155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2" name="Freeform 139">
              <a:extLst>
                <a:ext uri="{FF2B5EF4-FFF2-40B4-BE49-F238E27FC236}">
                  <a16:creationId xmlns:a16="http://schemas.microsoft.com/office/drawing/2014/main" id="{DA864DFF-9D40-DE87-D3EC-C76AA67B3F49}"/>
                </a:ext>
              </a:extLst>
            </p:cNvPr>
            <p:cNvSpPr>
              <a:spLocks noEditPoints="1"/>
            </p:cNvSpPr>
            <p:nvPr/>
          </p:nvSpPr>
          <p:spPr bwMode="auto">
            <a:xfrm>
              <a:off x="7056438" y="2589214"/>
              <a:ext cx="239713" cy="300038"/>
            </a:xfrm>
            <a:custGeom>
              <a:avLst/>
              <a:gdLst>
                <a:gd name="T0" fmla="*/ 1024 w 1057"/>
                <a:gd name="T1" fmla="*/ 1323 h 1323"/>
                <a:gd name="T2" fmla="*/ 33 w 1057"/>
                <a:gd name="T3" fmla="*/ 1323 h 1323"/>
                <a:gd name="T4" fmla="*/ 33 w 1057"/>
                <a:gd name="T5" fmla="*/ 1323 h 1323"/>
                <a:gd name="T6" fmla="*/ 25 w 1057"/>
                <a:gd name="T7" fmla="*/ 1322 h 1323"/>
                <a:gd name="T8" fmla="*/ 19 w 1057"/>
                <a:gd name="T9" fmla="*/ 1320 h 1323"/>
                <a:gd name="T10" fmla="*/ 14 w 1057"/>
                <a:gd name="T11" fmla="*/ 1317 h 1323"/>
                <a:gd name="T12" fmla="*/ 9 w 1057"/>
                <a:gd name="T13" fmla="*/ 1313 h 1323"/>
                <a:gd name="T14" fmla="*/ 5 w 1057"/>
                <a:gd name="T15" fmla="*/ 1308 h 1323"/>
                <a:gd name="T16" fmla="*/ 2 w 1057"/>
                <a:gd name="T17" fmla="*/ 1302 h 1323"/>
                <a:gd name="T18" fmla="*/ 0 w 1057"/>
                <a:gd name="T19" fmla="*/ 1296 h 1323"/>
                <a:gd name="T20" fmla="*/ 0 w 1057"/>
                <a:gd name="T21" fmla="*/ 1290 h 1323"/>
                <a:gd name="T22" fmla="*/ 0 w 1057"/>
                <a:gd name="T23" fmla="*/ 33 h 1323"/>
                <a:gd name="T24" fmla="*/ 0 w 1057"/>
                <a:gd name="T25" fmla="*/ 33 h 1323"/>
                <a:gd name="T26" fmla="*/ 0 w 1057"/>
                <a:gd name="T27" fmla="*/ 26 h 1323"/>
                <a:gd name="T28" fmla="*/ 2 w 1057"/>
                <a:gd name="T29" fmla="*/ 20 h 1323"/>
                <a:gd name="T30" fmla="*/ 5 w 1057"/>
                <a:gd name="T31" fmla="*/ 14 h 1323"/>
                <a:gd name="T32" fmla="*/ 9 w 1057"/>
                <a:gd name="T33" fmla="*/ 9 h 1323"/>
                <a:gd name="T34" fmla="*/ 14 w 1057"/>
                <a:gd name="T35" fmla="*/ 5 h 1323"/>
                <a:gd name="T36" fmla="*/ 19 w 1057"/>
                <a:gd name="T37" fmla="*/ 2 h 1323"/>
                <a:gd name="T38" fmla="*/ 25 w 1057"/>
                <a:gd name="T39" fmla="*/ 0 h 1323"/>
                <a:gd name="T40" fmla="*/ 33 w 1057"/>
                <a:gd name="T41" fmla="*/ 0 h 1323"/>
                <a:gd name="T42" fmla="*/ 1024 w 1057"/>
                <a:gd name="T43" fmla="*/ 0 h 1323"/>
                <a:gd name="T44" fmla="*/ 1024 w 1057"/>
                <a:gd name="T45" fmla="*/ 0 h 1323"/>
                <a:gd name="T46" fmla="*/ 1031 w 1057"/>
                <a:gd name="T47" fmla="*/ 0 h 1323"/>
                <a:gd name="T48" fmla="*/ 1038 w 1057"/>
                <a:gd name="T49" fmla="*/ 2 h 1323"/>
                <a:gd name="T50" fmla="*/ 1043 w 1057"/>
                <a:gd name="T51" fmla="*/ 5 h 1323"/>
                <a:gd name="T52" fmla="*/ 1048 w 1057"/>
                <a:gd name="T53" fmla="*/ 9 h 1323"/>
                <a:gd name="T54" fmla="*/ 1052 w 1057"/>
                <a:gd name="T55" fmla="*/ 14 h 1323"/>
                <a:gd name="T56" fmla="*/ 1055 w 1057"/>
                <a:gd name="T57" fmla="*/ 20 h 1323"/>
                <a:gd name="T58" fmla="*/ 1057 w 1057"/>
                <a:gd name="T59" fmla="*/ 26 h 1323"/>
                <a:gd name="T60" fmla="*/ 1057 w 1057"/>
                <a:gd name="T61" fmla="*/ 33 h 1323"/>
                <a:gd name="T62" fmla="*/ 1057 w 1057"/>
                <a:gd name="T63" fmla="*/ 1290 h 1323"/>
                <a:gd name="T64" fmla="*/ 1057 w 1057"/>
                <a:gd name="T65" fmla="*/ 1290 h 1323"/>
                <a:gd name="T66" fmla="*/ 1057 w 1057"/>
                <a:gd name="T67" fmla="*/ 1296 h 1323"/>
                <a:gd name="T68" fmla="*/ 1055 w 1057"/>
                <a:gd name="T69" fmla="*/ 1302 h 1323"/>
                <a:gd name="T70" fmla="*/ 1052 w 1057"/>
                <a:gd name="T71" fmla="*/ 1308 h 1323"/>
                <a:gd name="T72" fmla="*/ 1048 w 1057"/>
                <a:gd name="T73" fmla="*/ 1313 h 1323"/>
                <a:gd name="T74" fmla="*/ 1043 w 1057"/>
                <a:gd name="T75" fmla="*/ 1317 h 1323"/>
                <a:gd name="T76" fmla="*/ 1038 w 1057"/>
                <a:gd name="T77" fmla="*/ 1320 h 1323"/>
                <a:gd name="T78" fmla="*/ 1031 w 1057"/>
                <a:gd name="T79" fmla="*/ 1322 h 1323"/>
                <a:gd name="T80" fmla="*/ 1024 w 1057"/>
                <a:gd name="T81" fmla="*/ 1323 h 1323"/>
                <a:gd name="T82" fmla="*/ 1024 w 1057"/>
                <a:gd name="T83" fmla="*/ 1323 h 1323"/>
                <a:gd name="T84" fmla="*/ 66 w 1057"/>
                <a:gd name="T85" fmla="*/ 1257 h 1323"/>
                <a:gd name="T86" fmla="*/ 991 w 1057"/>
                <a:gd name="T87" fmla="*/ 1257 h 1323"/>
                <a:gd name="T88" fmla="*/ 991 w 1057"/>
                <a:gd name="T89" fmla="*/ 66 h 1323"/>
                <a:gd name="T90" fmla="*/ 66 w 1057"/>
                <a:gd name="T91" fmla="*/ 66 h 1323"/>
                <a:gd name="T92" fmla="*/ 66 w 1057"/>
                <a:gd name="T93" fmla="*/ 1257 h 1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57" h="1323">
                  <a:moveTo>
                    <a:pt x="1024" y="1323"/>
                  </a:moveTo>
                  <a:lnTo>
                    <a:pt x="33" y="1323"/>
                  </a:lnTo>
                  <a:lnTo>
                    <a:pt x="33" y="1323"/>
                  </a:lnTo>
                  <a:lnTo>
                    <a:pt x="25" y="1322"/>
                  </a:lnTo>
                  <a:lnTo>
                    <a:pt x="19" y="1320"/>
                  </a:lnTo>
                  <a:lnTo>
                    <a:pt x="14" y="1317"/>
                  </a:lnTo>
                  <a:lnTo>
                    <a:pt x="9" y="1313"/>
                  </a:lnTo>
                  <a:lnTo>
                    <a:pt x="5" y="1308"/>
                  </a:lnTo>
                  <a:lnTo>
                    <a:pt x="2" y="1302"/>
                  </a:lnTo>
                  <a:lnTo>
                    <a:pt x="0" y="1296"/>
                  </a:lnTo>
                  <a:lnTo>
                    <a:pt x="0" y="1290"/>
                  </a:lnTo>
                  <a:lnTo>
                    <a:pt x="0" y="33"/>
                  </a:lnTo>
                  <a:lnTo>
                    <a:pt x="0" y="33"/>
                  </a:lnTo>
                  <a:lnTo>
                    <a:pt x="0" y="26"/>
                  </a:lnTo>
                  <a:lnTo>
                    <a:pt x="2" y="20"/>
                  </a:lnTo>
                  <a:lnTo>
                    <a:pt x="5" y="14"/>
                  </a:lnTo>
                  <a:lnTo>
                    <a:pt x="9" y="9"/>
                  </a:lnTo>
                  <a:lnTo>
                    <a:pt x="14" y="5"/>
                  </a:lnTo>
                  <a:lnTo>
                    <a:pt x="19" y="2"/>
                  </a:lnTo>
                  <a:lnTo>
                    <a:pt x="25" y="0"/>
                  </a:lnTo>
                  <a:lnTo>
                    <a:pt x="33" y="0"/>
                  </a:lnTo>
                  <a:lnTo>
                    <a:pt x="1024" y="0"/>
                  </a:lnTo>
                  <a:lnTo>
                    <a:pt x="1024" y="0"/>
                  </a:lnTo>
                  <a:lnTo>
                    <a:pt x="1031" y="0"/>
                  </a:lnTo>
                  <a:lnTo>
                    <a:pt x="1038" y="2"/>
                  </a:lnTo>
                  <a:lnTo>
                    <a:pt x="1043" y="5"/>
                  </a:lnTo>
                  <a:lnTo>
                    <a:pt x="1048" y="9"/>
                  </a:lnTo>
                  <a:lnTo>
                    <a:pt x="1052" y="14"/>
                  </a:lnTo>
                  <a:lnTo>
                    <a:pt x="1055" y="20"/>
                  </a:lnTo>
                  <a:lnTo>
                    <a:pt x="1057" y="26"/>
                  </a:lnTo>
                  <a:lnTo>
                    <a:pt x="1057" y="33"/>
                  </a:lnTo>
                  <a:lnTo>
                    <a:pt x="1057" y="1290"/>
                  </a:lnTo>
                  <a:lnTo>
                    <a:pt x="1057" y="1290"/>
                  </a:lnTo>
                  <a:lnTo>
                    <a:pt x="1057" y="1296"/>
                  </a:lnTo>
                  <a:lnTo>
                    <a:pt x="1055" y="1302"/>
                  </a:lnTo>
                  <a:lnTo>
                    <a:pt x="1052" y="1308"/>
                  </a:lnTo>
                  <a:lnTo>
                    <a:pt x="1048" y="1313"/>
                  </a:lnTo>
                  <a:lnTo>
                    <a:pt x="1043" y="1317"/>
                  </a:lnTo>
                  <a:lnTo>
                    <a:pt x="1038" y="1320"/>
                  </a:lnTo>
                  <a:lnTo>
                    <a:pt x="1031" y="1322"/>
                  </a:lnTo>
                  <a:lnTo>
                    <a:pt x="1024" y="1323"/>
                  </a:lnTo>
                  <a:lnTo>
                    <a:pt x="1024" y="1323"/>
                  </a:lnTo>
                  <a:close/>
                  <a:moveTo>
                    <a:pt x="66" y="1257"/>
                  </a:moveTo>
                  <a:lnTo>
                    <a:pt x="991" y="1257"/>
                  </a:lnTo>
                  <a:lnTo>
                    <a:pt x="991" y="66"/>
                  </a:lnTo>
                  <a:lnTo>
                    <a:pt x="66" y="66"/>
                  </a:lnTo>
                  <a:lnTo>
                    <a:pt x="66" y="1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3" name="Freeform 140">
              <a:extLst>
                <a:ext uri="{FF2B5EF4-FFF2-40B4-BE49-F238E27FC236}">
                  <a16:creationId xmlns:a16="http://schemas.microsoft.com/office/drawing/2014/main" id="{FA7707FE-A4C3-55D6-03A8-7B2ED2D2C026}"/>
                </a:ext>
              </a:extLst>
            </p:cNvPr>
            <p:cNvSpPr>
              <a:spLocks noEditPoints="1"/>
            </p:cNvSpPr>
            <p:nvPr/>
          </p:nvSpPr>
          <p:spPr bwMode="auto">
            <a:xfrm>
              <a:off x="7040563" y="2528889"/>
              <a:ext cx="269875" cy="76200"/>
            </a:xfrm>
            <a:custGeom>
              <a:avLst/>
              <a:gdLst>
                <a:gd name="T0" fmla="*/ 1157 w 1190"/>
                <a:gd name="T1" fmla="*/ 331 h 331"/>
                <a:gd name="T2" fmla="*/ 33 w 1190"/>
                <a:gd name="T3" fmla="*/ 331 h 331"/>
                <a:gd name="T4" fmla="*/ 33 w 1190"/>
                <a:gd name="T5" fmla="*/ 331 h 331"/>
                <a:gd name="T6" fmla="*/ 26 w 1190"/>
                <a:gd name="T7" fmla="*/ 330 h 331"/>
                <a:gd name="T8" fmla="*/ 20 w 1190"/>
                <a:gd name="T9" fmla="*/ 328 h 331"/>
                <a:gd name="T10" fmla="*/ 15 w 1190"/>
                <a:gd name="T11" fmla="*/ 325 h 331"/>
                <a:gd name="T12" fmla="*/ 10 w 1190"/>
                <a:gd name="T13" fmla="*/ 321 h 331"/>
                <a:gd name="T14" fmla="*/ 6 w 1190"/>
                <a:gd name="T15" fmla="*/ 317 h 331"/>
                <a:gd name="T16" fmla="*/ 2 w 1190"/>
                <a:gd name="T17" fmla="*/ 310 h 331"/>
                <a:gd name="T18" fmla="*/ 1 w 1190"/>
                <a:gd name="T19" fmla="*/ 304 h 331"/>
                <a:gd name="T20" fmla="*/ 0 w 1190"/>
                <a:gd name="T21" fmla="*/ 298 h 331"/>
                <a:gd name="T22" fmla="*/ 0 w 1190"/>
                <a:gd name="T23" fmla="*/ 232 h 331"/>
                <a:gd name="T24" fmla="*/ 0 w 1190"/>
                <a:gd name="T25" fmla="*/ 232 h 331"/>
                <a:gd name="T26" fmla="*/ 0 w 1190"/>
                <a:gd name="T27" fmla="*/ 227 h 331"/>
                <a:gd name="T28" fmla="*/ 1 w 1190"/>
                <a:gd name="T29" fmla="*/ 221 h 331"/>
                <a:gd name="T30" fmla="*/ 3 w 1190"/>
                <a:gd name="T31" fmla="*/ 217 h 331"/>
                <a:gd name="T32" fmla="*/ 7 w 1190"/>
                <a:gd name="T33" fmla="*/ 212 h 331"/>
                <a:gd name="T34" fmla="*/ 10 w 1190"/>
                <a:gd name="T35" fmla="*/ 209 h 331"/>
                <a:gd name="T36" fmla="*/ 13 w 1190"/>
                <a:gd name="T37" fmla="*/ 205 h 331"/>
                <a:gd name="T38" fmla="*/ 18 w 1190"/>
                <a:gd name="T39" fmla="*/ 203 h 331"/>
                <a:gd name="T40" fmla="*/ 22 w 1190"/>
                <a:gd name="T41" fmla="*/ 201 h 331"/>
                <a:gd name="T42" fmla="*/ 584 w 1190"/>
                <a:gd name="T43" fmla="*/ 2 h 331"/>
                <a:gd name="T44" fmla="*/ 584 w 1190"/>
                <a:gd name="T45" fmla="*/ 2 h 331"/>
                <a:gd name="T46" fmla="*/ 590 w 1190"/>
                <a:gd name="T47" fmla="*/ 1 h 331"/>
                <a:gd name="T48" fmla="*/ 595 w 1190"/>
                <a:gd name="T49" fmla="*/ 0 h 331"/>
                <a:gd name="T50" fmla="*/ 601 w 1190"/>
                <a:gd name="T51" fmla="*/ 1 h 331"/>
                <a:gd name="T52" fmla="*/ 607 w 1190"/>
                <a:gd name="T53" fmla="*/ 2 h 331"/>
                <a:gd name="T54" fmla="*/ 1169 w 1190"/>
                <a:gd name="T55" fmla="*/ 201 h 331"/>
                <a:gd name="T56" fmla="*/ 1169 w 1190"/>
                <a:gd name="T57" fmla="*/ 201 h 331"/>
                <a:gd name="T58" fmla="*/ 1173 w 1190"/>
                <a:gd name="T59" fmla="*/ 203 h 331"/>
                <a:gd name="T60" fmla="*/ 1178 w 1190"/>
                <a:gd name="T61" fmla="*/ 205 h 331"/>
                <a:gd name="T62" fmla="*/ 1181 w 1190"/>
                <a:gd name="T63" fmla="*/ 209 h 331"/>
                <a:gd name="T64" fmla="*/ 1184 w 1190"/>
                <a:gd name="T65" fmla="*/ 212 h 331"/>
                <a:gd name="T66" fmla="*/ 1187 w 1190"/>
                <a:gd name="T67" fmla="*/ 217 h 331"/>
                <a:gd name="T68" fmla="*/ 1189 w 1190"/>
                <a:gd name="T69" fmla="*/ 221 h 331"/>
                <a:gd name="T70" fmla="*/ 1190 w 1190"/>
                <a:gd name="T71" fmla="*/ 227 h 331"/>
                <a:gd name="T72" fmla="*/ 1190 w 1190"/>
                <a:gd name="T73" fmla="*/ 232 h 331"/>
                <a:gd name="T74" fmla="*/ 1190 w 1190"/>
                <a:gd name="T75" fmla="*/ 298 h 331"/>
                <a:gd name="T76" fmla="*/ 1190 w 1190"/>
                <a:gd name="T77" fmla="*/ 298 h 331"/>
                <a:gd name="T78" fmla="*/ 1189 w 1190"/>
                <a:gd name="T79" fmla="*/ 304 h 331"/>
                <a:gd name="T80" fmla="*/ 1188 w 1190"/>
                <a:gd name="T81" fmla="*/ 310 h 331"/>
                <a:gd name="T82" fmla="*/ 1185 w 1190"/>
                <a:gd name="T83" fmla="*/ 317 h 331"/>
                <a:gd name="T84" fmla="*/ 1181 w 1190"/>
                <a:gd name="T85" fmla="*/ 321 h 331"/>
                <a:gd name="T86" fmla="*/ 1176 w 1190"/>
                <a:gd name="T87" fmla="*/ 325 h 331"/>
                <a:gd name="T88" fmla="*/ 1171 w 1190"/>
                <a:gd name="T89" fmla="*/ 328 h 331"/>
                <a:gd name="T90" fmla="*/ 1165 w 1190"/>
                <a:gd name="T91" fmla="*/ 330 h 331"/>
                <a:gd name="T92" fmla="*/ 1157 w 1190"/>
                <a:gd name="T93" fmla="*/ 331 h 331"/>
                <a:gd name="T94" fmla="*/ 1157 w 1190"/>
                <a:gd name="T95" fmla="*/ 331 h 331"/>
                <a:gd name="T96" fmla="*/ 67 w 1190"/>
                <a:gd name="T97" fmla="*/ 265 h 331"/>
                <a:gd name="T98" fmla="*/ 1124 w 1190"/>
                <a:gd name="T99" fmla="*/ 265 h 331"/>
                <a:gd name="T100" fmla="*/ 1124 w 1190"/>
                <a:gd name="T101" fmla="*/ 256 h 331"/>
                <a:gd name="T102" fmla="*/ 595 w 1190"/>
                <a:gd name="T103" fmla="*/ 68 h 331"/>
                <a:gd name="T104" fmla="*/ 67 w 1190"/>
                <a:gd name="T105" fmla="*/ 256 h 331"/>
                <a:gd name="T106" fmla="*/ 67 w 1190"/>
                <a:gd name="T107" fmla="*/ 265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90" h="331">
                  <a:moveTo>
                    <a:pt x="1157" y="331"/>
                  </a:moveTo>
                  <a:lnTo>
                    <a:pt x="33" y="331"/>
                  </a:lnTo>
                  <a:lnTo>
                    <a:pt x="33" y="331"/>
                  </a:lnTo>
                  <a:lnTo>
                    <a:pt x="26" y="330"/>
                  </a:lnTo>
                  <a:lnTo>
                    <a:pt x="20" y="328"/>
                  </a:lnTo>
                  <a:lnTo>
                    <a:pt x="15" y="325"/>
                  </a:lnTo>
                  <a:lnTo>
                    <a:pt x="10" y="321"/>
                  </a:lnTo>
                  <a:lnTo>
                    <a:pt x="6" y="317"/>
                  </a:lnTo>
                  <a:lnTo>
                    <a:pt x="2" y="310"/>
                  </a:lnTo>
                  <a:lnTo>
                    <a:pt x="1" y="304"/>
                  </a:lnTo>
                  <a:lnTo>
                    <a:pt x="0" y="298"/>
                  </a:lnTo>
                  <a:lnTo>
                    <a:pt x="0" y="232"/>
                  </a:lnTo>
                  <a:lnTo>
                    <a:pt x="0" y="232"/>
                  </a:lnTo>
                  <a:lnTo>
                    <a:pt x="0" y="227"/>
                  </a:lnTo>
                  <a:lnTo>
                    <a:pt x="1" y="221"/>
                  </a:lnTo>
                  <a:lnTo>
                    <a:pt x="3" y="217"/>
                  </a:lnTo>
                  <a:lnTo>
                    <a:pt x="7" y="212"/>
                  </a:lnTo>
                  <a:lnTo>
                    <a:pt x="10" y="209"/>
                  </a:lnTo>
                  <a:lnTo>
                    <a:pt x="13" y="205"/>
                  </a:lnTo>
                  <a:lnTo>
                    <a:pt x="18" y="203"/>
                  </a:lnTo>
                  <a:lnTo>
                    <a:pt x="22" y="201"/>
                  </a:lnTo>
                  <a:lnTo>
                    <a:pt x="584" y="2"/>
                  </a:lnTo>
                  <a:lnTo>
                    <a:pt x="584" y="2"/>
                  </a:lnTo>
                  <a:lnTo>
                    <a:pt x="590" y="1"/>
                  </a:lnTo>
                  <a:lnTo>
                    <a:pt x="595" y="0"/>
                  </a:lnTo>
                  <a:lnTo>
                    <a:pt x="601" y="1"/>
                  </a:lnTo>
                  <a:lnTo>
                    <a:pt x="607" y="2"/>
                  </a:lnTo>
                  <a:lnTo>
                    <a:pt x="1169" y="201"/>
                  </a:lnTo>
                  <a:lnTo>
                    <a:pt x="1169" y="201"/>
                  </a:lnTo>
                  <a:lnTo>
                    <a:pt x="1173" y="203"/>
                  </a:lnTo>
                  <a:lnTo>
                    <a:pt x="1178" y="205"/>
                  </a:lnTo>
                  <a:lnTo>
                    <a:pt x="1181" y="209"/>
                  </a:lnTo>
                  <a:lnTo>
                    <a:pt x="1184" y="212"/>
                  </a:lnTo>
                  <a:lnTo>
                    <a:pt x="1187" y="217"/>
                  </a:lnTo>
                  <a:lnTo>
                    <a:pt x="1189" y="221"/>
                  </a:lnTo>
                  <a:lnTo>
                    <a:pt x="1190" y="227"/>
                  </a:lnTo>
                  <a:lnTo>
                    <a:pt x="1190" y="232"/>
                  </a:lnTo>
                  <a:lnTo>
                    <a:pt x="1190" y="298"/>
                  </a:lnTo>
                  <a:lnTo>
                    <a:pt x="1190" y="298"/>
                  </a:lnTo>
                  <a:lnTo>
                    <a:pt x="1189" y="304"/>
                  </a:lnTo>
                  <a:lnTo>
                    <a:pt x="1188" y="310"/>
                  </a:lnTo>
                  <a:lnTo>
                    <a:pt x="1185" y="317"/>
                  </a:lnTo>
                  <a:lnTo>
                    <a:pt x="1181" y="321"/>
                  </a:lnTo>
                  <a:lnTo>
                    <a:pt x="1176" y="325"/>
                  </a:lnTo>
                  <a:lnTo>
                    <a:pt x="1171" y="328"/>
                  </a:lnTo>
                  <a:lnTo>
                    <a:pt x="1165" y="330"/>
                  </a:lnTo>
                  <a:lnTo>
                    <a:pt x="1157" y="331"/>
                  </a:lnTo>
                  <a:lnTo>
                    <a:pt x="1157" y="331"/>
                  </a:lnTo>
                  <a:close/>
                  <a:moveTo>
                    <a:pt x="67" y="265"/>
                  </a:moveTo>
                  <a:lnTo>
                    <a:pt x="1124" y="265"/>
                  </a:lnTo>
                  <a:lnTo>
                    <a:pt x="1124" y="256"/>
                  </a:lnTo>
                  <a:lnTo>
                    <a:pt x="595" y="68"/>
                  </a:lnTo>
                  <a:lnTo>
                    <a:pt x="67" y="256"/>
                  </a:lnTo>
                  <a:lnTo>
                    <a:pt x="67"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4" name="Freeform 141">
              <a:extLst>
                <a:ext uri="{FF2B5EF4-FFF2-40B4-BE49-F238E27FC236}">
                  <a16:creationId xmlns:a16="http://schemas.microsoft.com/office/drawing/2014/main" id="{81457E76-3FB1-10CF-E931-9CB8571EE11D}"/>
                </a:ext>
              </a:extLst>
            </p:cNvPr>
            <p:cNvSpPr>
              <a:spLocks noEditPoints="1"/>
            </p:cNvSpPr>
            <p:nvPr/>
          </p:nvSpPr>
          <p:spPr bwMode="auto">
            <a:xfrm>
              <a:off x="7145338" y="2798764"/>
              <a:ext cx="60325" cy="90488"/>
            </a:xfrm>
            <a:custGeom>
              <a:avLst/>
              <a:gdLst>
                <a:gd name="T0" fmla="*/ 232 w 265"/>
                <a:gd name="T1" fmla="*/ 398 h 398"/>
                <a:gd name="T2" fmla="*/ 33 w 265"/>
                <a:gd name="T3" fmla="*/ 398 h 398"/>
                <a:gd name="T4" fmla="*/ 33 w 265"/>
                <a:gd name="T5" fmla="*/ 398 h 398"/>
                <a:gd name="T6" fmla="*/ 27 w 265"/>
                <a:gd name="T7" fmla="*/ 397 h 398"/>
                <a:gd name="T8" fmla="*/ 21 w 265"/>
                <a:gd name="T9" fmla="*/ 395 h 398"/>
                <a:gd name="T10" fmla="*/ 14 w 265"/>
                <a:gd name="T11" fmla="*/ 392 h 398"/>
                <a:gd name="T12" fmla="*/ 10 w 265"/>
                <a:gd name="T13" fmla="*/ 388 h 398"/>
                <a:gd name="T14" fmla="*/ 6 w 265"/>
                <a:gd name="T15" fmla="*/ 383 h 398"/>
                <a:gd name="T16" fmla="*/ 3 w 265"/>
                <a:gd name="T17" fmla="*/ 377 h 398"/>
                <a:gd name="T18" fmla="*/ 1 w 265"/>
                <a:gd name="T19" fmla="*/ 371 h 398"/>
                <a:gd name="T20" fmla="*/ 0 w 265"/>
                <a:gd name="T21" fmla="*/ 365 h 398"/>
                <a:gd name="T22" fmla="*/ 0 w 265"/>
                <a:gd name="T23" fmla="*/ 33 h 398"/>
                <a:gd name="T24" fmla="*/ 0 w 265"/>
                <a:gd name="T25" fmla="*/ 33 h 398"/>
                <a:gd name="T26" fmla="*/ 1 w 265"/>
                <a:gd name="T27" fmla="*/ 27 h 398"/>
                <a:gd name="T28" fmla="*/ 3 w 265"/>
                <a:gd name="T29" fmla="*/ 21 h 398"/>
                <a:gd name="T30" fmla="*/ 6 w 265"/>
                <a:gd name="T31" fmla="*/ 16 h 398"/>
                <a:gd name="T32" fmla="*/ 10 w 265"/>
                <a:gd name="T33" fmla="*/ 11 h 398"/>
                <a:gd name="T34" fmla="*/ 14 w 265"/>
                <a:gd name="T35" fmla="*/ 7 h 398"/>
                <a:gd name="T36" fmla="*/ 21 w 265"/>
                <a:gd name="T37" fmla="*/ 3 h 398"/>
                <a:gd name="T38" fmla="*/ 27 w 265"/>
                <a:gd name="T39" fmla="*/ 1 h 398"/>
                <a:gd name="T40" fmla="*/ 33 w 265"/>
                <a:gd name="T41" fmla="*/ 0 h 398"/>
                <a:gd name="T42" fmla="*/ 232 w 265"/>
                <a:gd name="T43" fmla="*/ 0 h 398"/>
                <a:gd name="T44" fmla="*/ 232 w 265"/>
                <a:gd name="T45" fmla="*/ 0 h 398"/>
                <a:gd name="T46" fmla="*/ 238 w 265"/>
                <a:gd name="T47" fmla="*/ 1 h 398"/>
                <a:gd name="T48" fmla="*/ 244 w 265"/>
                <a:gd name="T49" fmla="*/ 3 h 398"/>
                <a:gd name="T50" fmla="*/ 250 w 265"/>
                <a:gd name="T51" fmla="*/ 7 h 398"/>
                <a:gd name="T52" fmla="*/ 255 w 265"/>
                <a:gd name="T53" fmla="*/ 11 h 398"/>
                <a:gd name="T54" fmla="*/ 259 w 265"/>
                <a:gd name="T55" fmla="*/ 16 h 398"/>
                <a:gd name="T56" fmla="*/ 262 w 265"/>
                <a:gd name="T57" fmla="*/ 21 h 398"/>
                <a:gd name="T58" fmla="*/ 264 w 265"/>
                <a:gd name="T59" fmla="*/ 27 h 398"/>
                <a:gd name="T60" fmla="*/ 265 w 265"/>
                <a:gd name="T61" fmla="*/ 33 h 398"/>
                <a:gd name="T62" fmla="*/ 265 w 265"/>
                <a:gd name="T63" fmla="*/ 365 h 398"/>
                <a:gd name="T64" fmla="*/ 265 w 265"/>
                <a:gd name="T65" fmla="*/ 365 h 398"/>
                <a:gd name="T66" fmla="*/ 264 w 265"/>
                <a:gd name="T67" fmla="*/ 371 h 398"/>
                <a:gd name="T68" fmla="*/ 262 w 265"/>
                <a:gd name="T69" fmla="*/ 377 h 398"/>
                <a:gd name="T70" fmla="*/ 259 w 265"/>
                <a:gd name="T71" fmla="*/ 383 h 398"/>
                <a:gd name="T72" fmla="*/ 255 w 265"/>
                <a:gd name="T73" fmla="*/ 388 h 398"/>
                <a:gd name="T74" fmla="*/ 250 w 265"/>
                <a:gd name="T75" fmla="*/ 392 h 398"/>
                <a:gd name="T76" fmla="*/ 244 w 265"/>
                <a:gd name="T77" fmla="*/ 395 h 398"/>
                <a:gd name="T78" fmla="*/ 238 w 265"/>
                <a:gd name="T79" fmla="*/ 397 h 398"/>
                <a:gd name="T80" fmla="*/ 232 w 265"/>
                <a:gd name="T81" fmla="*/ 398 h 398"/>
                <a:gd name="T82" fmla="*/ 232 w 265"/>
                <a:gd name="T83" fmla="*/ 398 h 398"/>
                <a:gd name="T84" fmla="*/ 66 w 265"/>
                <a:gd name="T85" fmla="*/ 332 h 398"/>
                <a:gd name="T86" fmla="*/ 199 w 265"/>
                <a:gd name="T87" fmla="*/ 332 h 398"/>
                <a:gd name="T88" fmla="*/ 199 w 265"/>
                <a:gd name="T89" fmla="*/ 67 h 398"/>
                <a:gd name="T90" fmla="*/ 66 w 265"/>
                <a:gd name="T91" fmla="*/ 67 h 398"/>
                <a:gd name="T92" fmla="*/ 66 w 265"/>
                <a:gd name="T93" fmla="*/ 33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98">
                  <a:moveTo>
                    <a:pt x="232" y="398"/>
                  </a:moveTo>
                  <a:lnTo>
                    <a:pt x="33" y="398"/>
                  </a:lnTo>
                  <a:lnTo>
                    <a:pt x="33" y="398"/>
                  </a:lnTo>
                  <a:lnTo>
                    <a:pt x="27" y="397"/>
                  </a:lnTo>
                  <a:lnTo>
                    <a:pt x="21" y="395"/>
                  </a:lnTo>
                  <a:lnTo>
                    <a:pt x="14" y="392"/>
                  </a:lnTo>
                  <a:lnTo>
                    <a:pt x="10" y="388"/>
                  </a:lnTo>
                  <a:lnTo>
                    <a:pt x="6" y="383"/>
                  </a:lnTo>
                  <a:lnTo>
                    <a:pt x="3" y="377"/>
                  </a:lnTo>
                  <a:lnTo>
                    <a:pt x="1" y="371"/>
                  </a:lnTo>
                  <a:lnTo>
                    <a:pt x="0" y="365"/>
                  </a:lnTo>
                  <a:lnTo>
                    <a:pt x="0" y="33"/>
                  </a:lnTo>
                  <a:lnTo>
                    <a:pt x="0" y="33"/>
                  </a:lnTo>
                  <a:lnTo>
                    <a:pt x="1" y="27"/>
                  </a:lnTo>
                  <a:lnTo>
                    <a:pt x="3" y="21"/>
                  </a:lnTo>
                  <a:lnTo>
                    <a:pt x="6" y="16"/>
                  </a:lnTo>
                  <a:lnTo>
                    <a:pt x="10" y="11"/>
                  </a:lnTo>
                  <a:lnTo>
                    <a:pt x="14" y="7"/>
                  </a:lnTo>
                  <a:lnTo>
                    <a:pt x="21" y="3"/>
                  </a:lnTo>
                  <a:lnTo>
                    <a:pt x="27" y="1"/>
                  </a:lnTo>
                  <a:lnTo>
                    <a:pt x="33" y="0"/>
                  </a:lnTo>
                  <a:lnTo>
                    <a:pt x="232" y="0"/>
                  </a:lnTo>
                  <a:lnTo>
                    <a:pt x="232" y="0"/>
                  </a:lnTo>
                  <a:lnTo>
                    <a:pt x="238" y="1"/>
                  </a:lnTo>
                  <a:lnTo>
                    <a:pt x="244" y="3"/>
                  </a:lnTo>
                  <a:lnTo>
                    <a:pt x="250" y="7"/>
                  </a:lnTo>
                  <a:lnTo>
                    <a:pt x="255" y="11"/>
                  </a:lnTo>
                  <a:lnTo>
                    <a:pt x="259" y="16"/>
                  </a:lnTo>
                  <a:lnTo>
                    <a:pt x="262" y="21"/>
                  </a:lnTo>
                  <a:lnTo>
                    <a:pt x="264" y="27"/>
                  </a:lnTo>
                  <a:lnTo>
                    <a:pt x="265" y="33"/>
                  </a:lnTo>
                  <a:lnTo>
                    <a:pt x="265" y="365"/>
                  </a:lnTo>
                  <a:lnTo>
                    <a:pt x="265" y="365"/>
                  </a:lnTo>
                  <a:lnTo>
                    <a:pt x="264" y="371"/>
                  </a:lnTo>
                  <a:lnTo>
                    <a:pt x="262" y="377"/>
                  </a:lnTo>
                  <a:lnTo>
                    <a:pt x="259" y="383"/>
                  </a:lnTo>
                  <a:lnTo>
                    <a:pt x="255" y="388"/>
                  </a:lnTo>
                  <a:lnTo>
                    <a:pt x="250" y="392"/>
                  </a:lnTo>
                  <a:lnTo>
                    <a:pt x="244" y="395"/>
                  </a:lnTo>
                  <a:lnTo>
                    <a:pt x="238" y="397"/>
                  </a:lnTo>
                  <a:lnTo>
                    <a:pt x="232" y="398"/>
                  </a:lnTo>
                  <a:lnTo>
                    <a:pt x="232" y="398"/>
                  </a:lnTo>
                  <a:close/>
                  <a:moveTo>
                    <a:pt x="66" y="332"/>
                  </a:moveTo>
                  <a:lnTo>
                    <a:pt x="199" y="332"/>
                  </a:lnTo>
                  <a:lnTo>
                    <a:pt x="199" y="67"/>
                  </a:lnTo>
                  <a:lnTo>
                    <a:pt x="66" y="67"/>
                  </a:lnTo>
                  <a:lnTo>
                    <a:pt x="66" y="3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7" name="Freeform 142">
              <a:extLst>
                <a:ext uri="{FF2B5EF4-FFF2-40B4-BE49-F238E27FC236}">
                  <a16:creationId xmlns:a16="http://schemas.microsoft.com/office/drawing/2014/main" id="{3CD8144F-FF50-CAE3-3125-7CEE8AC79935}"/>
                </a:ext>
              </a:extLst>
            </p:cNvPr>
            <p:cNvSpPr>
              <a:spLocks noEditPoints="1"/>
            </p:cNvSpPr>
            <p:nvPr/>
          </p:nvSpPr>
          <p:spPr bwMode="auto">
            <a:xfrm>
              <a:off x="7086600" y="2619376"/>
              <a:ext cx="44450" cy="44450"/>
            </a:xfrm>
            <a:custGeom>
              <a:avLst/>
              <a:gdLst>
                <a:gd name="T0" fmla="*/ 165 w 198"/>
                <a:gd name="T1" fmla="*/ 198 h 198"/>
                <a:gd name="T2" fmla="*/ 33 w 198"/>
                <a:gd name="T3" fmla="*/ 198 h 198"/>
                <a:gd name="T4" fmla="*/ 33 w 198"/>
                <a:gd name="T5" fmla="*/ 198 h 198"/>
                <a:gd name="T6" fmla="*/ 26 w 198"/>
                <a:gd name="T7" fmla="*/ 198 h 198"/>
                <a:gd name="T8" fmla="*/ 20 w 198"/>
                <a:gd name="T9" fmla="*/ 196 h 198"/>
                <a:gd name="T10" fmla="*/ 15 w 198"/>
                <a:gd name="T11" fmla="*/ 193 h 198"/>
                <a:gd name="T12" fmla="*/ 9 w 198"/>
                <a:gd name="T13" fmla="*/ 189 h 198"/>
                <a:gd name="T14" fmla="*/ 5 w 198"/>
                <a:gd name="T15" fmla="*/ 184 h 198"/>
                <a:gd name="T16" fmla="*/ 2 w 198"/>
                <a:gd name="T17" fmla="*/ 178 h 198"/>
                <a:gd name="T18" fmla="*/ 0 w 198"/>
                <a:gd name="T19" fmla="*/ 172 h 198"/>
                <a:gd name="T20" fmla="*/ 0 w 198"/>
                <a:gd name="T21" fmla="*/ 165 h 198"/>
                <a:gd name="T22" fmla="*/ 0 w 198"/>
                <a:gd name="T23" fmla="*/ 34 h 198"/>
                <a:gd name="T24" fmla="*/ 0 w 198"/>
                <a:gd name="T25" fmla="*/ 34 h 198"/>
                <a:gd name="T26" fmla="*/ 0 w 198"/>
                <a:gd name="T27" fmla="*/ 26 h 198"/>
                <a:gd name="T28" fmla="*/ 2 w 198"/>
                <a:gd name="T29" fmla="*/ 20 h 198"/>
                <a:gd name="T30" fmla="*/ 5 w 198"/>
                <a:gd name="T31" fmla="*/ 15 h 198"/>
                <a:gd name="T32" fmla="*/ 9 w 198"/>
                <a:gd name="T33" fmla="*/ 10 h 198"/>
                <a:gd name="T34" fmla="*/ 15 w 198"/>
                <a:gd name="T35" fmla="*/ 6 h 198"/>
                <a:gd name="T36" fmla="*/ 20 w 198"/>
                <a:gd name="T37" fmla="*/ 2 h 198"/>
                <a:gd name="T38" fmla="*/ 26 w 198"/>
                <a:gd name="T39" fmla="*/ 0 h 198"/>
                <a:gd name="T40" fmla="*/ 33 w 198"/>
                <a:gd name="T41" fmla="*/ 0 h 198"/>
                <a:gd name="T42" fmla="*/ 165 w 198"/>
                <a:gd name="T43" fmla="*/ 0 h 198"/>
                <a:gd name="T44" fmla="*/ 165 w 198"/>
                <a:gd name="T45" fmla="*/ 0 h 198"/>
                <a:gd name="T46" fmla="*/ 172 w 198"/>
                <a:gd name="T47" fmla="*/ 0 h 198"/>
                <a:gd name="T48" fmla="*/ 178 w 198"/>
                <a:gd name="T49" fmla="*/ 2 h 198"/>
                <a:gd name="T50" fmla="*/ 183 w 198"/>
                <a:gd name="T51" fmla="*/ 6 h 198"/>
                <a:gd name="T52" fmla="*/ 188 w 198"/>
                <a:gd name="T53" fmla="*/ 10 h 198"/>
                <a:gd name="T54" fmla="*/ 193 w 198"/>
                <a:gd name="T55" fmla="*/ 15 h 198"/>
                <a:gd name="T56" fmla="*/ 196 w 198"/>
                <a:gd name="T57" fmla="*/ 20 h 198"/>
                <a:gd name="T58" fmla="*/ 198 w 198"/>
                <a:gd name="T59" fmla="*/ 26 h 198"/>
                <a:gd name="T60" fmla="*/ 198 w 198"/>
                <a:gd name="T61" fmla="*/ 34 h 198"/>
                <a:gd name="T62" fmla="*/ 198 w 198"/>
                <a:gd name="T63" fmla="*/ 165 h 198"/>
                <a:gd name="T64" fmla="*/ 198 w 198"/>
                <a:gd name="T65" fmla="*/ 165 h 198"/>
                <a:gd name="T66" fmla="*/ 198 w 198"/>
                <a:gd name="T67" fmla="*/ 172 h 198"/>
                <a:gd name="T68" fmla="*/ 196 w 198"/>
                <a:gd name="T69" fmla="*/ 178 h 198"/>
                <a:gd name="T70" fmla="*/ 193 w 198"/>
                <a:gd name="T71" fmla="*/ 184 h 198"/>
                <a:gd name="T72" fmla="*/ 188 w 198"/>
                <a:gd name="T73" fmla="*/ 189 h 198"/>
                <a:gd name="T74" fmla="*/ 183 w 198"/>
                <a:gd name="T75" fmla="*/ 193 h 198"/>
                <a:gd name="T76" fmla="*/ 178 w 198"/>
                <a:gd name="T77" fmla="*/ 196 h 198"/>
                <a:gd name="T78" fmla="*/ 172 w 198"/>
                <a:gd name="T79" fmla="*/ 198 h 198"/>
                <a:gd name="T80" fmla="*/ 165 w 198"/>
                <a:gd name="T81" fmla="*/ 198 h 198"/>
                <a:gd name="T82" fmla="*/ 165 w 198"/>
                <a:gd name="T83" fmla="*/ 198 h 198"/>
                <a:gd name="T84" fmla="*/ 65 w 198"/>
                <a:gd name="T85" fmla="*/ 132 h 198"/>
                <a:gd name="T86" fmla="*/ 131 w 198"/>
                <a:gd name="T87" fmla="*/ 132 h 198"/>
                <a:gd name="T88" fmla="*/ 131 w 198"/>
                <a:gd name="T89" fmla="*/ 67 h 198"/>
                <a:gd name="T90" fmla="*/ 65 w 198"/>
                <a:gd name="T91" fmla="*/ 67 h 198"/>
                <a:gd name="T92" fmla="*/ 65 w 198"/>
                <a:gd name="T93" fmla="*/ 13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98">
                  <a:moveTo>
                    <a:pt x="165" y="198"/>
                  </a:moveTo>
                  <a:lnTo>
                    <a:pt x="33" y="198"/>
                  </a:lnTo>
                  <a:lnTo>
                    <a:pt x="33" y="198"/>
                  </a:lnTo>
                  <a:lnTo>
                    <a:pt x="26" y="198"/>
                  </a:lnTo>
                  <a:lnTo>
                    <a:pt x="20" y="196"/>
                  </a:lnTo>
                  <a:lnTo>
                    <a:pt x="15" y="193"/>
                  </a:lnTo>
                  <a:lnTo>
                    <a:pt x="9" y="189"/>
                  </a:lnTo>
                  <a:lnTo>
                    <a:pt x="5" y="184"/>
                  </a:lnTo>
                  <a:lnTo>
                    <a:pt x="2" y="178"/>
                  </a:lnTo>
                  <a:lnTo>
                    <a:pt x="0" y="172"/>
                  </a:lnTo>
                  <a:lnTo>
                    <a:pt x="0" y="165"/>
                  </a:lnTo>
                  <a:lnTo>
                    <a:pt x="0" y="34"/>
                  </a:lnTo>
                  <a:lnTo>
                    <a:pt x="0" y="34"/>
                  </a:lnTo>
                  <a:lnTo>
                    <a:pt x="0" y="26"/>
                  </a:lnTo>
                  <a:lnTo>
                    <a:pt x="2" y="20"/>
                  </a:lnTo>
                  <a:lnTo>
                    <a:pt x="5" y="15"/>
                  </a:lnTo>
                  <a:lnTo>
                    <a:pt x="9" y="10"/>
                  </a:lnTo>
                  <a:lnTo>
                    <a:pt x="15" y="6"/>
                  </a:lnTo>
                  <a:lnTo>
                    <a:pt x="20" y="2"/>
                  </a:lnTo>
                  <a:lnTo>
                    <a:pt x="26" y="0"/>
                  </a:lnTo>
                  <a:lnTo>
                    <a:pt x="33" y="0"/>
                  </a:lnTo>
                  <a:lnTo>
                    <a:pt x="165" y="0"/>
                  </a:lnTo>
                  <a:lnTo>
                    <a:pt x="165" y="0"/>
                  </a:lnTo>
                  <a:lnTo>
                    <a:pt x="172" y="0"/>
                  </a:lnTo>
                  <a:lnTo>
                    <a:pt x="178" y="2"/>
                  </a:lnTo>
                  <a:lnTo>
                    <a:pt x="183" y="6"/>
                  </a:lnTo>
                  <a:lnTo>
                    <a:pt x="188" y="10"/>
                  </a:lnTo>
                  <a:lnTo>
                    <a:pt x="193" y="15"/>
                  </a:lnTo>
                  <a:lnTo>
                    <a:pt x="196" y="20"/>
                  </a:lnTo>
                  <a:lnTo>
                    <a:pt x="198" y="26"/>
                  </a:lnTo>
                  <a:lnTo>
                    <a:pt x="198" y="34"/>
                  </a:lnTo>
                  <a:lnTo>
                    <a:pt x="198" y="165"/>
                  </a:lnTo>
                  <a:lnTo>
                    <a:pt x="198" y="165"/>
                  </a:lnTo>
                  <a:lnTo>
                    <a:pt x="198" y="172"/>
                  </a:lnTo>
                  <a:lnTo>
                    <a:pt x="196" y="178"/>
                  </a:lnTo>
                  <a:lnTo>
                    <a:pt x="193" y="184"/>
                  </a:lnTo>
                  <a:lnTo>
                    <a:pt x="188" y="189"/>
                  </a:lnTo>
                  <a:lnTo>
                    <a:pt x="183" y="193"/>
                  </a:lnTo>
                  <a:lnTo>
                    <a:pt x="178" y="196"/>
                  </a:lnTo>
                  <a:lnTo>
                    <a:pt x="172" y="198"/>
                  </a:lnTo>
                  <a:lnTo>
                    <a:pt x="165" y="198"/>
                  </a:lnTo>
                  <a:lnTo>
                    <a:pt x="165" y="198"/>
                  </a:lnTo>
                  <a:close/>
                  <a:moveTo>
                    <a:pt x="65" y="132"/>
                  </a:moveTo>
                  <a:lnTo>
                    <a:pt x="131" y="132"/>
                  </a:lnTo>
                  <a:lnTo>
                    <a:pt x="131" y="67"/>
                  </a:lnTo>
                  <a:lnTo>
                    <a:pt x="65" y="67"/>
                  </a:lnTo>
                  <a:lnTo>
                    <a:pt x="65"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8" name="Freeform 143">
              <a:extLst>
                <a:ext uri="{FF2B5EF4-FFF2-40B4-BE49-F238E27FC236}">
                  <a16:creationId xmlns:a16="http://schemas.microsoft.com/office/drawing/2014/main" id="{00EF1355-5A59-32E9-6204-353FDEC77DFE}"/>
                </a:ext>
              </a:extLst>
            </p:cNvPr>
            <p:cNvSpPr>
              <a:spLocks noEditPoints="1"/>
            </p:cNvSpPr>
            <p:nvPr/>
          </p:nvSpPr>
          <p:spPr bwMode="auto">
            <a:xfrm>
              <a:off x="7145338" y="2619376"/>
              <a:ext cx="60325" cy="44450"/>
            </a:xfrm>
            <a:custGeom>
              <a:avLst/>
              <a:gdLst>
                <a:gd name="T0" fmla="*/ 232 w 265"/>
                <a:gd name="T1" fmla="*/ 198 h 198"/>
                <a:gd name="T2" fmla="*/ 33 w 265"/>
                <a:gd name="T3" fmla="*/ 198 h 198"/>
                <a:gd name="T4" fmla="*/ 33 w 265"/>
                <a:gd name="T5" fmla="*/ 198 h 198"/>
                <a:gd name="T6" fmla="*/ 27 w 265"/>
                <a:gd name="T7" fmla="*/ 198 h 198"/>
                <a:gd name="T8" fmla="*/ 21 w 265"/>
                <a:gd name="T9" fmla="*/ 196 h 198"/>
                <a:gd name="T10" fmla="*/ 14 w 265"/>
                <a:gd name="T11" fmla="*/ 193 h 198"/>
                <a:gd name="T12" fmla="*/ 10 w 265"/>
                <a:gd name="T13" fmla="*/ 189 h 198"/>
                <a:gd name="T14" fmla="*/ 6 w 265"/>
                <a:gd name="T15" fmla="*/ 184 h 198"/>
                <a:gd name="T16" fmla="*/ 3 w 265"/>
                <a:gd name="T17" fmla="*/ 178 h 198"/>
                <a:gd name="T18" fmla="*/ 1 w 265"/>
                <a:gd name="T19" fmla="*/ 172 h 198"/>
                <a:gd name="T20" fmla="*/ 0 w 265"/>
                <a:gd name="T21" fmla="*/ 165 h 198"/>
                <a:gd name="T22" fmla="*/ 0 w 265"/>
                <a:gd name="T23" fmla="*/ 34 h 198"/>
                <a:gd name="T24" fmla="*/ 0 w 265"/>
                <a:gd name="T25" fmla="*/ 34 h 198"/>
                <a:gd name="T26" fmla="*/ 1 w 265"/>
                <a:gd name="T27" fmla="*/ 26 h 198"/>
                <a:gd name="T28" fmla="*/ 3 w 265"/>
                <a:gd name="T29" fmla="*/ 20 h 198"/>
                <a:gd name="T30" fmla="*/ 6 w 265"/>
                <a:gd name="T31" fmla="*/ 15 h 198"/>
                <a:gd name="T32" fmla="*/ 10 w 265"/>
                <a:gd name="T33" fmla="*/ 10 h 198"/>
                <a:gd name="T34" fmla="*/ 14 w 265"/>
                <a:gd name="T35" fmla="*/ 6 h 198"/>
                <a:gd name="T36" fmla="*/ 21 w 265"/>
                <a:gd name="T37" fmla="*/ 2 h 198"/>
                <a:gd name="T38" fmla="*/ 27 w 265"/>
                <a:gd name="T39" fmla="*/ 0 h 198"/>
                <a:gd name="T40" fmla="*/ 33 w 265"/>
                <a:gd name="T41" fmla="*/ 0 h 198"/>
                <a:gd name="T42" fmla="*/ 232 w 265"/>
                <a:gd name="T43" fmla="*/ 0 h 198"/>
                <a:gd name="T44" fmla="*/ 232 w 265"/>
                <a:gd name="T45" fmla="*/ 0 h 198"/>
                <a:gd name="T46" fmla="*/ 238 w 265"/>
                <a:gd name="T47" fmla="*/ 0 h 198"/>
                <a:gd name="T48" fmla="*/ 244 w 265"/>
                <a:gd name="T49" fmla="*/ 2 h 198"/>
                <a:gd name="T50" fmla="*/ 250 w 265"/>
                <a:gd name="T51" fmla="*/ 6 h 198"/>
                <a:gd name="T52" fmla="*/ 255 w 265"/>
                <a:gd name="T53" fmla="*/ 10 h 198"/>
                <a:gd name="T54" fmla="*/ 259 w 265"/>
                <a:gd name="T55" fmla="*/ 15 h 198"/>
                <a:gd name="T56" fmla="*/ 262 w 265"/>
                <a:gd name="T57" fmla="*/ 20 h 198"/>
                <a:gd name="T58" fmla="*/ 264 w 265"/>
                <a:gd name="T59" fmla="*/ 26 h 198"/>
                <a:gd name="T60" fmla="*/ 265 w 265"/>
                <a:gd name="T61" fmla="*/ 34 h 198"/>
                <a:gd name="T62" fmla="*/ 265 w 265"/>
                <a:gd name="T63" fmla="*/ 165 h 198"/>
                <a:gd name="T64" fmla="*/ 265 w 265"/>
                <a:gd name="T65" fmla="*/ 165 h 198"/>
                <a:gd name="T66" fmla="*/ 264 w 265"/>
                <a:gd name="T67" fmla="*/ 172 h 198"/>
                <a:gd name="T68" fmla="*/ 262 w 265"/>
                <a:gd name="T69" fmla="*/ 178 h 198"/>
                <a:gd name="T70" fmla="*/ 259 w 265"/>
                <a:gd name="T71" fmla="*/ 184 h 198"/>
                <a:gd name="T72" fmla="*/ 255 w 265"/>
                <a:gd name="T73" fmla="*/ 189 h 198"/>
                <a:gd name="T74" fmla="*/ 250 w 265"/>
                <a:gd name="T75" fmla="*/ 193 h 198"/>
                <a:gd name="T76" fmla="*/ 244 w 265"/>
                <a:gd name="T77" fmla="*/ 196 h 198"/>
                <a:gd name="T78" fmla="*/ 238 w 265"/>
                <a:gd name="T79" fmla="*/ 198 h 198"/>
                <a:gd name="T80" fmla="*/ 232 w 265"/>
                <a:gd name="T81" fmla="*/ 198 h 198"/>
                <a:gd name="T82" fmla="*/ 232 w 265"/>
                <a:gd name="T83" fmla="*/ 198 h 198"/>
                <a:gd name="T84" fmla="*/ 66 w 265"/>
                <a:gd name="T85" fmla="*/ 132 h 198"/>
                <a:gd name="T86" fmla="*/ 199 w 265"/>
                <a:gd name="T87" fmla="*/ 132 h 198"/>
                <a:gd name="T88" fmla="*/ 199 w 265"/>
                <a:gd name="T89" fmla="*/ 67 h 198"/>
                <a:gd name="T90" fmla="*/ 66 w 265"/>
                <a:gd name="T91" fmla="*/ 67 h 198"/>
                <a:gd name="T92" fmla="*/ 66 w 265"/>
                <a:gd name="T93" fmla="*/ 13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198">
                  <a:moveTo>
                    <a:pt x="232" y="198"/>
                  </a:moveTo>
                  <a:lnTo>
                    <a:pt x="33" y="198"/>
                  </a:lnTo>
                  <a:lnTo>
                    <a:pt x="33" y="198"/>
                  </a:lnTo>
                  <a:lnTo>
                    <a:pt x="27" y="198"/>
                  </a:lnTo>
                  <a:lnTo>
                    <a:pt x="21" y="196"/>
                  </a:lnTo>
                  <a:lnTo>
                    <a:pt x="14" y="193"/>
                  </a:lnTo>
                  <a:lnTo>
                    <a:pt x="10" y="189"/>
                  </a:lnTo>
                  <a:lnTo>
                    <a:pt x="6" y="184"/>
                  </a:lnTo>
                  <a:lnTo>
                    <a:pt x="3" y="178"/>
                  </a:lnTo>
                  <a:lnTo>
                    <a:pt x="1" y="172"/>
                  </a:lnTo>
                  <a:lnTo>
                    <a:pt x="0" y="165"/>
                  </a:lnTo>
                  <a:lnTo>
                    <a:pt x="0" y="34"/>
                  </a:lnTo>
                  <a:lnTo>
                    <a:pt x="0" y="34"/>
                  </a:lnTo>
                  <a:lnTo>
                    <a:pt x="1" y="26"/>
                  </a:lnTo>
                  <a:lnTo>
                    <a:pt x="3" y="20"/>
                  </a:lnTo>
                  <a:lnTo>
                    <a:pt x="6" y="15"/>
                  </a:lnTo>
                  <a:lnTo>
                    <a:pt x="10" y="10"/>
                  </a:lnTo>
                  <a:lnTo>
                    <a:pt x="14" y="6"/>
                  </a:lnTo>
                  <a:lnTo>
                    <a:pt x="21" y="2"/>
                  </a:lnTo>
                  <a:lnTo>
                    <a:pt x="27" y="0"/>
                  </a:lnTo>
                  <a:lnTo>
                    <a:pt x="33" y="0"/>
                  </a:lnTo>
                  <a:lnTo>
                    <a:pt x="232" y="0"/>
                  </a:lnTo>
                  <a:lnTo>
                    <a:pt x="232" y="0"/>
                  </a:lnTo>
                  <a:lnTo>
                    <a:pt x="238" y="0"/>
                  </a:lnTo>
                  <a:lnTo>
                    <a:pt x="244" y="2"/>
                  </a:lnTo>
                  <a:lnTo>
                    <a:pt x="250" y="6"/>
                  </a:lnTo>
                  <a:lnTo>
                    <a:pt x="255" y="10"/>
                  </a:lnTo>
                  <a:lnTo>
                    <a:pt x="259" y="15"/>
                  </a:lnTo>
                  <a:lnTo>
                    <a:pt x="262" y="20"/>
                  </a:lnTo>
                  <a:lnTo>
                    <a:pt x="264" y="26"/>
                  </a:lnTo>
                  <a:lnTo>
                    <a:pt x="265" y="34"/>
                  </a:lnTo>
                  <a:lnTo>
                    <a:pt x="265" y="165"/>
                  </a:lnTo>
                  <a:lnTo>
                    <a:pt x="265" y="165"/>
                  </a:lnTo>
                  <a:lnTo>
                    <a:pt x="264" y="172"/>
                  </a:lnTo>
                  <a:lnTo>
                    <a:pt x="262" y="178"/>
                  </a:lnTo>
                  <a:lnTo>
                    <a:pt x="259" y="184"/>
                  </a:lnTo>
                  <a:lnTo>
                    <a:pt x="255" y="189"/>
                  </a:lnTo>
                  <a:lnTo>
                    <a:pt x="250" y="193"/>
                  </a:lnTo>
                  <a:lnTo>
                    <a:pt x="244" y="196"/>
                  </a:lnTo>
                  <a:lnTo>
                    <a:pt x="238" y="198"/>
                  </a:lnTo>
                  <a:lnTo>
                    <a:pt x="232" y="198"/>
                  </a:lnTo>
                  <a:lnTo>
                    <a:pt x="232" y="198"/>
                  </a:lnTo>
                  <a:close/>
                  <a:moveTo>
                    <a:pt x="66" y="132"/>
                  </a:moveTo>
                  <a:lnTo>
                    <a:pt x="199" y="132"/>
                  </a:lnTo>
                  <a:lnTo>
                    <a:pt x="199" y="67"/>
                  </a:lnTo>
                  <a:lnTo>
                    <a:pt x="66" y="67"/>
                  </a:lnTo>
                  <a:lnTo>
                    <a:pt x="66"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9" name="Freeform 144">
              <a:extLst>
                <a:ext uri="{FF2B5EF4-FFF2-40B4-BE49-F238E27FC236}">
                  <a16:creationId xmlns:a16="http://schemas.microsoft.com/office/drawing/2014/main" id="{7468D4E2-3318-6611-CC81-252A06A75879}"/>
                </a:ext>
              </a:extLst>
            </p:cNvPr>
            <p:cNvSpPr>
              <a:spLocks noEditPoints="1"/>
            </p:cNvSpPr>
            <p:nvPr/>
          </p:nvSpPr>
          <p:spPr bwMode="auto">
            <a:xfrm>
              <a:off x="7221538" y="2619376"/>
              <a:ext cx="44450" cy="44450"/>
            </a:xfrm>
            <a:custGeom>
              <a:avLst/>
              <a:gdLst>
                <a:gd name="T0" fmla="*/ 165 w 198"/>
                <a:gd name="T1" fmla="*/ 198 h 198"/>
                <a:gd name="T2" fmla="*/ 33 w 198"/>
                <a:gd name="T3" fmla="*/ 198 h 198"/>
                <a:gd name="T4" fmla="*/ 33 w 198"/>
                <a:gd name="T5" fmla="*/ 198 h 198"/>
                <a:gd name="T6" fmla="*/ 26 w 198"/>
                <a:gd name="T7" fmla="*/ 198 h 198"/>
                <a:gd name="T8" fmla="*/ 20 w 198"/>
                <a:gd name="T9" fmla="*/ 196 h 198"/>
                <a:gd name="T10" fmla="*/ 15 w 198"/>
                <a:gd name="T11" fmla="*/ 193 h 198"/>
                <a:gd name="T12" fmla="*/ 9 w 198"/>
                <a:gd name="T13" fmla="*/ 189 h 198"/>
                <a:gd name="T14" fmla="*/ 5 w 198"/>
                <a:gd name="T15" fmla="*/ 184 h 198"/>
                <a:gd name="T16" fmla="*/ 2 w 198"/>
                <a:gd name="T17" fmla="*/ 178 h 198"/>
                <a:gd name="T18" fmla="*/ 0 w 198"/>
                <a:gd name="T19" fmla="*/ 172 h 198"/>
                <a:gd name="T20" fmla="*/ 0 w 198"/>
                <a:gd name="T21" fmla="*/ 165 h 198"/>
                <a:gd name="T22" fmla="*/ 0 w 198"/>
                <a:gd name="T23" fmla="*/ 34 h 198"/>
                <a:gd name="T24" fmla="*/ 0 w 198"/>
                <a:gd name="T25" fmla="*/ 34 h 198"/>
                <a:gd name="T26" fmla="*/ 0 w 198"/>
                <a:gd name="T27" fmla="*/ 26 h 198"/>
                <a:gd name="T28" fmla="*/ 2 w 198"/>
                <a:gd name="T29" fmla="*/ 20 h 198"/>
                <a:gd name="T30" fmla="*/ 5 w 198"/>
                <a:gd name="T31" fmla="*/ 15 h 198"/>
                <a:gd name="T32" fmla="*/ 9 w 198"/>
                <a:gd name="T33" fmla="*/ 10 h 198"/>
                <a:gd name="T34" fmla="*/ 15 w 198"/>
                <a:gd name="T35" fmla="*/ 6 h 198"/>
                <a:gd name="T36" fmla="*/ 20 w 198"/>
                <a:gd name="T37" fmla="*/ 2 h 198"/>
                <a:gd name="T38" fmla="*/ 26 w 198"/>
                <a:gd name="T39" fmla="*/ 0 h 198"/>
                <a:gd name="T40" fmla="*/ 33 w 198"/>
                <a:gd name="T41" fmla="*/ 0 h 198"/>
                <a:gd name="T42" fmla="*/ 165 w 198"/>
                <a:gd name="T43" fmla="*/ 0 h 198"/>
                <a:gd name="T44" fmla="*/ 165 w 198"/>
                <a:gd name="T45" fmla="*/ 0 h 198"/>
                <a:gd name="T46" fmla="*/ 172 w 198"/>
                <a:gd name="T47" fmla="*/ 0 h 198"/>
                <a:gd name="T48" fmla="*/ 178 w 198"/>
                <a:gd name="T49" fmla="*/ 2 h 198"/>
                <a:gd name="T50" fmla="*/ 183 w 198"/>
                <a:gd name="T51" fmla="*/ 6 h 198"/>
                <a:gd name="T52" fmla="*/ 188 w 198"/>
                <a:gd name="T53" fmla="*/ 10 h 198"/>
                <a:gd name="T54" fmla="*/ 193 w 198"/>
                <a:gd name="T55" fmla="*/ 15 h 198"/>
                <a:gd name="T56" fmla="*/ 196 w 198"/>
                <a:gd name="T57" fmla="*/ 20 h 198"/>
                <a:gd name="T58" fmla="*/ 198 w 198"/>
                <a:gd name="T59" fmla="*/ 26 h 198"/>
                <a:gd name="T60" fmla="*/ 198 w 198"/>
                <a:gd name="T61" fmla="*/ 34 h 198"/>
                <a:gd name="T62" fmla="*/ 198 w 198"/>
                <a:gd name="T63" fmla="*/ 165 h 198"/>
                <a:gd name="T64" fmla="*/ 198 w 198"/>
                <a:gd name="T65" fmla="*/ 165 h 198"/>
                <a:gd name="T66" fmla="*/ 198 w 198"/>
                <a:gd name="T67" fmla="*/ 172 h 198"/>
                <a:gd name="T68" fmla="*/ 196 w 198"/>
                <a:gd name="T69" fmla="*/ 178 h 198"/>
                <a:gd name="T70" fmla="*/ 193 w 198"/>
                <a:gd name="T71" fmla="*/ 184 h 198"/>
                <a:gd name="T72" fmla="*/ 188 w 198"/>
                <a:gd name="T73" fmla="*/ 189 h 198"/>
                <a:gd name="T74" fmla="*/ 183 w 198"/>
                <a:gd name="T75" fmla="*/ 193 h 198"/>
                <a:gd name="T76" fmla="*/ 178 w 198"/>
                <a:gd name="T77" fmla="*/ 196 h 198"/>
                <a:gd name="T78" fmla="*/ 172 w 198"/>
                <a:gd name="T79" fmla="*/ 198 h 198"/>
                <a:gd name="T80" fmla="*/ 165 w 198"/>
                <a:gd name="T81" fmla="*/ 198 h 198"/>
                <a:gd name="T82" fmla="*/ 165 w 198"/>
                <a:gd name="T83" fmla="*/ 198 h 198"/>
                <a:gd name="T84" fmla="*/ 66 w 198"/>
                <a:gd name="T85" fmla="*/ 132 h 198"/>
                <a:gd name="T86" fmla="*/ 133 w 198"/>
                <a:gd name="T87" fmla="*/ 132 h 198"/>
                <a:gd name="T88" fmla="*/ 133 w 198"/>
                <a:gd name="T89" fmla="*/ 67 h 198"/>
                <a:gd name="T90" fmla="*/ 66 w 198"/>
                <a:gd name="T91" fmla="*/ 67 h 198"/>
                <a:gd name="T92" fmla="*/ 66 w 198"/>
                <a:gd name="T93" fmla="*/ 13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98">
                  <a:moveTo>
                    <a:pt x="165" y="198"/>
                  </a:moveTo>
                  <a:lnTo>
                    <a:pt x="33" y="198"/>
                  </a:lnTo>
                  <a:lnTo>
                    <a:pt x="33" y="198"/>
                  </a:lnTo>
                  <a:lnTo>
                    <a:pt x="26" y="198"/>
                  </a:lnTo>
                  <a:lnTo>
                    <a:pt x="20" y="196"/>
                  </a:lnTo>
                  <a:lnTo>
                    <a:pt x="15" y="193"/>
                  </a:lnTo>
                  <a:lnTo>
                    <a:pt x="9" y="189"/>
                  </a:lnTo>
                  <a:lnTo>
                    <a:pt x="5" y="184"/>
                  </a:lnTo>
                  <a:lnTo>
                    <a:pt x="2" y="178"/>
                  </a:lnTo>
                  <a:lnTo>
                    <a:pt x="0" y="172"/>
                  </a:lnTo>
                  <a:lnTo>
                    <a:pt x="0" y="165"/>
                  </a:lnTo>
                  <a:lnTo>
                    <a:pt x="0" y="34"/>
                  </a:lnTo>
                  <a:lnTo>
                    <a:pt x="0" y="34"/>
                  </a:lnTo>
                  <a:lnTo>
                    <a:pt x="0" y="26"/>
                  </a:lnTo>
                  <a:lnTo>
                    <a:pt x="2" y="20"/>
                  </a:lnTo>
                  <a:lnTo>
                    <a:pt x="5" y="15"/>
                  </a:lnTo>
                  <a:lnTo>
                    <a:pt x="9" y="10"/>
                  </a:lnTo>
                  <a:lnTo>
                    <a:pt x="15" y="6"/>
                  </a:lnTo>
                  <a:lnTo>
                    <a:pt x="20" y="2"/>
                  </a:lnTo>
                  <a:lnTo>
                    <a:pt x="26" y="0"/>
                  </a:lnTo>
                  <a:lnTo>
                    <a:pt x="33" y="0"/>
                  </a:lnTo>
                  <a:lnTo>
                    <a:pt x="165" y="0"/>
                  </a:lnTo>
                  <a:lnTo>
                    <a:pt x="165" y="0"/>
                  </a:lnTo>
                  <a:lnTo>
                    <a:pt x="172" y="0"/>
                  </a:lnTo>
                  <a:lnTo>
                    <a:pt x="178" y="2"/>
                  </a:lnTo>
                  <a:lnTo>
                    <a:pt x="183" y="6"/>
                  </a:lnTo>
                  <a:lnTo>
                    <a:pt x="188" y="10"/>
                  </a:lnTo>
                  <a:lnTo>
                    <a:pt x="193" y="15"/>
                  </a:lnTo>
                  <a:lnTo>
                    <a:pt x="196" y="20"/>
                  </a:lnTo>
                  <a:lnTo>
                    <a:pt x="198" y="26"/>
                  </a:lnTo>
                  <a:lnTo>
                    <a:pt x="198" y="34"/>
                  </a:lnTo>
                  <a:lnTo>
                    <a:pt x="198" y="165"/>
                  </a:lnTo>
                  <a:lnTo>
                    <a:pt x="198" y="165"/>
                  </a:lnTo>
                  <a:lnTo>
                    <a:pt x="198" y="172"/>
                  </a:lnTo>
                  <a:lnTo>
                    <a:pt x="196" y="178"/>
                  </a:lnTo>
                  <a:lnTo>
                    <a:pt x="193" y="184"/>
                  </a:lnTo>
                  <a:lnTo>
                    <a:pt x="188" y="189"/>
                  </a:lnTo>
                  <a:lnTo>
                    <a:pt x="183" y="193"/>
                  </a:lnTo>
                  <a:lnTo>
                    <a:pt x="178" y="196"/>
                  </a:lnTo>
                  <a:lnTo>
                    <a:pt x="172" y="198"/>
                  </a:lnTo>
                  <a:lnTo>
                    <a:pt x="165" y="198"/>
                  </a:lnTo>
                  <a:lnTo>
                    <a:pt x="165" y="198"/>
                  </a:lnTo>
                  <a:close/>
                  <a:moveTo>
                    <a:pt x="66" y="132"/>
                  </a:moveTo>
                  <a:lnTo>
                    <a:pt x="133" y="132"/>
                  </a:lnTo>
                  <a:lnTo>
                    <a:pt x="133" y="67"/>
                  </a:lnTo>
                  <a:lnTo>
                    <a:pt x="66" y="67"/>
                  </a:lnTo>
                  <a:lnTo>
                    <a:pt x="66"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0" name="Freeform 145">
              <a:extLst>
                <a:ext uri="{FF2B5EF4-FFF2-40B4-BE49-F238E27FC236}">
                  <a16:creationId xmlns:a16="http://schemas.microsoft.com/office/drawing/2014/main" id="{C9CA844A-B8C3-7702-F5C0-02FA9D888DFB}"/>
                </a:ext>
              </a:extLst>
            </p:cNvPr>
            <p:cNvSpPr>
              <a:spLocks noEditPoints="1"/>
            </p:cNvSpPr>
            <p:nvPr/>
          </p:nvSpPr>
          <p:spPr bwMode="auto">
            <a:xfrm>
              <a:off x="7086600" y="2679701"/>
              <a:ext cx="44450" cy="44450"/>
            </a:xfrm>
            <a:custGeom>
              <a:avLst/>
              <a:gdLst>
                <a:gd name="T0" fmla="*/ 165 w 198"/>
                <a:gd name="T1" fmla="*/ 199 h 199"/>
                <a:gd name="T2" fmla="*/ 33 w 198"/>
                <a:gd name="T3" fmla="*/ 199 h 199"/>
                <a:gd name="T4" fmla="*/ 33 w 198"/>
                <a:gd name="T5" fmla="*/ 199 h 199"/>
                <a:gd name="T6" fmla="*/ 26 w 198"/>
                <a:gd name="T7" fmla="*/ 198 h 199"/>
                <a:gd name="T8" fmla="*/ 20 w 198"/>
                <a:gd name="T9" fmla="*/ 196 h 199"/>
                <a:gd name="T10" fmla="*/ 15 w 198"/>
                <a:gd name="T11" fmla="*/ 194 h 199"/>
                <a:gd name="T12" fmla="*/ 9 w 198"/>
                <a:gd name="T13" fmla="*/ 190 h 199"/>
                <a:gd name="T14" fmla="*/ 5 w 198"/>
                <a:gd name="T15" fmla="*/ 185 h 199"/>
                <a:gd name="T16" fmla="*/ 2 w 198"/>
                <a:gd name="T17" fmla="*/ 178 h 199"/>
                <a:gd name="T18" fmla="*/ 0 w 198"/>
                <a:gd name="T19" fmla="*/ 172 h 199"/>
                <a:gd name="T20" fmla="*/ 0 w 198"/>
                <a:gd name="T21" fmla="*/ 166 h 199"/>
                <a:gd name="T22" fmla="*/ 0 w 198"/>
                <a:gd name="T23" fmla="*/ 33 h 199"/>
                <a:gd name="T24" fmla="*/ 0 w 198"/>
                <a:gd name="T25" fmla="*/ 33 h 199"/>
                <a:gd name="T26" fmla="*/ 0 w 198"/>
                <a:gd name="T27" fmla="*/ 27 h 199"/>
                <a:gd name="T28" fmla="*/ 2 w 198"/>
                <a:gd name="T29" fmla="*/ 21 h 199"/>
                <a:gd name="T30" fmla="*/ 5 w 198"/>
                <a:gd name="T31" fmla="*/ 15 h 199"/>
                <a:gd name="T32" fmla="*/ 9 w 198"/>
                <a:gd name="T33" fmla="*/ 11 h 199"/>
                <a:gd name="T34" fmla="*/ 15 w 198"/>
                <a:gd name="T35" fmla="*/ 7 h 199"/>
                <a:gd name="T36" fmla="*/ 20 w 198"/>
                <a:gd name="T37" fmla="*/ 3 h 199"/>
                <a:gd name="T38" fmla="*/ 26 w 198"/>
                <a:gd name="T39" fmla="*/ 1 h 199"/>
                <a:gd name="T40" fmla="*/ 33 w 198"/>
                <a:gd name="T41" fmla="*/ 0 h 199"/>
                <a:gd name="T42" fmla="*/ 165 w 198"/>
                <a:gd name="T43" fmla="*/ 0 h 199"/>
                <a:gd name="T44" fmla="*/ 165 w 198"/>
                <a:gd name="T45" fmla="*/ 0 h 199"/>
                <a:gd name="T46" fmla="*/ 172 w 198"/>
                <a:gd name="T47" fmla="*/ 1 h 199"/>
                <a:gd name="T48" fmla="*/ 178 w 198"/>
                <a:gd name="T49" fmla="*/ 3 h 199"/>
                <a:gd name="T50" fmla="*/ 183 w 198"/>
                <a:gd name="T51" fmla="*/ 7 h 199"/>
                <a:gd name="T52" fmla="*/ 188 w 198"/>
                <a:gd name="T53" fmla="*/ 11 h 199"/>
                <a:gd name="T54" fmla="*/ 193 w 198"/>
                <a:gd name="T55" fmla="*/ 15 h 199"/>
                <a:gd name="T56" fmla="*/ 196 w 198"/>
                <a:gd name="T57" fmla="*/ 21 h 199"/>
                <a:gd name="T58" fmla="*/ 198 w 198"/>
                <a:gd name="T59" fmla="*/ 27 h 199"/>
                <a:gd name="T60" fmla="*/ 198 w 198"/>
                <a:gd name="T61" fmla="*/ 33 h 199"/>
                <a:gd name="T62" fmla="*/ 198 w 198"/>
                <a:gd name="T63" fmla="*/ 166 h 199"/>
                <a:gd name="T64" fmla="*/ 198 w 198"/>
                <a:gd name="T65" fmla="*/ 166 h 199"/>
                <a:gd name="T66" fmla="*/ 198 w 198"/>
                <a:gd name="T67" fmla="*/ 172 h 199"/>
                <a:gd name="T68" fmla="*/ 196 w 198"/>
                <a:gd name="T69" fmla="*/ 178 h 199"/>
                <a:gd name="T70" fmla="*/ 193 w 198"/>
                <a:gd name="T71" fmla="*/ 185 h 199"/>
                <a:gd name="T72" fmla="*/ 188 w 198"/>
                <a:gd name="T73" fmla="*/ 190 h 199"/>
                <a:gd name="T74" fmla="*/ 183 w 198"/>
                <a:gd name="T75" fmla="*/ 194 h 199"/>
                <a:gd name="T76" fmla="*/ 178 w 198"/>
                <a:gd name="T77" fmla="*/ 196 h 199"/>
                <a:gd name="T78" fmla="*/ 172 w 198"/>
                <a:gd name="T79" fmla="*/ 198 h 199"/>
                <a:gd name="T80" fmla="*/ 165 w 198"/>
                <a:gd name="T81" fmla="*/ 199 h 199"/>
                <a:gd name="T82" fmla="*/ 165 w 198"/>
                <a:gd name="T83" fmla="*/ 199 h 199"/>
                <a:gd name="T84" fmla="*/ 65 w 198"/>
                <a:gd name="T85" fmla="*/ 133 h 199"/>
                <a:gd name="T86" fmla="*/ 131 w 198"/>
                <a:gd name="T87" fmla="*/ 133 h 199"/>
                <a:gd name="T88" fmla="*/ 131 w 198"/>
                <a:gd name="T89" fmla="*/ 67 h 199"/>
                <a:gd name="T90" fmla="*/ 65 w 198"/>
                <a:gd name="T91" fmla="*/ 67 h 199"/>
                <a:gd name="T92" fmla="*/ 65 w 198"/>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99">
                  <a:moveTo>
                    <a:pt x="165" y="199"/>
                  </a:moveTo>
                  <a:lnTo>
                    <a:pt x="33" y="199"/>
                  </a:lnTo>
                  <a:lnTo>
                    <a:pt x="33" y="199"/>
                  </a:lnTo>
                  <a:lnTo>
                    <a:pt x="26" y="198"/>
                  </a:lnTo>
                  <a:lnTo>
                    <a:pt x="20" y="196"/>
                  </a:lnTo>
                  <a:lnTo>
                    <a:pt x="15" y="194"/>
                  </a:lnTo>
                  <a:lnTo>
                    <a:pt x="9" y="190"/>
                  </a:lnTo>
                  <a:lnTo>
                    <a:pt x="5" y="185"/>
                  </a:lnTo>
                  <a:lnTo>
                    <a:pt x="2" y="178"/>
                  </a:lnTo>
                  <a:lnTo>
                    <a:pt x="0" y="172"/>
                  </a:lnTo>
                  <a:lnTo>
                    <a:pt x="0" y="166"/>
                  </a:lnTo>
                  <a:lnTo>
                    <a:pt x="0" y="33"/>
                  </a:lnTo>
                  <a:lnTo>
                    <a:pt x="0" y="33"/>
                  </a:lnTo>
                  <a:lnTo>
                    <a:pt x="0" y="27"/>
                  </a:lnTo>
                  <a:lnTo>
                    <a:pt x="2" y="21"/>
                  </a:lnTo>
                  <a:lnTo>
                    <a:pt x="5" y="15"/>
                  </a:lnTo>
                  <a:lnTo>
                    <a:pt x="9" y="11"/>
                  </a:lnTo>
                  <a:lnTo>
                    <a:pt x="15" y="7"/>
                  </a:lnTo>
                  <a:lnTo>
                    <a:pt x="20" y="3"/>
                  </a:lnTo>
                  <a:lnTo>
                    <a:pt x="26" y="1"/>
                  </a:lnTo>
                  <a:lnTo>
                    <a:pt x="33" y="0"/>
                  </a:lnTo>
                  <a:lnTo>
                    <a:pt x="165" y="0"/>
                  </a:lnTo>
                  <a:lnTo>
                    <a:pt x="165" y="0"/>
                  </a:lnTo>
                  <a:lnTo>
                    <a:pt x="172" y="1"/>
                  </a:lnTo>
                  <a:lnTo>
                    <a:pt x="178" y="3"/>
                  </a:lnTo>
                  <a:lnTo>
                    <a:pt x="183" y="7"/>
                  </a:lnTo>
                  <a:lnTo>
                    <a:pt x="188" y="11"/>
                  </a:lnTo>
                  <a:lnTo>
                    <a:pt x="193" y="15"/>
                  </a:lnTo>
                  <a:lnTo>
                    <a:pt x="196" y="21"/>
                  </a:lnTo>
                  <a:lnTo>
                    <a:pt x="198" y="27"/>
                  </a:lnTo>
                  <a:lnTo>
                    <a:pt x="198" y="33"/>
                  </a:lnTo>
                  <a:lnTo>
                    <a:pt x="198" y="166"/>
                  </a:lnTo>
                  <a:lnTo>
                    <a:pt x="198" y="166"/>
                  </a:lnTo>
                  <a:lnTo>
                    <a:pt x="198" y="172"/>
                  </a:lnTo>
                  <a:lnTo>
                    <a:pt x="196" y="178"/>
                  </a:lnTo>
                  <a:lnTo>
                    <a:pt x="193" y="185"/>
                  </a:lnTo>
                  <a:lnTo>
                    <a:pt x="188" y="190"/>
                  </a:lnTo>
                  <a:lnTo>
                    <a:pt x="183" y="194"/>
                  </a:lnTo>
                  <a:lnTo>
                    <a:pt x="178" y="196"/>
                  </a:lnTo>
                  <a:lnTo>
                    <a:pt x="172" y="198"/>
                  </a:lnTo>
                  <a:lnTo>
                    <a:pt x="165" y="199"/>
                  </a:lnTo>
                  <a:lnTo>
                    <a:pt x="165" y="199"/>
                  </a:lnTo>
                  <a:close/>
                  <a:moveTo>
                    <a:pt x="65" y="133"/>
                  </a:moveTo>
                  <a:lnTo>
                    <a:pt x="131" y="133"/>
                  </a:lnTo>
                  <a:lnTo>
                    <a:pt x="131" y="67"/>
                  </a:lnTo>
                  <a:lnTo>
                    <a:pt x="65" y="67"/>
                  </a:lnTo>
                  <a:lnTo>
                    <a:pt x="65"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1" name="Freeform 146">
              <a:extLst>
                <a:ext uri="{FF2B5EF4-FFF2-40B4-BE49-F238E27FC236}">
                  <a16:creationId xmlns:a16="http://schemas.microsoft.com/office/drawing/2014/main" id="{C39B29A2-FEC9-C1DE-3AE1-DEEC3453E4ED}"/>
                </a:ext>
              </a:extLst>
            </p:cNvPr>
            <p:cNvSpPr>
              <a:spLocks noEditPoints="1"/>
            </p:cNvSpPr>
            <p:nvPr/>
          </p:nvSpPr>
          <p:spPr bwMode="auto">
            <a:xfrm>
              <a:off x="7145338" y="2679701"/>
              <a:ext cx="60325" cy="44450"/>
            </a:xfrm>
            <a:custGeom>
              <a:avLst/>
              <a:gdLst>
                <a:gd name="T0" fmla="*/ 232 w 265"/>
                <a:gd name="T1" fmla="*/ 199 h 199"/>
                <a:gd name="T2" fmla="*/ 33 w 265"/>
                <a:gd name="T3" fmla="*/ 199 h 199"/>
                <a:gd name="T4" fmla="*/ 33 w 265"/>
                <a:gd name="T5" fmla="*/ 199 h 199"/>
                <a:gd name="T6" fmla="*/ 27 w 265"/>
                <a:gd name="T7" fmla="*/ 198 h 199"/>
                <a:gd name="T8" fmla="*/ 21 w 265"/>
                <a:gd name="T9" fmla="*/ 196 h 199"/>
                <a:gd name="T10" fmla="*/ 14 w 265"/>
                <a:gd name="T11" fmla="*/ 194 h 199"/>
                <a:gd name="T12" fmla="*/ 10 w 265"/>
                <a:gd name="T13" fmla="*/ 190 h 199"/>
                <a:gd name="T14" fmla="*/ 6 w 265"/>
                <a:gd name="T15" fmla="*/ 185 h 199"/>
                <a:gd name="T16" fmla="*/ 3 w 265"/>
                <a:gd name="T17" fmla="*/ 178 h 199"/>
                <a:gd name="T18" fmla="*/ 1 w 265"/>
                <a:gd name="T19" fmla="*/ 172 h 199"/>
                <a:gd name="T20" fmla="*/ 0 w 265"/>
                <a:gd name="T21" fmla="*/ 166 h 199"/>
                <a:gd name="T22" fmla="*/ 0 w 265"/>
                <a:gd name="T23" fmla="*/ 33 h 199"/>
                <a:gd name="T24" fmla="*/ 0 w 265"/>
                <a:gd name="T25" fmla="*/ 33 h 199"/>
                <a:gd name="T26" fmla="*/ 1 w 265"/>
                <a:gd name="T27" fmla="*/ 27 h 199"/>
                <a:gd name="T28" fmla="*/ 3 w 265"/>
                <a:gd name="T29" fmla="*/ 21 h 199"/>
                <a:gd name="T30" fmla="*/ 6 w 265"/>
                <a:gd name="T31" fmla="*/ 15 h 199"/>
                <a:gd name="T32" fmla="*/ 10 w 265"/>
                <a:gd name="T33" fmla="*/ 11 h 199"/>
                <a:gd name="T34" fmla="*/ 14 w 265"/>
                <a:gd name="T35" fmla="*/ 7 h 199"/>
                <a:gd name="T36" fmla="*/ 21 w 265"/>
                <a:gd name="T37" fmla="*/ 3 h 199"/>
                <a:gd name="T38" fmla="*/ 27 w 265"/>
                <a:gd name="T39" fmla="*/ 1 h 199"/>
                <a:gd name="T40" fmla="*/ 33 w 265"/>
                <a:gd name="T41" fmla="*/ 0 h 199"/>
                <a:gd name="T42" fmla="*/ 232 w 265"/>
                <a:gd name="T43" fmla="*/ 0 h 199"/>
                <a:gd name="T44" fmla="*/ 232 w 265"/>
                <a:gd name="T45" fmla="*/ 0 h 199"/>
                <a:gd name="T46" fmla="*/ 238 w 265"/>
                <a:gd name="T47" fmla="*/ 1 h 199"/>
                <a:gd name="T48" fmla="*/ 244 w 265"/>
                <a:gd name="T49" fmla="*/ 3 h 199"/>
                <a:gd name="T50" fmla="*/ 250 w 265"/>
                <a:gd name="T51" fmla="*/ 7 h 199"/>
                <a:gd name="T52" fmla="*/ 255 w 265"/>
                <a:gd name="T53" fmla="*/ 11 h 199"/>
                <a:gd name="T54" fmla="*/ 259 w 265"/>
                <a:gd name="T55" fmla="*/ 15 h 199"/>
                <a:gd name="T56" fmla="*/ 262 w 265"/>
                <a:gd name="T57" fmla="*/ 21 h 199"/>
                <a:gd name="T58" fmla="*/ 264 w 265"/>
                <a:gd name="T59" fmla="*/ 27 h 199"/>
                <a:gd name="T60" fmla="*/ 265 w 265"/>
                <a:gd name="T61" fmla="*/ 33 h 199"/>
                <a:gd name="T62" fmla="*/ 265 w 265"/>
                <a:gd name="T63" fmla="*/ 166 h 199"/>
                <a:gd name="T64" fmla="*/ 265 w 265"/>
                <a:gd name="T65" fmla="*/ 166 h 199"/>
                <a:gd name="T66" fmla="*/ 264 w 265"/>
                <a:gd name="T67" fmla="*/ 172 h 199"/>
                <a:gd name="T68" fmla="*/ 262 w 265"/>
                <a:gd name="T69" fmla="*/ 178 h 199"/>
                <a:gd name="T70" fmla="*/ 259 w 265"/>
                <a:gd name="T71" fmla="*/ 185 h 199"/>
                <a:gd name="T72" fmla="*/ 255 w 265"/>
                <a:gd name="T73" fmla="*/ 190 h 199"/>
                <a:gd name="T74" fmla="*/ 250 w 265"/>
                <a:gd name="T75" fmla="*/ 194 h 199"/>
                <a:gd name="T76" fmla="*/ 244 w 265"/>
                <a:gd name="T77" fmla="*/ 196 h 199"/>
                <a:gd name="T78" fmla="*/ 238 w 265"/>
                <a:gd name="T79" fmla="*/ 198 h 199"/>
                <a:gd name="T80" fmla="*/ 232 w 265"/>
                <a:gd name="T81" fmla="*/ 199 h 199"/>
                <a:gd name="T82" fmla="*/ 232 w 265"/>
                <a:gd name="T83" fmla="*/ 199 h 199"/>
                <a:gd name="T84" fmla="*/ 66 w 265"/>
                <a:gd name="T85" fmla="*/ 133 h 199"/>
                <a:gd name="T86" fmla="*/ 199 w 265"/>
                <a:gd name="T87" fmla="*/ 133 h 199"/>
                <a:gd name="T88" fmla="*/ 199 w 265"/>
                <a:gd name="T89" fmla="*/ 67 h 199"/>
                <a:gd name="T90" fmla="*/ 66 w 265"/>
                <a:gd name="T91" fmla="*/ 67 h 199"/>
                <a:gd name="T92" fmla="*/ 66 w 265"/>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199">
                  <a:moveTo>
                    <a:pt x="232" y="199"/>
                  </a:moveTo>
                  <a:lnTo>
                    <a:pt x="33" y="199"/>
                  </a:lnTo>
                  <a:lnTo>
                    <a:pt x="33" y="199"/>
                  </a:lnTo>
                  <a:lnTo>
                    <a:pt x="27" y="198"/>
                  </a:lnTo>
                  <a:lnTo>
                    <a:pt x="21" y="196"/>
                  </a:lnTo>
                  <a:lnTo>
                    <a:pt x="14" y="194"/>
                  </a:lnTo>
                  <a:lnTo>
                    <a:pt x="10" y="190"/>
                  </a:lnTo>
                  <a:lnTo>
                    <a:pt x="6" y="185"/>
                  </a:lnTo>
                  <a:lnTo>
                    <a:pt x="3" y="178"/>
                  </a:lnTo>
                  <a:lnTo>
                    <a:pt x="1" y="172"/>
                  </a:lnTo>
                  <a:lnTo>
                    <a:pt x="0" y="166"/>
                  </a:lnTo>
                  <a:lnTo>
                    <a:pt x="0" y="33"/>
                  </a:lnTo>
                  <a:lnTo>
                    <a:pt x="0" y="33"/>
                  </a:lnTo>
                  <a:lnTo>
                    <a:pt x="1" y="27"/>
                  </a:lnTo>
                  <a:lnTo>
                    <a:pt x="3" y="21"/>
                  </a:lnTo>
                  <a:lnTo>
                    <a:pt x="6" y="15"/>
                  </a:lnTo>
                  <a:lnTo>
                    <a:pt x="10" y="11"/>
                  </a:lnTo>
                  <a:lnTo>
                    <a:pt x="14" y="7"/>
                  </a:lnTo>
                  <a:lnTo>
                    <a:pt x="21" y="3"/>
                  </a:lnTo>
                  <a:lnTo>
                    <a:pt x="27" y="1"/>
                  </a:lnTo>
                  <a:lnTo>
                    <a:pt x="33" y="0"/>
                  </a:lnTo>
                  <a:lnTo>
                    <a:pt x="232" y="0"/>
                  </a:lnTo>
                  <a:lnTo>
                    <a:pt x="232" y="0"/>
                  </a:lnTo>
                  <a:lnTo>
                    <a:pt x="238" y="1"/>
                  </a:lnTo>
                  <a:lnTo>
                    <a:pt x="244" y="3"/>
                  </a:lnTo>
                  <a:lnTo>
                    <a:pt x="250" y="7"/>
                  </a:lnTo>
                  <a:lnTo>
                    <a:pt x="255" y="11"/>
                  </a:lnTo>
                  <a:lnTo>
                    <a:pt x="259" y="15"/>
                  </a:lnTo>
                  <a:lnTo>
                    <a:pt x="262" y="21"/>
                  </a:lnTo>
                  <a:lnTo>
                    <a:pt x="264" y="27"/>
                  </a:lnTo>
                  <a:lnTo>
                    <a:pt x="265" y="33"/>
                  </a:lnTo>
                  <a:lnTo>
                    <a:pt x="265" y="166"/>
                  </a:lnTo>
                  <a:lnTo>
                    <a:pt x="265" y="166"/>
                  </a:lnTo>
                  <a:lnTo>
                    <a:pt x="264" y="172"/>
                  </a:lnTo>
                  <a:lnTo>
                    <a:pt x="262" y="178"/>
                  </a:lnTo>
                  <a:lnTo>
                    <a:pt x="259" y="185"/>
                  </a:lnTo>
                  <a:lnTo>
                    <a:pt x="255" y="190"/>
                  </a:lnTo>
                  <a:lnTo>
                    <a:pt x="250" y="194"/>
                  </a:lnTo>
                  <a:lnTo>
                    <a:pt x="244" y="196"/>
                  </a:lnTo>
                  <a:lnTo>
                    <a:pt x="238" y="198"/>
                  </a:lnTo>
                  <a:lnTo>
                    <a:pt x="232" y="199"/>
                  </a:lnTo>
                  <a:lnTo>
                    <a:pt x="232" y="199"/>
                  </a:lnTo>
                  <a:close/>
                  <a:moveTo>
                    <a:pt x="66" y="133"/>
                  </a:moveTo>
                  <a:lnTo>
                    <a:pt x="199" y="133"/>
                  </a:lnTo>
                  <a:lnTo>
                    <a:pt x="199" y="67"/>
                  </a:lnTo>
                  <a:lnTo>
                    <a:pt x="66" y="67"/>
                  </a:lnTo>
                  <a:lnTo>
                    <a:pt x="6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2" name="Freeform 147">
              <a:extLst>
                <a:ext uri="{FF2B5EF4-FFF2-40B4-BE49-F238E27FC236}">
                  <a16:creationId xmlns:a16="http://schemas.microsoft.com/office/drawing/2014/main" id="{3F7D71C6-B93A-E307-F7E8-CED40E7BF907}"/>
                </a:ext>
              </a:extLst>
            </p:cNvPr>
            <p:cNvSpPr>
              <a:spLocks noEditPoints="1"/>
            </p:cNvSpPr>
            <p:nvPr/>
          </p:nvSpPr>
          <p:spPr bwMode="auto">
            <a:xfrm>
              <a:off x="7221538" y="2679701"/>
              <a:ext cx="44450" cy="44450"/>
            </a:xfrm>
            <a:custGeom>
              <a:avLst/>
              <a:gdLst>
                <a:gd name="T0" fmla="*/ 165 w 198"/>
                <a:gd name="T1" fmla="*/ 199 h 199"/>
                <a:gd name="T2" fmla="*/ 33 w 198"/>
                <a:gd name="T3" fmla="*/ 199 h 199"/>
                <a:gd name="T4" fmla="*/ 33 w 198"/>
                <a:gd name="T5" fmla="*/ 199 h 199"/>
                <a:gd name="T6" fmla="*/ 26 w 198"/>
                <a:gd name="T7" fmla="*/ 198 h 199"/>
                <a:gd name="T8" fmla="*/ 20 w 198"/>
                <a:gd name="T9" fmla="*/ 196 h 199"/>
                <a:gd name="T10" fmla="*/ 15 w 198"/>
                <a:gd name="T11" fmla="*/ 194 h 199"/>
                <a:gd name="T12" fmla="*/ 9 w 198"/>
                <a:gd name="T13" fmla="*/ 190 h 199"/>
                <a:gd name="T14" fmla="*/ 5 w 198"/>
                <a:gd name="T15" fmla="*/ 185 h 199"/>
                <a:gd name="T16" fmla="*/ 2 w 198"/>
                <a:gd name="T17" fmla="*/ 178 h 199"/>
                <a:gd name="T18" fmla="*/ 0 w 198"/>
                <a:gd name="T19" fmla="*/ 172 h 199"/>
                <a:gd name="T20" fmla="*/ 0 w 198"/>
                <a:gd name="T21" fmla="*/ 166 h 199"/>
                <a:gd name="T22" fmla="*/ 0 w 198"/>
                <a:gd name="T23" fmla="*/ 33 h 199"/>
                <a:gd name="T24" fmla="*/ 0 w 198"/>
                <a:gd name="T25" fmla="*/ 33 h 199"/>
                <a:gd name="T26" fmla="*/ 0 w 198"/>
                <a:gd name="T27" fmla="*/ 27 h 199"/>
                <a:gd name="T28" fmla="*/ 2 w 198"/>
                <a:gd name="T29" fmla="*/ 21 h 199"/>
                <a:gd name="T30" fmla="*/ 5 w 198"/>
                <a:gd name="T31" fmla="*/ 15 h 199"/>
                <a:gd name="T32" fmla="*/ 9 w 198"/>
                <a:gd name="T33" fmla="*/ 11 h 199"/>
                <a:gd name="T34" fmla="*/ 15 w 198"/>
                <a:gd name="T35" fmla="*/ 7 h 199"/>
                <a:gd name="T36" fmla="*/ 20 w 198"/>
                <a:gd name="T37" fmla="*/ 3 h 199"/>
                <a:gd name="T38" fmla="*/ 26 w 198"/>
                <a:gd name="T39" fmla="*/ 1 h 199"/>
                <a:gd name="T40" fmla="*/ 33 w 198"/>
                <a:gd name="T41" fmla="*/ 0 h 199"/>
                <a:gd name="T42" fmla="*/ 165 w 198"/>
                <a:gd name="T43" fmla="*/ 0 h 199"/>
                <a:gd name="T44" fmla="*/ 165 w 198"/>
                <a:gd name="T45" fmla="*/ 0 h 199"/>
                <a:gd name="T46" fmla="*/ 172 w 198"/>
                <a:gd name="T47" fmla="*/ 1 h 199"/>
                <a:gd name="T48" fmla="*/ 178 w 198"/>
                <a:gd name="T49" fmla="*/ 3 h 199"/>
                <a:gd name="T50" fmla="*/ 183 w 198"/>
                <a:gd name="T51" fmla="*/ 7 h 199"/>
                <a:gd name="T52" fmla="*/ 188 w 198"/>
                <a:gd name="T53" fmla="*/ 11 h 199"/>
                <a:gd name="T54" fmla="*/ 193 w 198"/>
                <a:gd name="T55" fmla="*/ 15 h 199"/>
                <a:gd name="T56" fmla="*/ 196 w 198"/>
                <a:gd name="T57" fmla="*/ 21 h 199"/>
                <a:gd name="T58" fmla="*/ 198 w 198"/>
                <a:gd name="T59" fmla="*/ 27 h 199"/>
                <a:gd name="T60" fmla="*/ 198 w 198"/>
                <a:gd name="T61" fmla="*/ 33 h 199"/>
                <a:gd name="T62" fmla="*/ 198 w 198"/>
                <a:gd name="T63" fmla="*/ 166 h 199"/>
                <a:gd name="T64" fmla="*/ 198 w 198"/>
                <a:gd name="T65" fmla="*/ 166 h 199"/>
                <a:gd name="T66" fmla="*/ 198 w 198"/>
                <a:gd name="T67" fmla="*/ 172 h 199"/>
                <a:gd name="T68" fmla="*/ 196 w 198"/>
                <a:gd name="T69" fmla="*/ 178 h 199"/>
                <a:gd name="T70" fmla="*/ 193 w 198"/>
                <a:gd name="T71" fmla="*/ 185 h 199"/>
                <a:gd name="T72" fmla="*/ 188 w 198"/>
                <a:gd name="T73" fmla="*/ 190 h 199"/>
                <a:gd name="T74" fmla="*/ 183 w 198"/>
                <a:gd name="T75" fmla="*/ 194 h 199"/>
                <a:gd name="T76" fmla="*/ 178 w 198"/>
                <a:gd name="T77" fmla="*/ 196 h 199"/>
                <a:gd name="T78" fmla="*/ 172 w 198"/>
                <a:gd name="T79" fmla="*/ 198 h 199"/>
                <a:gd name="T80" fmla="*/ 165 w 198"/>
                <a:gd name="T81" fmla="*/ 199 h 199"/>
                <a:gd name="T82" fmla="*/ 165 w 198"/>
                <a:gd name="T83" fmla="*/ 199 h 199"/>
                <a:gd name="T84" fmla="*/ 66 w 198"/>
                <a:gd name="T85" fmla="*/ 133 h 199"/>
                <a:gd name="T86" fmla="*/ 133 w 198"/>
                <a:gd name="T87" fmla="*/ 133 h 199"/>
                <a:gd name="T88" fmla="*/ 133 w 198"/>
                <a:gd name="T89" fmla="*/ 67 h 199"/>
                <a:gd name="T90" fmla="*/ 66 w 198"/>
                <a:gd name="T91" fmla="*/ 67 h 199"/>
                <a:gd name="T92" fmla="*/ 66 w 198"/>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99">
                  <a:moveTo>
                    <a:pt x="165" y="199"/>
                  </a:moveTo>
                  <a:lnTo>
                    <a:pt x="33" y="199"/>
                  </a:lnTo>
                  <a:lnTo>
                    <a:pt x="33" y="199"/>
                  </a:lnTo>
                  <a:lnTo>
                    <a:pt x="26" y="198"/>
                  </a:lnTo>
                  <a:lnTo>
                    <a:pt x="20" y="196"/>
                  </a:lnTo>
                  <a:lnTo>
                    <a:pt x="15" y="194"/>
                  </a:lnTo>
                  <a:lnTo>
                    <a:pt x="9" y="190"/>
                  </a:lnTo>
                  <a:lnTo>
                    <a:pt x="5" y="185"/>
                  </a:lnTo>
                  <a:lnTo>
                    <a:pt x="2" y="178"/>
                  </a:lnTo>
                  <a:lnTo>
                    <a:pt x="0" y="172"/>
                  </a:lnTo>
                  <a:lnTo>
                    <a:pt x="0" y="166"/>
                  </a:lnTo>
                  <a:lnTo>
                    <a:pt x="0" y="33"/>
                  </a:lnTo>
                  <a:lnTo>
                    <a:pt x="0" y="33"/>
                  </a:lnTo>
                  <a:lnTo>
                    <a:pt x="0" y="27"/>
                  </a:lnTo>
                  <a:lnTo>
                    <a:pt x="2" y="21"/>
                  </a:lnTo>
                  <a:lnTo>
                    <a:pt x="5" y="15"/>
                  </a:lnTo>
                  <a:lnTo>
                    <a:pt x="9" y="11"/>
                  </a:lnTo>
                  <a:lnTo>
                    <a:pt x="15" y="7"/>
                  </a:lnTo>
                  <a:lnTo>
                    <a:pt x="20" y="3"/>
                  </a:lnTo>
                  <a:lnTo>
                    <a:pt x="26" y="1"/>
                  </a:lnTo>
                  <a:lnTo>
                    <a:pt x="33" y="0"/>
                  </a:lnTo>
                  <a:lnTo>
                    <a:pt x="165" y="0"/>
                  </a:lnTo>
                  <a:lnTo>
                    <a:pt x="165" y="0"/>
                  </a:lnTo>
                  <a:lnTo>
                    <a:pt x="172" y="1"/>
                  </a:lnTo>
                  <a:lnTo>
                    <a:pt x="178" y="3"/>
                  </a:lnTo>
                  <a:lnTo>
                    <a:pt x="183" y="7"/>
                  </a:lnTo>
                  <a:lnTo>
                    <a:pt x="188" y="11"/>
                  </a:lnTo>
                  <a:lnTo>
                    <a:pt x="193" y="15"/>
                  </a:lnTo>
                  <a:lnTo>
                    <a:pt x="196" y="21"/>
                  </a:lnTo>
                  <a:lnTo>
                    <a:pt x="198" y="27"/>
                  </a:lnTo>
                  <a:lnTo>
                    <a:pt x="198" y="33"/>
                  </a:lnTo>
                  <a:lnTo>
                    <a:pt x="198" y="166"/>
                  </a:lnTo>
                  <a:lnTo>
                    <a:pt x="198" y="166"/>
                  </a:lnTo>
                  <a:lnTo>
                    <a:pt x="198" y="172"/>
                  </a:lnTo>
                  <a:lnTo>
                    <a:pt x="196" y="178"/>
                  </a:lnTo>
                  <a:lnTo>
                    <a:pt x="193" y="185"/>
                  </a:lnTo>
                  <a:lnTo>
                    <a:pt x="188" y="190"/>
                  </a:lnTo>
                  <a:lnTo>
                    <a:pt x="183" y="194"/>
                  </a:lnTo>
                  <a:lnTo>
                    <a:pt x="178" y="196"/>
                  </a:lnTo>
                  <a:lnTo>
                    <a:pt x="172" y="198"/>
                  </a:lnTo>
                  <a:lnTo>
                    <a:pt x="165" y="199"/>
                  </a:lnTo>
                  <a:lnTo>
                    <a:pt x="165" y="199"/>
                  </a:lnTo>
                  <a:close/>
                  <a:moveTo>
                    <a:pt x="66" y="133"/>
                  </a:moveTo>
                  <a:lnTo>
                    <a:pt x="133" y="133"/>
                  </a:lnTo>
                  <a:lnTo>
                    <a:pt x="133" y="67"/>
                  </a:lnTo>
                  <a:lnTo>
                    <a:pt x="66" y="67"/>
                  </a:lnTo>
                  <a:lnTo>
                    <a:pt x="6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3" name="Freeform 148">
              <a:extLst>
                <a:ext uri="{FF2B5EF4-FFF2-40B4-BE49-F238E27FC236}">
                  <a16:creationId xmlns:a16="http://schemas.microsoft.com/office/drawing/2014/main" id="{090175C6-132F-987C-4BD8-487D219F5732}"/>
                </a:ext>
              </a:extLst>
            </p:cNvPr>
            <p:cNvSpPr>
              <a:spLocks noEditPoints="1"/>
            </p:cNvSpPr>
            <p:nvPr/>
          </p:nvSpPr>
          <p:spPr bwMode="auto">
            <a:xfrm>
              <a:off x="7086600" y="2740026"/>
              <a:ext cx="44450" cy="44450"/>
            </a:xfrm>
            <a:custGeom>
              <a:avLst/>
              <a:gdLst>
                <a:gd name="T0" fmla="*/ 165 w 198"/>
                <a:gd name="T1" fmla="*/ 199 h 199"/>
                <a:gd name="T2" fmla="*/ 33 w 198"/>
                <a:gd name="T3" fmla="*/ 199 h 199"/>
                <a:gd name="T4" fmla="*/ 33 w 198"/>
                <a:gd name="T5" fmla="*/ 199 h 199"/>
                <a:gd name="T6" fmla="*/ 26 w 198"/>
                <a:gd name="T7" fmla="*/ 198 h 199"/>
                <a:gd name="T8" fmla="*/ 20 w 198"/>
                <a:gd name="T9" fmla="*/ 196 h 199"/>
                <a:gd name="T10" fmla="*/ 15 w 198"/>
                <a:gd name="T11" fmla="*/ 193 h 199"/>
                <a:gd name="T12" fmla="*/ 9 w 198"/>
                <a:gd name="T13" fmla="*/ 189 h 199"/>
                <a:gd name="T14" fmla="*/ 5 w 198"/>
                <a:gd name="T15" fmla="*/ 185 h 199"/>
                <a:gd name="T16" fmla="*/ 2 w 198"/>
                <a:gd name="T17" fmla="*/ 178 h 199"/>
                <a:gd name="T18" fmla="*/ 0 w 198"/>
                <a:gd name="T19" fmla="*/ 172 h 199"/>
                <a:gd name="T20" fmla="*/ 0 w 198"/>
                <a:gd name="T21" fmla="*/ 166 h 199"/>
                <a:gd name="T22" fmla="*/ 0 w 198"/>
                <a:gd name="T23" fmla="*/ 33 h 199"/>
                <a:gd name="T24" fmla="*/ 0 w 198"/>
                <a:gd name="T25" fmla="*/ 33 h 199"/>
                <a:gd name="T26" fmla="*/ 0 w 198"/>
                <a:gd name="T27" fmla="*/ 26 h 199"/>
                <a:gd name="T28" fmla="*/ 2 w 198"/>
                <a:gd name="T29" fmla="*/ 20 h 199"/>
                <a:gd name="T30" fmla="*/ 5 w 198"/>
                <a:gd name="T31" fmla="*/ 15 h 199"/>
                <a:gd name="T32" fmla="*/ 9 w 198"/>
                <a:gd name="T33" fmla="*/ 10 h 199"/>
                <a:gd name="T34" fmla="*/ 15 w 198"/>
                <a:gd name="T35" fmla="*/ 6 h 199"/>
                <a:gd name="T36" fmla="*/ 20 w 198"/>
                <a:gd name="T37" fmla="*/ 2 h 199"/>
                <a:gd name="T38" fmla="*/ 26 w 198"/>
                <a:gd name="T39" fmla="*/ 1 h 199"/>
                <a:gd name="T40" fmla="*/ 33 w 198"/>
                <a:gd name="T41" fmla="*/ 0 h 199"/>
                <a:gd name="T42" fmla="*/ 165 w 198"/>
                <a:gd name="T43" fmla="*/ 0 h 199"/>
                <a:gd name="T44" fmla="*/ 165 w 198"/>
                <a:gd name="T45" fmla="*/ 0 h 199"/>
                <a:gd name="T46" fmla="*/ 172 w 198"/>
                <a:gd name="T47" fmla="*/ 1 h 199"/>
                <a:gd name="T48" fmla="*/ 178 w 198"/>
                <a:gd name="T49" fmla="*/ 2 h 199"/>
                <a:gd name="T50" fmla="*/ 183 w 198"/>
                <a:gd name="T51" fmla="*/ 6 h 199"/>
                <a:gd name="T52" fmla="*/ 188 w 198"/>
                <a:gd name="T53" fmla="*/ 10 h 199"/>
                <a:gd name="T54" fmla="*/ 193 w 198"/>
                <a:gd name="T55" fmla="*/ 15 h 199"/>
                <a:gd name="T56" fmla="*/ 196 w 198"/>
                <a:gd name="T57" fmla="*/ 20 h 199"/>
                <a:gd name="T58" fmla="*/ 198 w 198"/>
                <a:gd name="T59" fmla="*/ 26 h 199"/>
                <a:gd name="T60" fmla="*/ 198 w 198"/>
                <a:gd name="T61" fmla="*/ 33 h 199"/>
                <a:gd name="T62" fmla="*/ 198 w 198"/>
                <a:gd name="T63" fmla="*/ 166 h 199"/>
                <a:gd name="T64" fmla="*/ 198 w 198"/>
                <a:gd name="T65" fmla="*/ 166 h 199"/>
                <a:gd name="T66" fmla="*/ 198 w 198"/>
                <a:gd name="T67" fmla="*/ 172 h 199"/>
                <a:gd name="T68" fmla="*/ 196 w 198"/>
                <a:gd name="T69" fmla="*/ 178 h 199"/>
                <a:gd name="T70" fmla="*/ 193 w 198"/>
                <a:gd name="T71" fmla="*/ 185 h 199"/>
                <a:gd name="T72" fmla="*/ 188 w 198"/>
                <a:gd name="T73" fmla="*/ 189 h 199"/>
                <a:gd name="T74" fmla="*/ 183 w 198"/>
                <a:gd name="T75" fmla="*/ 193 h 199"/>
                <a:gd name="T76" fmla="*/ 178 w 198"/>
                <a:gd name="T77" fmla="*/ 196 h 199"/>
                <a:gd name="T78" fmla="*/ 172 w 198"/>
                <a:gd name="T79" fmla="*/ 198 h 199"/>
                <a:gd name="T80" fmla="*/ 165 w 198"/>
                <a:gd name="T81" fmla="*/ 199 h 199"/>
                <a:gd name="T82" fmla="*/ 165 w 198"/>
                <a:gd name="T83" fmla="*/ 199 h 199"/>
                <a:gd name="T84" fmla="*/ 65 w 198"/>
                <a:gd name="T85" fmla="*/ 133 h 199"/>
                <a:gd name="T86" fmla="*/ 131 w 198"/>
                <a:gd name="T87" fmla="*/ 133 h 199"/>
                <a:gd name="T88" fmla="*/ 131 w 198"/>
                <a:gd name="T89" fmla="*/ 67 h 199"/>
                <a:gd name="T90" fmla="*/ 65 w 198"/>
                <a:gd name="T91" fmla="*/ 67 h 199"/>
                <a:gd name="T92" fmla="*/ 65 w 198"/>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99">
                  <a:moveTo>
                    <a:pt x="165" y="199"/>
                  </a:moveTo>
                  <a:lnTo>
                    <a:pt x="33" y="199"/>
                  </a:lnTo>
                  <a:lnTo>
                    <a:pt x="33" y="199"/>
                  </a:lnTo>
                  <a:lnTo>
                    <a:pt x="26" y="198"/>
                  </a:lnTo>
                  <a:lnTo>
                    <a:pt x="20" y="196"/>
                  </a:lnTo>
                  <a:lnTo>
                    <a:pt x="15" y="193"/>
                  </a:lnTo>
                  <a:lnTo>
                    <a:pt x="9" y="189"/>
                  </a:lnTo>
                  <a:lnTo>
                    <a:pt x="5" y="185"/>
                  </a:lnTo>
                  <a:lnTo>
                    <a:pt x="2" y="178"/>
                  </a:lnTo>
                  <a:lnTo>
                    <a:pt x="0" y="172"/>
                  </a:lnTo>
                  <a:lnTo>
                    <a:pt x="0" y="166"/>
                  </a:lnTo>
                  <a:lnTo>
                    <a:pt x="0" y="33"/>
                  </a:lnTo>
                  <a:lnTo>
                    <a:pt x="0" y="33"/>
                  </a:lnTo>
                  <a:lnTo>
                    <a:pt x="0" y="26"/>
                  </a:lnTo>
                  <a:lnTo>
                    <a:pt x="2" y="20"/>
                  </a:lnTo>
                  <a:lnTo>
                    <a:pt x="5" y="15"/>
                  </a:lnTo>
                  <a:lnTo>
                    <a:pt x="9" y="10"/>
                  </a:lnTo>
                  <a:lnTo>
                    <a:pt x="15" y="6"/>
                  </a:lnTo>
                  <a:lnTo>
                    <a:pt x="20" y="2"/>
                  </a:lnTo>
                  <a:lnTo>
                    <a:pt x="26" y="1"/>
                  </a:lnTo>
                  <a:lnTo>
                    <a:pt x="33" y="0"/>
                  </a:lnTo>
                  <a:lnTo>
                    <a:pt x="165" y="0"/>
                  </a:lnTo>
                  <a:lnTo>
                    <a:pt x="165" y="0"/>
                  </a:lnTo>
                  <a:lnTo>
                    <a:pt x="172" y="1"/>
                  </a:lnTo>
                  <a:lnTo>
                    <a:pt x="178" y="2"/>
                  </a:lnTo>
                  <a:lnTo>
                    <a:pt x="183" y="6"/>
                  </a:lnTo>
                  <a:lnTo>
                    <a:pt x="188" y="10"/>
                  </a:lnTo>
                  <a:lnTo>
                    <a:pt x="193" y="15"/>
                  </a:lnTo>
                  <a:lnTo>
                    <a:pt x="196" y="20"/>
                  </a:lnTo>
                  <a:lnTo>
                    <a:pt x="198" y="26"/>
                  </a:lnTo>
                  <a:lnTo>
                    <a:pt x="198" y="33"/>
                  </a:lnTo>
                  <a:lnTo>
                    <a:pt x="198" y="166"/>
                  </a:lnTo>
                  <a:lnTo>
                    <a:pt x="198" y="166"/>
                  </a:lnTo>
                  <a:lnTo>
                    <a:pt x="198" y="172"/>
                  </a:lnTo>
                  <a:lnTo>
                    <a:pt x="196" y="178"/>
                  </a:lnTo>
                  <a:lnTo>
                    <a:pt x="193" y="185"/>
                  </a:lnTo>
                  <a:lnTo>
                    <a:pt x="188" y="189"/>
                  </a:lnTo>
                  <a:lnTo>
                    <a:pt x="183" y="193"/>
                  </a:lnTo>
                  <a:lnTo>
                    <a:pt x="178" y="196"/>
                  </a:lnTo>
                  <a:lnTo>
                    <a:pt x="172" y="198"/>
                  </a:lnTo>
                  <a:lnTo>
                    <a:pt x="165" y="199"/>
                  </a:lnTo>
                  <a:lnTo>
                    <a:pt x="165" y="199"/>
                  </a:lnTo>
                  <a:close/>
                  <a:moveTo>
                    <a:pt x="65" y="133"/>
                  </a:moveTo>
                  <a:lnTo>
                    <a:pt x="131" y="133"/>
                  </a:lnTo>
                  <a:lnTo>
                    <a:pt x="131" y="67"/>
                  </a:lnTo>
                  <a:lnTo>
                    <a:pt x="65" y="67"/>
                  </a:lnTo>
                  <a:lnTo>
                    <a:pt x="65"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4" name="Freeform 149">
              <a:extLst>
                <a:ext uri="{FF2B5EF4-FFF2-40B4-BE49-F238E27FC236}">
                  <a16:creationId xmlns:a16="http://schemas.microsoft.com/office/drawing/2014/main" id="{9F7A7739-FD4A-808E-C711-586B08A7C9D4}"/>
                </a:ext>
              </a:extLst>
            </p:cNvPr>
            <p:cNvSpPr>
              <a:spLocks noEditPoints="1"/>
            </p:cNvSpPr>
            <p:nvPr/>
          </p:nvSpPr>
          <p:spPr bwMode="auto">
            <a:xfrm>
              <a:off x="7145338" y="2740026"/>
              <a:ext cx="60325" cy="44450"/>
            </a:xfrm>
            <a:custGeom>
              <a:avLst/>
              <a:gdLst>
                <a:gd name="T0" fmla="*/ 232 w 265"/>
                <a:gd name="T1" fmla="*/ 199 h 199"/>
                <a:gd name="T2" fmla="*/ 33 w 265"/>
                <a:gd name="T3" fmla="*/ 199 h 199"/>
                <a:gd name="T4" fmla="*/ 33 w 265"/>
                <a:gd name="T5" fmla="*/ 199 h 199"/>
                <a:gd name="T6" fmla="*/ 27 w 265"/>
                <a:gd name="T7" fmla="*/ 198 h 199"/>
                <a:gd name="T8" fmla="*/ 21 w 265"/>
                <a:gd name="T9" fmla="*/ 196 h 199"/>
                <a:gd name="T10" fmla="*/ 14 w 265"/>
                <a:gd name="T11" fmla="*/ 193 h 199"/>
                <a:gd name="T12" fmla="*/ 10 w 265"/>
                <a:gd name="T13" fmla="*/ 189 h 199"/>
                <a:gd name="T14" fmla="*/ 6 w 265"/>
                <a:gd name="T15" fmla="*/ 185 h 199"/>
                <a:gd name="T16" fmla="*/ 3 w 265"/>
                <a:gd name="T17" fmla="*/ 178 h 199"/>
                <a:gd name="T18" fmla="*/ 1 w 265"/>
                <a:gd name="T19" fmla="*/ 172 h 199"/>
                <a:gd name="T20" fmla="*/ 0 w 265"/>
                <a:gd name="T21" fmla="*/ 166 h 199"/>
                <a:gd name="T22" fmla="*/ 0 w 265"/>
                <a:gd name="T23" fmla="*/ 33 h 199"/>
                <a:gd name="T24" fmla="*/ 0 w 265"/>
                <a:gd name="T25" fmla="*/ 33 h 199"/>
                <a:gd name="T26" fmla="*/ 1 w 265"/>
                <a:gd name="T27" fmla="*/ 26 h 199"/>
                <a:gd name="T28" fmla="*/ 3 w 265"/>
                <a:gd name="T29" fmla="*/ 20 h 199"/>
                <a:gd name="T30" fmla="*/ 6 w 265"/>
                <a:gd name="T31" fmla="*/ 15 h 199"/>
                <a:gd name="T32" fmla="*/ 10 w 265"/>
                <a:gd name="T33" fmla="*/ 10 h 199"/>
                <a:gd name="T34" fmla="*/ 14 w 265"/>
                <a:gd name="T35" fmla="*/ 6 h 199"/>
                <a:gd name="T36" fmla="*/ 21 w 265"/>
                <a:gd name="T37" fmla="*/ 2 h 199"/>
                <a:gd name="T38" fmla="*/ 27 w 265"/>
                <a:gd name="T39" fmla="*/ 1 h 199"/>
                <a:gd name="T40" fmla="*/ 33 w 265"/>
                <a:gd name="T41" fmla="*/ 0 h 199"/>
                <a:gd name="T42" fmla="*/ 232 w 265"/>
                <a:gd name="T43" fmla="*/ 0 h 199"/>
                <a:gd name="T44" fmla="*/ 232 w 265"/>
                <a:gd name="T45" fmla="*/ 0 h 199"/>
                <a:gd name="T46" fmla="*/ 238 w 265"/>
                <a:gd name="T47" fmla="*/ 1 h 199"/>
                <a:gd name="T48" fmla="*/ 244 w 265"/>
                <a:gd name="T49" fmla="*/ 2 h 199"/>
                <a:gd name="T50" fmla="*/ 250 w 265"/>
                <a:gd name="T51" fmla="*/ 6 h 199"/>
                <a:gd name="T52" fmla="*/ 255 w 265"/>
                <a:gd name="T53" fmla="*/ 10 h 199"/>
                <a:gd name="T54" fmla="*/ 259 w 265"/>
                <a:gd name="T55" fmla="*/ 15 h 199"/>
                <a:gd name="T56" fmla="*/ 262 w 265"/>
                <a:gd name="T57" fmla="*/ 20 h 199"/>
                <a:gd name="T58" fmla="*/ 264 w 265"/>
                <a:gd name="T59" fmla="*/ 26 h 199"/>
                <a:gd name="T60" fmla="*/ 265 w 265"/>
                <a:gd name="T61" fmla="*/ 33 h 199"/>
                <a:gd name="T62" fmla="*/ 265 w 265"/>
                <a:gd name="T63" fmla="*/ 166 h 199"/>
                <a:gd name="T64" fmla="*/ 265 w 265"/>
                <a:gd name="T65" fmla="*/ 166 h 199"/>
                <a:gd name="T66" fmla="*/ 264 w 265"/>
                <a:gd name="T67" fmla="*/ 172 h 199"/>
                <a:gd name="T68" fmla="*/ 262 w 265"/>
                <a:gd name="T69" fmla="*/ 178 h 199"/>
                <a:gd name="T70" fmla="*/ 259 w 265"/>
                <a:gd name="T71" fmla="*/ 185 h 199"/>
                <a:gd name="T72" fmla="*/ 255 w 265"/>
                <a:gd name="T73" fmla="*/ 189 h 199"/>
                <a:gd name="T74" fmla="*/ 250 w 265"/>
                <a:gd name="T75" fmla="*/ 193 h 199"/>
                <a:gd name="T76" fmla="*/ 244 w 265"/>
                <a:gd name="T77" fmla="*/ 196 h 199"/>
                <a:gd name="T78" fmla="*/ 238 w 265"/>
                <a:gd name="T79" fmla="*/ 198 h 199"/>
                <a:gd name="T80" fmla="*/ 232 w 265"/>
                <a:gd name="T81" fmla="*/ 199 h 199"/>
                <a:gd name="T82" fmla="*/ 232 w 265"/>
                <a:gd name="T83" fmla="*/ 199 h 199"/>
                <a:gd name="T84" fmla="*/ 66 w 265"/>
                <a:gd name="T85" fmla="*/ 133 h 199"/>
                <a:gd name="T86" fmla="*/ 199 w 265"/>
                <a:gd name="T87" fmla="*/ 133 h 199"/>
                <a:gd name="T88" fmla="*/ 199 w 265"/>
                <a:gd name="T89" fmla="*/ 67 h 199"/>
                <a:gd name="T90" fmla="*/ 66 w 265"/>
                <a:gd name="T91" fmla="*/ 67 h 199"/>
                <a:gd name="T92" fmla="*/ 66 w 265"/>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199">
                  <a:moveTo>
                    <a:pt x="232" y="199"/>
                  </a:moveTo>
                  <a:lnTo>
                    <a:pt x="33" y="199"/>
                  </a:lnTo>
                  <a:lnTo>
                    <a:pt x="33" y="199"/>
                  </a:lnTo>
                  <a:lnTo>
                    <a:pt x="27" y="198"/>
                  </a:lnTo>
                  <a:lnTo>
                    <a:pt x="21" y="196"/>
                  </a:lnTo>
                  <a:lnTo>
                    <a:pt x="14" y="193"/>
                  </a:lnTo>
                  <a:lnTo>
                    <a:pt x="10" y="189"/>
                  </a:lnTo>
                  <a:lnTo>
                    <a:pt x="6" y="185"/>
                  </a:lnTo>
                  <a:lnTo>
                    <a:pt x="3" y="178"/>
                  </a:lnTo>
                  <a:lnTo>
                    <a:pt x="1" y="172"/>
                  </a:lnTo>
                  <a:lnTo>
                    <a:pt x="0" y="166"/>
                  </a:lnTo>
                  <a:lnTo>
                    <a:pt x="0" y="33"/>
                  </a:lnTo>
                  <a:lnTo>
                    <a:pt x="0" y="33"/>
                  </a:lnTo>
                  <a:lnTo>
                    <a:pt x="1" y="26"/>
                  </a:lnTo>
                  <a:lnTo>
                    <a:pt x="3" y="20"/>
                  </a:lnTo>
                  <a:lnTo>
                    <a:pt x="6" y="15"/>
                  </a:lnTo>
                  <a:lnTo>
                    <a:pt x="10" y="10"/>
                  </a:lnTo>
                  <a:lnTo>
                    <a:pt x="14" y="6"/>
                  </a:lnTo>
                  <a:lnTo>
                    <a:pt x="21" y="2"/>
                  </a:lnTo>
                  <a:lnTo>
                    <a:pt x="27" y="1"/>
                  </a:lnTo>
                  <a:lnTo>
                    <a:pt x="33" y="0"/>
                  </a:lnTo>
                  <a:lnTo>
                    <a:pt x="232" y="0"/>
                  </a:lnTo>
                  <a:lnTo>
                    <a:pt x="232" y="0"/>
                  </a:lnTo>
                  <a:lnTo>
                    <a:pt x="238" y="1"/>
                  </a:lnTo>
                  <a:lnTo>
                    <a:pt x="244" y="2"/>
                  </a:lnTo>
                  <a:lnTo>
                    <a:pt x="250" y="6"/>
                  </a:lnTo>
                  <a:lnTo>
                    <a:pt x="255" y="10"/>
                  </a:lnTo>
                  <a:lnTo>
                    <a:pt x="259" y="15"/>
                  </a:lnTo>
                  <a:lnTo>
                    <a:pt x="262" y="20"/>
                  </a:lnTo>
                  <a:lnTo>
                    <a:pt x="264" y="26"/>
                  </a:lnTo>
                  <a:lnTo>
                    <a:pt x="265" y="33"/>
                  </a:lnTo>
                  <a:lnTo>
                    <a:pt x="265" y="166"/>
                  </a:lnTo>
                  <a:lnTo>
                    <a:pt x="265" y="166"/>
                  </a:lnTo>
                  <a:lnTo>
                    <a:pt x="264" y="172"/>
                  </a:lnTo>
                  <a:lnTo>
                    <a:pt x="262" y="178"/>
                  </a:lnTo>
                  <a:lnTo>
                    <a:pt x="259" y="185"/>
                  </a:lnTo>
                  <a:lnTo>
                    <a:pt x="255" y="189"/>
                  </a:lnTo>
                  <a:lnTo>
                    <a:pt x="250" y="193"/>
                  </a:lnTo>
                  <a:lnTo>
                    <a:pt x="244" y="196"/>
                  </a:lnTo>
                  <a:lnTo>
                    <a:pt x="238" y="198"/>
                  </a:lnTo>
                  <a:lnTo>
                    <a:pt x="232" y="199"/>
                  </a:lnTo>
                  <a:lnTo>
                    <a:pt x="232" y="199"/>
                  </a:lnTo>
                  <a:close/>
                  <a:moveTo>
                    <a:pt x="66" y="133"/>
                  </a:moveTo>
                  <a:lnTo>
                    <a:pt x="199" y="133"/>
                  </a:lnTo>
                  <a:lnTo>
                    <a:pt x="199" y="67"/>
                  </a:lnTo>
                  <a:lnTo>
                    <a:pt x="66" y="67"/>
                  </a:lnTo>
                  <a:lnTo>
                    <a:pt x="6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7" name="Freeform 150">
              <a:extLst>
                <a:ext uri="{FF2B5EF4-FFF2-40B4-BE49-F238E27FC236}">
                  <a16:creationId xmlns:a16="http://schemas.microsoft.com/office/drawing/2014/main" id="{B007361B-E995-EBEB-3856-FFA312917941}"/>
                </a:ext>
              </a:extLst>
            </p:cNvPr>
            <p:cNvSpPr>
              <a:spLocks noEditPoints="1"/>
            </p:cNvSpPr>
            <p:nvPr/>
          </p:nvSpPr>
          <p:spPr bwMode="auto">
            <a:xfrm>
              <a:off x="7221538" y="2740026"/>
              <a:ext cx="44450" cy="44450"/>
            </a:xfrm>
            <a:custGeom>
              <a:avLst/>
              <a:gdLst>
                <a:gd name="T0" fmla="*/ 165 w 198"/>
                <a:gd name="T1" fmla="*/ 199 h 199"/>
                <a:gd name="T2" fmla="*/ 33 w 198"/>
                <a:gd name="T3" fmla="*/ 199 h 199"/>
                <a:gd name="T4" fmla="*/ 33 w 198"/>
                <a:gd name="T5" fmla="*/ 199 h 199"/>
                <a:gd name="T6" fmla="*/ 26 w 198"/>
                <a:gd name="T7" fmla="*/ 198 h 199"/>
                <a:gd name="T8" fmla="*/ 20 w 198"/>
                <a:gd name="T9" fmla="*/ 196 h 199"/>
                <a:gd name="T10" fmla="*/ 15 w 198"/>
                <a:gd name="T11" fmla="*/ 193 h 199"/>
                <a:gd name="T12" fmla="*/ 9 w 198"/>
                <a:gd name="T13" fmla="*/ 189 h 199"/>
                <a:gd name="T14" fmla="*/ 5 w 198"/>
                <a:gd name="T15" fmla="*/ 185 h 199"/>
                <a:gd name="T16" fmla="*/ 2 w 198"/>
                <a:gd name="T17" fmla="*/ 178 h 199"/>
                <a:gd name="T18" fmla="*/ 0 w 198"/>
                <a:gd name="T19" fmla="*/ 172 h 199"/>
                <a:gd name="T20" fmla="*/ 0 w 198"/>
                <a:gd name="T21" fmla="*/ 166 h 199"/>
                <a:gd name="T22" fmla="*/ 0 w 198"/>
                <a:gd name="T23" fmla="*/ 33 h 199"/>
                <a:gd name="T24" fmla="*/ 0 w 198"/>
                <a:gd name="T25" fmla="*/ 33 h 199"/>
                <a:gd name="T26" fmla="*/ 0 w 198"/>
                <a:gd name="T27" fmla="*/ 26 h 199"/>
                <a:gd name="T28" fmla="*/ 2 w 198"/>
                <a:gd name="T29" fmla="*/ 20 h 199"/>
                <a:gd name="T30" fmla="*/ 5 w 198"/>
                <a:gd name="T31" fmla="*/ 15 h 199"/>
                <a:gd name="T32" fmla="*/ 9 w 198"/>
                <a:gd name="T33" fmla="*/ 10 h 199"/>
                <a:gd name="T34" fmla="*/ 15 w 198"/>
                <a:gd name="T35" fmla="*/ 6 h 199"/>
                <a:gd name="T36" fmla="*/ 20 w 198"/>
                <a:gd name="T37" fmla="*/ 2 h 199"/>
                <a:gd name="T38" fmla="*/ 26 w 198"/>
                <a:gd name="T39" fmla="*/ 1 h 199"/>
                <a:gd name="T40" fmla="*/ 33 w 198"/>
                <a:gd name="T41" fmla="*/ 0 h 199"/>
                <a:gd name="T42" fmla="*/ 165 w 198"/>
                <a:gd name="T43" fmla="*/ 0 h 199"/>
                <a:gd name="T44" fmla="*/ 165 w 198"/>
                <a:gd name="T45" fmla="*/ 0 h 199"/>
                <a:gd name="T46" fmla="*/ 172 w 198"/>
                <a:gd name="T47" fmla="*/ 1 h 199"/>
                <a:gd name="T48" fmla="*/ 178 w 198"/>
                <a:gd name="T49" fmla="*/ 2 h 199"/>
                <a:gd name="T50" fmla="*/ 183 w 198"/>
                <a:gd name="T51" fmla="*/ 6 h 199"/>
                <a:gd name="T52" fmla="*/ 188 w 198"/>
                <a:gd name="T53" fmla="*/ 10 h 199"/>
                <a:gd name="T54" fmla="*/ 193 w 198"/>
                <a:gd name="T55" fmla="*/ 15 h 199"/>
                <a:gd name="T56" fmla="*/ 196 w 198"/>
                <a:gd name="T57" fmla="*/ 20 h 199"/>
                <a:gd name="T58" fmla="*/ 198 w 198"/>
                <a:gd name="T59" fmla="*/ 26 h 199"/>
                <a:gd name="T60" fmla="*/ 198 w 198"/>
                <a:gd name="T61" fmla="*/ 33 h 199"/>
                <a:gd name="T62" fmla="*/ 198 w 198"/>
                <a:gd name="T63" fmla="*/ 166 h 199"/>
                <a:gd name="T64" fmla="*/ 198 w 198"/>
                <a:gd name="T65" fmla="*/ 166 h 199"/>
                <a:gd name="T66" fmla="*/ 198 w 198"/>
                <a:gd name="T67" fmla="*/ 172 h 199"/>
                <a:gd name="T68" fmla="*/ 196 w 198"/>
                <a:gd name="T69" fmla="*/ 178 h 199"/>
                <a:gd name="T70" fmla="*/ 193 w 198"/>
                <a:gd name="T71" fmla="*/ 185 h 199"/>
                <a:gd name="T72" fmla="*/ 188 w 198"/>
                <a:gd name="T73" fmla="*/ 189 h 199"/>
                <a:gd name="T74" fmla="*/ 183 w 198"/>
                <a:gd name="T75" fmla="*/ 193 h 199"/>
                <a:gd name="T76" fmla="*/ 178 w 198"/>
                <a:gd name="T77" fmla="*/ 196 h 199"/>
                <a:gd name="T78" fmla="*/ 172 w 198"/>
                <a:gd name="T79" fmla="*/ 198 h 199"/>
                <a:gd name="T80" fmla="*/ 165 w 198"/>
                <a:gd name="T81" fmla="*/ 199 h 199"/>
                <a:gd name="T82" fmla="*/ 165 w 198"/>
                <a:gd name="T83" fmla="*/ 199 h 199"/>
                <a:gd name="T84" fmla="*/ 66 w 198"/>
                <a:gd name="T85" fmla="*/ 133 h 199"/>
                <a:gd name="T86" fmla="*/ 133 w 198"/>
                <a:gd name="T87" fmla="*/ 133 h 199"/>
                <a:gd name="T88" fmla="*/ 133 w 198"/>
                <a:gd name="T89" fmla="*/ 67 h 199"/>
                <a:gd name="T90" fmla="*/ 66 w 198"/>
                <a:gd name="T91" fmla="*/ 67 h 199"/>
                <a:gd name="T92" fmla="*/ 66 w 198"/>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99">
                  <a:moveTo>
                    <a:pt x="165" y="199"/>
                  </a:moveTo>
                  <a:lnTo>
                    <a:pt x="33" y="199"/>
                  </a:lnTo>
                  <a:lnTo>
                    <a:pt x="33" y="199"/>
                  </a:lnTo>
                  <a:lnTo>
                    <a:pt x="26" y="198"/>
                  </a:lnTo>
                  <a:lnTo>
                    <a:pt x="20" y="196"/>
                  </a:lnTo>
                  <a:lnTo>
                    <a:pt x="15" y="193"/>
                  </a:lnTo>
                  <a:lnTo>
                    <a:pt x="9" y="189"/>
                  </a:lnTo>
                  <a:lnTo>
                    <a:pt x="5" y="185"/>
                  </a:lnTo>
                  <a:lnTo>
                    <a:pt x="2" y="178"/>
                  </a:lnTo>
                  <a:lnTo>
                    <a:pt x="0" y="172"/>
                  </a:lnTo>
                  <a:lnTo>
                    <a:pt x="0" y="166"/>
                  </a:lnTo>
                  <a:lnTo>
                    <a:pt x="0" y="33"/>
                  </a:lnTo>
                  <a:lnTo>
                    <a:pt x="0" y="33"/>
                  </a:lnTo>
                  <a:lnTo>
                    <a:pt x="0" y="26"/>
                  </a:lnTo>
                  <a:lnTo>
                    <a:pt x="2" y="20"/>
                  </a:lnTo>
                  <a:lnTo>
                    <a:pt x="5" y="15"/>
                  </a:lnTo>
                  <a:lnTo>
                    <a:pt x="9" y="10"/>
                  </a:lnTo>
                  <a:lnTo>
                    <a:pt x="15" y="6"/>
                  </a:lnTo>
                  <a:lnTo>
                    <a:pt x="20" y="2"/>
                  </a:lnTo>
                  <a:lnTo>
                    <a:pt x="26" y="1"/>
                  </a:lnTo>
                  <a:lnTo>
                    <a:pt x="33" y="0"/>
                  </a:lnTo>
                  <a:lnTo>
                    <a:pt x="165" y="0"/>
                  </a:lnTo>
                  <a:lnTo>
                    <a:pt x="165" y="0"/>
                  </a:lnTo>
                  <a:lnTo>
                    <a:pt x="172" y="1"/>
                  </a:lnTo>
                  <a:lnTo>
                    <a:pt x="178" y="2"/>
                  </a:lnTo>
                  <a:lnTo>
                    <a:pt x="183" y="6"/>
                  </a:lnTo>
                  <a:lnTo>
                    <a:pt x="188" y="10"/>
                  </a:lnTo>
                  <a:lnTo>
                    <a:pt x="193" y="15"/>
                  </a:lnTo>
                  <a:lnTo>
                    <a:pt x="196" y="20"/>
                  </a:lnTo>
                  <a:lnTo>
                    <a:pt x="198" y="26"/>
                  </a:lnTo>
                  <a:lnTo>
                    <a:pt x="198" y="33"/>
                  </a:lnTo>
                  <a:lnTo>
                    <a:pt x="198" y="166"/>
                  </a:lnTo>
                  <a:lnTo>
                    <a:pt x="198" y="166"/>
                  </a:lnTo>
                  <a:lnTo>
                    <a:pt x="198" y="172"/>
                  </a:lnTo>
                  <a:lnTo>
                    <a:pt x="196" y="178"/>
                  </a:lnTo>
                  <a:lnTo>
                    <a:pt x="193" y="185"/>
                  </a:lnTo>
                  <a:lnTo>
                    <a:pt x="188" y="189"/>
                  </a:lnTo>
                  <a:lnTo>
                    <a:pt x="183" y="193"/>
                  </a:lnTo>
                  <a:lnTo>
                    <a:pt x="178" y="196"/>
                  </a:lnTo>
                  <a:lnTo>
                    <a:pt x="172" y="198"/>
                  </a:lnTo>
                  <a:lnTo>
                    <a:pt x="165" y="199"/>
                  </a:lnTo>
                  <a:lnTo>
                    <a:pt x="165" y="199"/>
                  </a:lnTo>
                  <a:close/>
                  <a:moveTo>
                    <a:pt x="66" y="133"/>
                  </a:moveTo>
                  <a:lnTo>
                    <a:pt x="133" y="133"/>
                  </a:lnTo>
                  <a:lnTo>
                    <a:pt x="133" y="67"/>
                  </a:lnTo>
                  <a:lnTo>
                    <a:pt x="66" y="67"/>
                  </a:lnTo>
                  <a:lnTo>
                    <a:pt x="6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0" name="Freeform 151">
              <a:extLst>
                <a:ext uri="{FF2B5EF4-FFF2-40B4-BE49-F238E27FC236}">
                  <a16:creationId xmlns:a16="http://schemas.microsoft.com/office/drawing/2014/main" id="{328A0B5F-17BB-401E-45C1-FD16E1197A82}"/>
                </a:ext>
              </a:extLst>
            </p:cNvPr>
            <p:cNvSpPr>
              <a:spLocks noEditPoints="1"/>
            </p:cNvSpPr>
            <p:nvPr/>
          </p:nvSpPr>
          <p:spPr bwMode="auto">
            <a:xfrm>
              <a:off x="7086600" y="2798764"/>
              <a:ext cx="44450" cy="46038"/>
            </a:xfrm>
            <a:custGeom>
              <a:avLst/>
              <a:gdLst>
                <a:gd name="T0" fmla="*/ 165 w 198"/>
                <a:gd name="T1" fmla="*/ 199 h 199"/>
                <a:gd name="T2" fmla="*/ 33 w 198"/>
                <a:gd name="T3" fmla="*/ 199 h 199"/>
                <a:gd name="T4" fmla="*/ 33 w 198"/>
                <a:gd name="T5" fmla="*/ 199 h 199"/>
                <a:gd name="T6" fmla="*/ 26 w 198"/>
                <a:gd name="T7" fmla="*/ 199 h 199"/>
                <a:gd name="T8" fmla="*/ 20 w 198"/>
                <a:gd name="T9" fmla="*/ 197 h 199"/>
                <a:gd name="T10" fmla="*/ 15 w 198"/>
                <a:gd name="T11" fmla="*/ 194 h 199"/>
                <a:gd name="T12" fmla="*/ 9 w 198"/>
                <a:gd name="T13" fmla="*/ 190 h 199"/>
                <a:gd name="T14" fmla="*/ 5 w 198"/>
                <a:gd name="T15" fmla="*/ 185 h 199"/>
                <a:gd name="T16" fmla="*/ 2 w 198"/>
                <a:gd name="T17" fmla="*/ 179 h 199"/>
                <a:gd name="T18" fmla="*/ 0 w 198"/>
                <a:gd name="T19" fmla="*/ 173 h 199"/>
                <a:gd name="T20" fmla="*/ 0 w 198"/>
                <a:gd name="T21" fmla="*/ 166 h 199"/>
                <a:gd name="T22" fmla="*/ 0 w 198"/>
                <a:gd name="T23" fmla="*/ 33 h 199"/>
                <a:gd name="T24" fmla="*/ 0 w 198"/>
                <a:gd name="T25" fmla="*/ 33 h 199"/>
                <a:gd name="T26" fmla="*/ 0 w 198"/>
                <a:gd name="T27" fmla="*/ 27 h 199"/>
                <a:gd name="T28" fmla="*/ 2 w 198"/>
                <a:gd name="T29" fmla="*/ 21 h 199"/>
                <a:gd name="T30" fmla="*/ 5 w 198"/>
                <a:gd name="T31" fmla="*/ 16 h 199"/>
                <a:gd name="T32" fmla="*/ 9 w 198"/>
                <a:gd name="T33" fmla="*/ 11 h 199"/>
                <a:gd name="T34" fmla="*/ 15 w 198"/>
                <a:gd name="T35" fmla="*/ 7 h 199"/>
                <a:gd name="T36" fmla="*/ 20 w 198"/>
                <a:gd name="T37" fmla="*/ 3 h 199"/>
                <a:gd name="T38" fmla="*/ 26 w 198"/>
                <a:gd name="T39" fmla="*/ 1 h 199"/>
                <a:gd name="T40" fmla="*/ 33 w 198"/>
                <a:gd name="T41" fmla="*/ 0 h 199"/>
                <a:gd name="T42" fmla="*/ 165 w 198"/>
                <a:gd name="T43" fmla="*/ 0 h 199"/>
                <a:gd name="T44" fmla="*/ 165 w 198"/>
                <a:gd name="T45" fmla="*/ 0 h 199"/>
                <a:gd name="T46" fmla="*/ 172 w 198"/>
                <a:gd name="T47" fmla="*/ 1 h 199"/>
                <a:gd name="T48" fmla="*/ 178 w 198"/>
                <a:gd name="T49" fmla="*/ 3 h 199"/>
                <a:gd name="T50" fmla="*/ 183 w 198"/>
                <a:gd name="T51" fmla="*/ 7 h 199"/>
                <a:gd name="T52" fmla="*/ 188 w 198"/>
                <a:gd name="T53" fmla="*/ 11 h 199"/>
                <a:gd name="T54" fmla="*/ 193 w 198"/>
                <a:gd name="T55" fmla="*/ 16 h 199"/>
                <a:gd name="T56" fmla="*/ 196 w 198"/>
                <a:gd name="T57" fmla="*/ 21 h 199"/>
                <a:gd name="T58" fmla="*/ 198 w 198"/>
                <a:gd name="T59" fmla="*/ 27 h 199"/>
                <a:gd name="T60" fmla="*/ 198 w 198"/>
                <a:gd name="T61" fmla="*/ 33 h 199"/>
                <a:gd name="T62" fmla="*/ 198 w 198"/>
                <a:gd name="T63" fmla="*/ 166 h 199"/>
                <a:gd name="T64" fmla="*/ 198 w 198"/>
                <a:gd name="T65" fmla="*/ 166 h 199"/>
                <a:gd name="T66" fmla="*/ 198 w 198"/>
                <a:gd name="T67" fmla="*/ 173 h 199"/>
                <a:gd name="T68" fmla="*/ 196 w 198"/>
                <a:gd name="T69" fmla="*/ 179 h 199"/>
                <a:gd name="T70" fmla="*/ 193 w 198"/>
                <a:gd name="T71" fmla="*/ 185 h 199"/>
                <a:gd name="T72" fmla="*/ 188 w 198"/>
                <a:gd name="T73" fmla="*/ 190 h 199"/>
                <a:gd name="T74" fmla="*/ 183 w 198"/>
                <a:gd name="T75" fmla="*/ 194 h 199"/>
                <a:gd name="T76" fmla="*/ 178 w 198"/>
                <a:gd name="T77" fmla="*/ 197 h 199"/>
                <a:gd name="T78" fmla="*/ 172 w 198"/>
                <a:gd name="T79" fmla="*/ 199 h 199"/>
                <a:gd name="T80" fmla="*/ 165 w 198"/>
                <a:gd name="T81" fmla="*/ 199 h 199"/>
                <a:gd name="T82" fmla="*/ 165 w 198"/>
                <a:gd name="T83" fmla="*/ 199 h 199"/>
                <a:gd name="T84" fmla="*/ 65 w 198"/>
                <a:gd name="T85" fmla="*/ 133 h 199"/>
                <a:gd name="T86" fmla="*/ 131 w 198"/>
                <a:gd name="T87" fmla="*/ 133 h 199"/>
                <a:gd name="T88" fmla="*/ 131 w 198"/>
                <a:gd name="T89" fmla="*/ 67 h 199"/>
                <a:gd name="T90" fmla="*/ 65 w 198"/>
                <a:gd name="T91" fmla="*/ 67 h 199"/>
                <a:gd name="T92" fmla="*/ 65 w 198"/>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99">
                  <a:moveTo>
                    <a:pt x="165" y="199"/>
                  </a:moveTo>
                  <a:lnTo>
                    <a:pt x="33" y="199"/>
                  </a:lnTo>
                  <a:lnTo>
                    <a:pt x="33" y="199"/>
                  </a:lnTo>
                  <a:lnTo>
                    <a:pt x="26" y="199"/>
                  </a:lnTo>
                  <a:lnTo>
                    <a:pt x="20" y="197"/>
                  </a:lnTo>
                  <a:lnTo>
                    <a:pt x="15" y="194"/>
                  </a:lnTo>
                  <a:lnTo>
                    <a:pt x="9" y="190"/>
                  </a:lnTo>
                  <a:lnTo>
                    <a:pt x="5" y="185"/>
                  </a:lnTo>
                  <a:lnTo>
                    <a:pt x="2" y="179"/>
                  </a:lnTo>
                  <a:lnTo>
                    <a:pt x="0" y="173"/>
                  </a:lnTo>
                  <a:lnTo>
                    <a:pt x="0" y="166"/>
                  </a:lnTo>
                  <a:lnTo>
                    <a:pt x="0" y="33"/>
                  </a:lnTo>
                  <a:lnTo>
                    <a:pt x="0" y="33"/>
                  </a:lnTo>
                  <a:lnTo>
                    <a:pt x="0" y="27"/>
                  </a:lnTo>
                  <a:lnTo>
                    <a:pt x="2" y="21"/>
                  </a:lnTo>
                  <a:lnTo>
                    <a:pt x="5" y="16"/>
                  </a:lnTo>
                  <a:lnTo>
                    <a:pt x="9" y="11"/>
                  </a:lnTo>
                  <a:lnTo>
                    <a:pt x="15" y="7"/>
                  </a:lnTo>
                  <a:lnTo>
                    <a:pt x="20" y="3"/>
                  </a:lnTo>
                  <a:lnTo>
                    <a:pt x="26" y="1"/>
                  </a:lnTo>
                  <a:lnTo>
                    <a:pt x="33" y="0"/>
                  </a:lnTo>
                  <a:lnTo>
                    <a:pt x="165" y="0"/>
                  </a:lnTo>
                  <a:lnTo>
                    <a:pt x="165" y="0"/>
                  </a:lnTo>
                  <a:lnTo>
                    <a:pt x="172" y="1"/>
                  </a:lnTo>
                  <a:lnTo>
                    <a:pt x="178" y="3"/>
                  </a:lnTo>
                  <a:lnTo>
                    <a:pt x="183" y="7"/>
                  </a:lnTo>
                  <a:lnTo>
                    <a:pt x="188" y="11"/>
                  </a:lnTo>
                  <a:lnTo>
                    <a:pt x="193" y="16"/>
                  </a:lnTo>
                  <a:lnTo>
                    <a:pt x="196" y="21"/>
                  </a:lnTo>
                  <a:lnTo>
                    <a:pt x="198" y="27"/>
                  </a:lnTo>
                  <a:lnTo>
                    <a:pt x="198" y="33"/>
                  </a:lnTo>
                  <a:lnTo>
                    <a:pt x="198" y="166"/>
                  </a:lnTo>
                  <a:lnTo>
                    <a:pt x="198" y="166"/>
                  </a:lnTo>
                  <a:lnTo>
                    <a:pt x="198" y="173"/>
                  </a:lnTo>
                  <a:lnTo>
                    <a:pt x="196" y="179"/>
                  </a:lnTo>
                  <a:lnTo>
                    <a:pt x="193" y="185"/>
                  </a:lnTo>
                  <a:lnTo>
                    <a:pt x="188" y="190"/>
                  </a:lnTo>
                  <a:lnTo>
                    <a:pt x="183" y="194"/>
                  </a:lnTo>
                  <a:lnTo>
                    <a:pt x="178" y="197"/>
                  </a:lnTo>
                  <a:lnTo>
                    <a:pt x="172" y="199"/>
                  </a:lnTo>
                  <a:lnTo>
                    <a:pt x="165" y="199"/>
                  </a:lnTo>
                  <a:lnTo>
                    <a:pt x="165" y="199"/>
                  </a:lnTo>
                  <a:close/>
                  <a:moveTo>
                    <a:pt x="65" y="133"/>
                  </a:moveTo>
                  <a:lnTo>
                    <a:pt x="131" y="133"/>
                  </a:lnTo>
                  <a:lnTo>
                    <a:pt x="131" y="67"/>
                  </a:lnTo>
                  <a:lnTo>
                    <a:pt x="65" y="67"/>
                  </a:lnTo>
                  <a:lnTo>
                    <a:pt x="65"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3" name="Freeform 152">
              <a:extLst>
                <a:ext uri="{FF2B5EF4-FFF2-40B4-BE49-F238E27FC236}">
                  <a16:creationId xmlns:a16="http://schemas.microsoft.com/office/drawing/2014/main" id="{51D1290A-A858-55DB-B749-BA53BDD58B47}"/>
                </a:ext>
              </a:extLst>
            </p:cNvPr>
            <p:cNvSpPr>
              <a:spLocks noEditPoints="1"/>
            </p:cNvSpPr>
            <p:nvPr/>
          </p:nvSpPr>
          <p:spPr bwMode="auto">
            <a:xfrm>
              <a:off x="7221538" y="2798764"/>
              <a:ext cx="44450" cy="46038"/>
            </a:xfrm>
            <a:custGeom>
              <a:avLst/>
              <a:gdLst>
                <a:gd name="T0" fmla="*/ 165 w 198"/>
                <a:gd name="T1" fmla="*/ 199 h 199"/>
                <a:gd name="T2" fmla="*/ 33 w 198"/>
                <a:gd name="T3" fmla="*/ 199 h 199"/>
                <a:gd name="T4" fmla="*/ 33 w 198"/>
                <a:gd name="T5" fmla="*/ 199 h 199"/>
                <a:gd name="T6" fmla="*/ 26 w 198"/>
                <a:gd name="T7" fmla="*/ 199 h 199"/>
                <a:gd name="T8" fmla="*/ 20 w 198"/>
                <a:gd name="T9" fmla="*/ 197 h 199"/>
                <a:gd name="T10" fmla="*/ 15 w 198"/>
                <a:gd name="T11" fmla="*/ 194 h 199"/>
                <a:gd name="T12" fmla="*/ 9 w 198"/>
                <a:gd name="T13" fmla="*/ 190 h 199"/>
                <a:gd name="T14" fmla="*/ 5 w 198"/>
                <a:gd name="T15" fmla="*/ 185 h 199"/>
                <a:gd name="T16" fmla="*/ 2 w 198"/>
                <a:gd name="T17" fmla="*/ 179 h 199"/>
                <a:gd name="T18" fmla="*/ 0 w 198"/>
                <a:gd name="T19" fmla="*/ 173 h 199"/>
                <a:gd name="T20" fmla="*/ 0 w 198"/>
                <a:gd name="T21" fmla="*/ 166 h 199"/>
                <a:gd name="T22" fmla="*/ 0 w 198"/>
                <a:gd name="T23" fmla="*/ 33 h 199"/>
                <a:gd name="T24" fmla="*/ 0 w 198"/>
                <a:gd name="T25" fmla="*/ 33 h 199"/>
                <a:gd name="T26" fmla="*/ 0 w 198"/>
                <a:gd name="T27" fmla="*/ 27 h 199"/>
                <a:gd name="T28" fmla="*/ 2 w 198"/>
                <a:gd name="T29" fmla="*/ 21 h 199"/>
                <a:gd name="T30" fmla="*/ 5 w 198"/>
                <a:gd name="T31" fmla="*/ 16 h 199"/>
                <a:gd name="T32" fmla="*/ 9 w 198"/>
                <a:gd name="T33" fmla="*/ 11 h 199"/>
                <a:gd name="T34" fmla="*/ 15 w 198"/>
                <a:gd name="T35" fmla="*/ 7 h 199"/>
                <a:gd name="T36" fmla="*/ 20 w 198"/>
                <a:gd name="T37" fmla="*/ 3 h 199"/>
                <a:gd name="T38" fmla="*/ 26 w 198"/>
                <a:gd name="T39" fmla="*/ 1 h 199"/>
                <a:gd name="T40" fmla="*/ 33 w 198"/>
                <a:gd name="T41" fmla="*/ 0 h 199"/>
                <a:gd name="T42" fmla="*/ 165 w 198"/>
                <a:gd name="T43" fmla="*/ 0 h 199"/>
                <a:gd name="T44" fmla="*/ 165 w 198"/>
                <a:gd name="T45" fmla="*/ 0 h 199"/>
                <a:gd name="T46" fmla="*/ 172 w 198"/>
                <a:gd name="T47" fmla="*/ 1 h 199"/>
                <a:gd name="T48" fmla="*/ 178 w 198"/>
                <a:gd name="T49" fmla="*/ 3 h 199"/>
                <a:gd name="T50" fmla="*/ 183 w 198"/>
                <a:gd name="T51" fmla="*/ 7 h 199"/>
                <a:gd name="T52" fmla="*/ 188 w 198"/>
                <a:gd name="T53" fmla="*/ 11 h 199"/>
                <a:gd name="T54" fmla="*/ 193 w 198"/>
                <a:gd name="T55" fmla="*/ 16 h 199"/>
                <a:gd name="T56" fmla="*/ 196 w 198"/>
                <a:gd name="T57" fmla="*/ 21 h 199"/>
                <a:gd name="T58" fmla="*/ 198 w 198"/>
                <a:gd name="T59" fmla="*/ 27 h 199"/>
                <a:gd name="T60" fmla="*/ 198 w 198"/>
                <a:gd name="T61" fmla="*/ 33 h 199"/>
                <a:gd name="T62" fmla="*/ 198 w 198"/>
                <a:gd name="T63" fmla="*/ 166 h 199"/>
                <a:gd name="T64" fmla="*/ 198 w 198"/>
                <a:gd name="T65" fmla="*/ 166 h 199"/>
                <a:gd name="T66" fmla="*/ 198 w 198"/>
                <a:gd name="T67" fmla="*/ 173 h 199"/>
                <a:gd name="T68" fmla="*/ 196 w 198"/>
                <a:gd name="T69" fmla="*/ 179 h 199"/>
                <a:gd name="T70" fmla="*/ 193 w 198"/>
                <a:gd name="T71" fmla="*/ 185 h 199"/>
                <a:gd name="T72" fmla="*/ 188 w 198"/>
                <a:gd name="T73" fmla="*/ 190 h 199"/>
                <a:gd name="T74" fmla="*/ 183 w 198"/>
                <a:gd name="T75" fmla="*/ 194 h 199"/>
                <a:gd name="T76" fmla="*/ 178 w 198"/>
                <a:gd name="T77" fmla="*/ 197 h 199"/>
                <a:gd name="T78" fmla="*/ 172 w 198"/>
                <a:gd name="T79" fmla="*/ 199 h 199"/>
                <a:gd name="T80" fmla="*/ 165 w 198"/>
                <a:gd name="T81" fmla="*/ 199 h 199"/>
                <a:gd name="T82" fmla="*/ 165 w 198"/>
                <a:gd name="T83" fmla="*/ 199 h 199"/>
                <a:gd name="T84" fmla="*/ 66 w 198"/>
                <a:gd name="T85" fmla="*/ 133 h 199"/>
                <a:gd name="T86" fmla="*/ 133 w 198"/>
                <a:gd name="T87" fmla="*/ 133 h 199"/>
                <a:gd name="T88" fmla="*/ 133 w 198"/>
                <a:gd name="T89" fmla="*/ 67 h 199"/>
                <a:gd name="T90" fmla="*/ 66 w 198"/>
                <a:gd name="T91" fmla="*/ 67 h 199"/>
                <a:gd name="T92" fmla="*/ 66 w 198"/>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99">
                  <a:moveTo>
                    <a:pt x="165" y="199"/>
                  </a:moveTo>
                  <a:lnTo>
                    <a:pt x="33" y="199"/>
                  </a:lnTo>
                  <a:lnTo>
                    <a:pt x="33" y="199"/>
                  </a:lnTo>
                  <a:lnTo>
                    <a:pt x="26" y="199"/>
                  </a:lnTo>
                  <a:lnTo>
                    <a:pt x="20" y="197"/>
                  </a:lnTo>
                  <a:lnTo>
                    <a:pt x="15" y="194"/>
                  </a:lnTo>
                  <a:lnTo>
                    <a:pt x="9" y="190"/>
                  </a:lnTo>
                  <a:lnTo>
                    <a:pt x="5" y="185"/>
                  </a:lnTo>
                  <a:lnTo>
                    <a:pt x="2" y="179"/>
                  </a:lnTo>
                  <a:lnTo>
                    <a:pt x="0" y="173"/>
                  </a:lnTo>
                  <a:lnTo>
                    <a:pt x="0" y="166"/>
                  </a:lnTo>
                  <a:lnTo>
                    <a:pt x="0" y="33"/>
                  </a:lnTo>
                  <a:lnTo>
                    <a:pt x="0" y="33"/>
                  </a:lnTo>
                  <a:lnTo>
                    <a:pt x="0" y="27"/>
                  </a:lnTo>
                  <a:lnTo>
                    <a:pt x="2" y="21"/>
                  </a:lnTo>
                  <a:lnTo>
                    <a:pt x="5" y="16"/>
                  </a:lnTo>
                  <a:lnTo>
                    <a:pt x="9" y="11"/>
                  </a:lnTo>
                  <a:lnTo>
                    <a:pt x="15" y="7"/>
                  </a:lnTo>
                  <a:lnTo>
                    <a:pt x="20" y="3"/>
                  </a:lnTo>
                  <a:lnTo>
                    <a:pt x="26" y="1"/>
                  </a:lnTo>
                  <a:lnTo>
                    <a:pt x="33" y="0"/>
                  </a:lnTo>
                  <a:lnTo>
                    <a:pt x="165" y="0"/>
                  </a:lnTo>
                  <a:lnTo>
                    <a:pt x="165" y="0"/>
                  </a:lnTo>
                  <a:lnTo>
                    <a:pt x="172" y="1"/>
                  </a:lnTo>
                  <a:lnTo>
                    <a:pt x="178" y="3"/>
                  </a:lnTo>
                  <a:lnTo>
                    <a:pt x="183" y="7"/>
                  </a:lnTo>
                  <a:lnTo>
                    <a:pt x="188" y="11"/>
                  </a:lnTo>
                  <a:lnTo>
                    <a:pt x="193" y="16"/>
                  </a:lnTo>
                  <a:lnTo>
                    <a:pt x="196" y="21"/>
                  </a:lnTo>
                  <a:lnTo>
                    <a:pt x="198" y="27"/>
                  </a:lnTo>
                  <a:lnTo>
                    <a:pt x="198" y="33"/>
                  </a:lnTo>
                  <a:lnTo>
                    <a:pt x="198" y="166"/>
                  </a:lnTo>
                  <a:lnTo>
                    <a:pt x="198" y="166"/>
                  </a:lnTo>
                  <a:lnTo>
                    <a:pt x="198" y="173"/>
                  </a:lnTo>
                  <a:lnTo>
                    <a:pt x="196" y="179"/>
                  </a:lnTo>
                  <a:lnTo>
                    <a:pt x="193" y="185"/>
                  </a:lnTo>
                  <a:lnTo>
                    <a:pt x="188" y="190"/>
                  </a:lnTo>
                  <a:lnTo>
                    <a:pt x="183" y="194"/>
                  </a:lnTo>
                  <a:lnTo>
                    <a:pt x="178" y="197"/>
                  </a:lnTo>
                  <a:lnTo>
                    <a:pt x="172" y="199"/>
                  </a:lnTo>
                  <a:lnTo>
                    <a:pt x="165" y="199"/>
                  </a:lnTo>
                  <a:lnTo>
                    <a:pt x="165" y="199"/>
                  </a:lnTo>
                  <a:close/>
                  <a:moveTo>
                    <a:pt x="66" y="133"/>
                  </a:moveTo>
                  <a:lnTo>
                    <a:pt x="133" y="133"/>
                  </a:lnTo>
                  <a:lnTo>
                    <a:pt x="133" y="67"/>
                  </a:lnTo>
                  <a:lnTo>
                    <a:pt x="66" y="67"/>
                  </a:lnTo>
                  <a:lnTo>
                    <a:pt x="6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74" name="Group 73">
            <a:extLst>
              <a:ext uri="{FF2B5EF4-FFF2-40B4-BE49-F238E27FC236}">
                <a16:creationId xmlns:a16="http://schemas.microsoft.com/office/drawing/2014/main" id="{0B19DF0D-F1D8-5157-0D5A-C65AF11D308D}"/>
              </a:ext>
            </a:extLst>
          </p:cNvPr>
          <p:cNvGrpSpPr/>
          <p:nvPr/>
        </p:nvGrpSpPr>
        <p:grpSpPr>
          <a:xfrm>
            <a:off x="10684865" y="1529471"/>
            <a:ext cx="360363" cy="421086"/>
            <a:chOff x="1978819" y="2796777"/>
            <a:chExt cx="360363" cy="421086"/>
          </a:xfrm>
          <a:solidFill>
            <a:schemeClr val="bg1"/>
          </a:solidFill>
        </p:grpSpPr>
        <p:grpSp>
          <p:nvGrpSpPr>
            <p:cNvPr id="75" name="Group 74">
              <a:extLst>
                <a:ext uri="{FF2B5EF4-FFF2-40B4-BE49-F238E27FC236}">
                  <a16:creationId xmlns:a16="http://schemas.microsoft.com/office/drawing/2014/main" id="{A2CADEF9-29FB-2996-2436-528221104A6F}"/>
                </a:ext>
              </a:extLst>
            </p:cNvPr>
            <p:cNvGrpSpPr/>
            <p:nvPr/>
          </p:nvGrpSpPr>
          <p:grpSpPr>
            <a:xfrm>
              <a:off x="1978819" y="3070225"/>
              <a:ext cx="360363" cy="147638"/>
              <a:chOff x="1978819" y="3070225"/>
              <a:chExt cx="360363" cy="147638"/>
            </a:xfrm>
            <a:grpFill/>
          </p:grpSpPr>
          <p:sp>
            <p:nvSpPr>
              <p:cNvPr id="107" name="Freeform 112">
                <a:extLst>
                  <a:ext uri="{FF2B5EF4-FFF2-40B4-BE49-F238E27FC236}">
                    <a16:creationId xmlns:a16="http://schemas.microsoft.com/office/drawing/2014/main" id="{0E9685B5-F3F1-34DD-7266-DD9E23D46500}"/>
                  </a:ext>
                </a:extLst>
              </p:cNvPr>
              <p:cNvSpPr>
                <a:spLocks noEditPoints="1"/>
              </p:cNvSpPr>
              <p:nvPr/>
            </p:nvSpPr>
            <p:spPr bwMode="auto">
              <a:xfrm flipH="1">
                <a:off x="1978819" y="3070225"/>
                <a:ext cx="76200" cy="134938"/>
              </a:xfrm>
              <a:custGeom>
                <a:avLst/>
                <a:gdLst>
                  <a:gd name="T0" fmla="*/ 298 w 331"/>
                  <a:gd name="T1" fmla="*/ 595 h 595"/>
                  <a:gd name="T2" fmla="*/ 33 w 331"/>
                  <a:gd name="T3" fmla="*/ 595 h 595"/>
                  <a:gd name="T4" fmla="*/ 33 w 331"/>
                  <a:gd name="T5" fmla="*/ 595 h 595"/>
                  <a:gd name="T6" fmla="*/ 27 w 331"/>
                  <a:gd name="T7" fmla="*/ 594 h 595"/>
                  <a:gd name="T8" fmla="*/ 21 w 331"/>
                  <a:gd name="T9" fmla="*/ 593 h 595"/>
                  <a:gd name="T10" fmla="*/ 15 w 331"/>
                  <a:gd name="T11" fmla="*/ 590 h 595"/>
                  <a:gd name="T12" fmla="*/ 10 w 331"/>
                  <a:gd name="T13" fmla="*/ 586 h 595"/>
                  <a:gd name="T14" fmla="*/ 6 w 331"/>
                  <a:gd name="T15" fmla="*/ 581 h 595"/>
                  <a:gd name="T16" fmla="*/ 3 w 331"/>
                  <a:gd name="T17" fmla="*/ 576 h 595"/>
                  <a:gd name="T18" fmla="*/ 1 w 331"/>
                  <a:gd name="T19" fmla="*/ 569 h 595"/>
                  <a:gd name="T20" fmla="*/ 0 w 331"/>
                  <a:gd name="T21" fmla="*/ 562 h 595"/>
                  <a:gd name="T22" fmla="*/ 0 w 331"/>
                  <a:gd name="T23" fmla="*/ 33 h 595"/>
                  <a:gd name="T24" fmla="*/ 0 w 331"/>
                  <a:gd name="T25" fmla="*/ 33 h 595"/>
                  <a:gd name="T26" fmla="*/ 1 w 331"/>
                  <a:gd name="T27" fmla="*/ 26 h 595"/>
                  <a:gd name="T28" fmla="*/ 3 w 331"/>
                  <a:gd name="T29" fmla="*/ 20 h 595"/>
                  <a:gd name="T30" fmla="*/ 6 w 331"/>
                  <a:gd name="T31" fmla="*/ 15 h 595"/>
                  <a:gd name="T32" fmla="*/ 10 w 331"/>
                  <a:gd name="T33" fmla="*/ 9 h 595"/>
                  <a:gd name="T34" fmla="*/ 15 w 331"/>
                  <a:gd name="T35" fmla="*/ 5 h 595"/>
                  <a:gd name="T36" fmla="*/ 21 w 331"/>
                  <a:gd name="T37" fmla="*/ 2 h 595"/>
                  <a:gd name="T38" fmla="*/ 27 w 331"/>
                  <a:gd name="T39" fmla="*/ 1 h 595"/>
                  <a:gd name="T40" fmla="*/ 33 w 331"/>
                  <a:gd name="T41" fmla="*/ 0 h 595"/>
                  <a:gd name="T42" fmla="*/ 298 w 331"/>
                  <a:gd name="T43" fmla="*/ 0 h 595"/>
                  <a:gd name="T44" fmla="*/ 298 w 331"/>
                  <a:gd name="T45" fmla="*/ 0 h 595"/>
                  <a:gd name="T46" fmla="*/ 305 w 331"/>
                  <a:gd name="T47" fmla="*/ 1 h 595"/>
                  <a:gd name="T48" fmla="*/ 311 w 331"/>
                  <a:gd name="T49" fmla="*/ 2 h 595"/>
                  <a:gd name="T50" fmla="*/ 316 w 331"/>
                  <a:gd name="T51" fmla="*/ 5 h 595"/>
                  <a:gd name="T52" fmla="*/ 321 w 331"/>
                  <a:gd name="T53" fmla="*/ 9 h 595"/>
                  <a:gd name="T54" fmla="*/ 325 w 331"/>
                  <a:gd name="T55" fmla="*/ 15 h 595"/>
                  <a:gd name="T56" fmla="*/ 328 w 331"/>
                  <a:gd name="T57" fmla="*/ 20 h 595"/>
                  <a:gd name="T58" fmla="*/ 330 w 331"/>
                  <a:gd name="T59" fmla="*/ 26 h 595"/>
                  <a:gd name="T60" fmla="*/ 331 w 331"/>
                  <a:gd name="T61" fmla="*/ 33 h 595"/>
                  <a:gd name="T62" fmla="*/ 331 w 331"/>
                  <a:gd name="T63" fmla="*/ 562 h 595"/>
                  <a:gd name="T64" fmla="*/ 331 w 331"/>
                  <a:gd name="T65" fmla="*/ 562 h 595"/>
                  <a:gd name="T66" fmla="*/ 330 w 331"/>
                  <a:gd name="T67" fmla="*/ 569 h 595"/>
                  <a:gd name="T68" fmla="*/ 328 w 331"/>
                  <a:gd name="T69" fmla="*/ 576 h 595"/>
                  <a:gd name="T70" fmla="*/ 325 w 331"/>
                  <a:gd name="T71" fmla="*/ 581 h 595"/>
                  <a:gd name="T72" fmla="*/ 321 w 331"/>
                  <a:gd name="T73" fmla="*/ 586 h 595"/>
                  <a:gd name="T74" fmla="*/ 316 w 331"/>
                  <a:gd name="T75" fmla="*/ 590 h 595"/>
                  <a:gd name="T76" fmla="*/ 311 w 331"/>
                  <a:gd name="T77" fmla="*/ 593 h 595"/>
                  <a:gd name="T78" fmla="*/ 305 w 331"/>
                  <a:gd name="T79" fmla="*/ 594 h 595"/>
                  <a:gd name="T80" fmla="*/ 298 w 331"/>
                  <a:gd name="T81" fmla="*/ 595 h 595"/>
                  <a:gd name="T82" fmla="*/ 298 w 331"/>
                  <a:gd name="T83" fmla="*/ 595 h 595"/>
                  <a:gd name="T84" fmla="*/ 67 w 331"/>
                  <a:gd name="T85" fmla="*/ 529 h 595"/>
                  <a:gd name="T86" fmla="*/ 265 w 331"/>
                  <a:gd name="T87" fmla="*/ 529 h 595"/>
                  <a:gd name="T88" fmla="*/ 265 w 331"/>
                  <a:gd name="T89" fmla="*/ 66 h 595"/>
                  <a:gd name="T90" fmla="*/ 67 w 331"/>
                  <a:gd name="T91" fmla="*/ 66 h 595"/>
                  <a:gd name="T92" fmla="*/ 67 w 331"/>
                  <a:gd name="T93" fmla="*/ 529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1" h="595">
                    <a:moveTo>
                      <a:pt x="298" y="595"/>
                    </a:moveTo>
                    <a:lnTo>
                      <a:pt x="33" y="595"/>
                    </a:lnTo>
                    <a:lnTo>
                      <a:pt x="33" y="595"/>
                    </a:lnTo>
                    <a:lnTo>
                      <a:pt x="27" y="594"/>
                    </a:lnTo>
                    <a:lnTo>
                      <a:pt x="21" y="593"/>
                    </a:lnTo>
                    <a:lnTo>
                      <a:pt x="15" y="590"/>
                    </a:lnTo>
                    <a:lnTo>
                      <a:pt x="10" y="586"/>
                    </a:lnTo>
                    <a:lnTo>
                      <a:pt x="6" y="581"/>
                    </a:lnTo>
                    <a:lnTo>
                      <a:pt x="3" y="576"/>
                    </a:lnTo>
                    <a:lnTo>
                      <a:pt x="1" y="569"/>
                    </a:lnTo>
                    <a:lnTo>
                      <a:pt x="0" y="562"/>
                    </a:lnTo>
                    <a:lnTo>
                      <a:pt x="0" y="33"/>
                    </a:lnTo>
                    <a:lnTo>
                      <a:pt x="0" y="33"/>
                    </a:lnTo>
                    <a:lnTo>
                      <a:pt x="1" y="26"/>
                    </a:lnTo>
                    <a:lnTo>
                      <a:pt x="3" y="20"/>
                    </a:lnTo>
                    <a:lnTo>
                      <a:pt x="6" y="15"/>
                    </a:lnTo>
                    <a:lnTo>
                      <a:pt x="10" y="9"/>
                    </a:lnTo>
                    <a:lnTo>
                      <a:pt x="15" y="5"/>
                    </a:lnTo>
                    <a:lnTo>
                      <a:pt x="21" y="2"/>
                    </a:lnTo>
                    <a:lnTo>
                      <a:pt x="27" y="1"/>
                    </a:lnTo>
                    <a:lnTo>
                      <a:pt x="33" y="0"/>
                    </a:lnTo>
                    <a:lnTo>
                      <a:pt x="298" y="0"/>
                    </a:lnTo>
                    <a:lnTo>
                      <a:pt x="298" y="0"/>
                    </a:lnTo>
                    <a:lnTo>
                      <a:pt x="305" y="1"/>
                    </a:lnTo>
                    <a:lnTo>
                      <a:pt x="311" y="2"/>
                    </a:lnTo>
                    <a:lnTo>
                      <a:pt x="316" y="5"/>
                    </a:lnTo>
                    <a:lnTo>
                      <a:pt x="321" y="9"/>
                    </a:lnTo>
                    <a:lnTo>
                      <a:pt x="325" y="15"/>
                    </a:lnTo>
                    <a:lnTo>
                      <a:pt x="328" y="20"/>
                    </a:lnTo>
                    <a:lnTo>
                      <a:pt x="330" y="26"/>
                    </a:lnTo>
                    <a:lnTo>
                      <a:pt x="331" y="33"/>
                    </a:lnTo>
                    <a:lnTo>
                      <a:pt x="331" y="562"/>
                    </a:lnTo>
                    <a:lnTo>
                      <a:pt x="331" y="562"/>
                    </a:lnTo>
                    <a:lnTo>
                      <a:pt x="330" y="569"/>
                    </a:lnTo>
                    <a:lnTo>
                      <a:pt x="328" y="576"/>
                    </a:lnTo>
                    <a:lnTo>
                      <a:pt x="325" y="581"/>
                    </a:lnTo>
                    <a:lnTo>
                      <a:pt x="321" y="586"/>
                    </a:lnTo>
                    <a:lnTo>
                      <a:pt x="316" y="590"/>
                    </a:lnTo>
                    <a:lnTo>
                      <a:pt x="311" y="593"/>
                    </a:lnTo>
                    <a:lnTo>
                      <a:pt x="305" y="594"/>
                    </a:lnTo>
                    <a:lnTo>
                      <a:pt x="298" y="595"/>
                    </a:lnTo>
                    <a:lnTo>
                      <a:pt x="298" y="595"/>
                    </a:lnTo>
                    <a:close/>
                    <a:moveTo>
                      <a:pt x="67" y="529"/>
                    </a:moveTo>
                    <a:lnTo>
                      <a:pt x="265" y="529"/>
                    </a:lnTo>
                    <a:lnTo>
                      <a:pt x="265" y="66"/>
                    </a:lnTo>
                    <a:lnTo>
                      <a:pt x="67" y="66"/>
                    </a:lnTo>
                    <a:lnTo>
                      <a:pt x="67" y="5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08" name="Freeform 113">
                <a:extLst>
                  <a:ext uri="{FF2B5EF4-FFF2-40B4-BE49-F238E27FC236}">
                    <a16:creationId xmlns:a16="http://schemas.microsoft.com/office/drawing/2014/main" id="{969EF706-7228-7B6F-17E2-D39F63E95368}"/>
                  </a:ext>
                </a:extLst>
              </p:cNvPr>
              <p:cNvSpPr>
                <a:spLocks/>
              </p:cNvSpPr>
              <p:nvPr/>
            </p:nvSpPr>
            <p:spPr bwMode="auto">
              <a:xfrm flipH="1">
                <a:off x="2039144" y="3113088"/>
                <a:ext cx="300038" cy="104775"/>
              </a:xfrm>
              <a:custGeom>
                <a:avLst/>
                <a:gdLst>
                  <a:gd name="T0" fmla="*/ 729 w 1323"/>
                  <a:gd name="T1" fmla="*/ 462 h 462"/>
                  <a:gd name="T2" fmla="*/ 669 w 1323"/>
                  <a:gd name="T3" fmla="*/ 453 h 462"/>
                  <a:gd name="T4" fmla="*/ 605 w 1323"/>
                  <a:gd name="T5" fmla="*/ 433 h 462"/>
                  <a:gd name="T6" fmla="*/ 533 w 1323"/>
                  <a:gd name="T7" fmla="*/ 402 h 462"/>
                  <a:gd name="T8" fmla="*/ 343 w 1323"/>
                  <a:gd name="T9" fmla="*/ 305 h 462"/>
                  <a:gd name="T10" fmla="*/ 114 w 1323"/>
                  <a:gd name="T11" fmla="*/ 185 h 462"/>
                  <a:gd name="T12" fmla="*/ 11 w 1323"/>
                  <a:gd name="T13" fmla="*/ 132 h 462"/>
                  <a:gd name="T14" fmla="*/ 0 w 1323"/>
                  <a:gd name="T15" fmla="*/ 113 h 462"/>
                  <a:gd name="T16" fmla="*/ 1 w 1323"/>
                  <a:gd name="T17" fmla="*/ 97 h 462"/>
                  <a:gd name="T18" fmla="*/ 9 w 1323"/>
                  <a:gd name="T19" fmla="*/ 84 h 462"/>
                  <a:gd name="T20" fmla="*/ 53 w 1323"/>
                  <a:gd name="T21" fmla="*/ 45 h 462"/>
                  <a:gd name="T22" fmla="*/ 94 w 1323"/>
                  <a:gd name="T23" fmla="*/ 19 h 462"/>
                  <a:gd name="T24" fmla="*/ 136 w 1323"/>
                  <a:gd name="T25" fmla="*/ 4 h 462"/>
                  <a:gd name="T26" fmla="*/ 179 w 1323"/>
                  <a:gd name="T27" fmla="*/ 0 h 462"/>
                  <a:gd name="T28" fmla="*/ 225 w 1323"/>
                  <a:gd name="T29" fmla="*/ 5 h 462"/>
                  <a:gd name="T30" fmla="*/ 527 w 1323"/>
                  <a:gd name="T31" fmla="*/ 100 h 462"/>
                  <a:gd name="T32" fmla="*/ 542 w 1323"/>
                  <a:gd name="T33" fmla="*/ 110 h 462"/>
                  <a:gd name="T34" fmla="*/ 550 w 1323"/>
                  <a:gd name="T35" fmla="*/ 128 h 462"/>
                  <a:gd name="T36" fmla="*/ 548 w 1323"/>
                  <a:gd name="T37" fmla="*/ 142 h 462"/>
                  <a:gd name="T38" fmla="*/ 537 w 1323"/>
                  <a:gd name="T39" fmla="*/ 157 h 462"/>
                  <a:gd name="T40" fmla="*/ 520 w 1323"/>
                  <a:gd name="T41" fmla="*/ 164 h 462"/>
                  <a:gd name="T42" fmla="*/ 221 w 1323"/>
                  <a:gd name="T43" fmla="*/ 72 h 462"/>
                  <a:gd name="T44" fmla="*/ 189 w 1323"/>
                  <a:gd name="T45" fmla="*/ 66 h 462"/>
                  <a:gd name="T46" fmla="*/ 143 w 1323"/>
                  <a:gd name="T47" fmla="*/ 70 h 462"/>
                  <a:gd name="T48" fmla="*/ 91 w 1323"/>
                  <a:gd name="T49" fmla="*/ 99 h 462"/>
                  <a:gd name="T50" fmla="*/ 247 w 1323"/>
                  <a:gd name="T51" fmla="*/ 180 h 462"/>
                  <a:gd name="T52" fmla="*/ 491 w 1323"/>
                  <a:gd name="T53" fmla="*/ 308 h 462"/>
                  <a:gd name="T54" fmla="*/ 621 w 1323"/>
                  <a:gd name="T55" fmla="*/ 368 h 462"/>
                  <a:gd name="T56" fmla="*/ 675 w 1323"/>
                  <a:gd name="T57" fmla="*/ 385 h 462"/>
                  <a:gd name="T58" fmla="*/ 725 w 1323"/>
                  <a:gd name="T59" fmla="*/ 394 h 462"/>
                  <a:gd name="T60" fmla="*/ 776 w 1323"/>
                  <a:gd name="T61" fmla="*/ 394 h 462"/>
                  <a:gd name="T62" fmla="*/ 831 w 1323"/>
                  <a:gd name="T63" fmla="*/ 386 h 462"/>
                  <a:gd name="T64" fmla="*/ 966 w 1323"/>
                  <a:gd name="T65" fmla="*/ 349 h 462"/>
                  <a:gd name="T66" fmla="*/ 1176 w 1323"/>
                  <a:gd name="T67" fmla="*/ 276 h 462"/>
                  <a:gd name="T68" fmla="*/ 1285 w 1323"/>
                  <a:gd name="T69" fmla="*/ 240 h 462"/>
                  <a:gd name="T70" fmla="*/ 1304 w 1323"/>
                  <a:gd name="T71" fmla="*/ 243 h 462"/>
                  <a:gd name="T72" fmla="*/ 1318 w 1323"/>
                  <a:gd name="T73" fmla="*/ 255 h 462"/>
                  <a:gd name="T74" fmla="*/ 1323 w 1323"/>
                  <a:gd name="T75" fmla="*/ 268 h 462"/>
                  <a:gd name="T76" fmla="*/ 1319 w 1323"/>
                  <a:gd name="T77" fmla="*/ 288 h 462"/>
                  <a:gd name="T78" fmla="*/ 1306 w 1323"/>
                  <a:gd name="T79" fmla="*/ 301 h 462"/>
                  <a:gd name="T80" fmla="*/ 1196 w 1323"/>
                  <a:gd name="T81" fmla="*/ 338 h 462"/>
                  <a:gd name="T82" fmla="*/ 990 w 1323"/>
                  <a:gd name="T83" fmla="*/ 410 h 462"/>
                  <a:gd name="T84" fmla="*/ 855 w 1323"/>
                  <a:gd name="T85" fmla="*/ 449 h 462"/>
                  <a:gd name="T86" fmla="*/ 782 w 1323"/>
                  <a:gd name="T87" fmla="*/ 461 h 462"/>
                  <a:gd name="T88" fmla="*/ 749 w 1323"/>
                  <a:gd name="T89" fmla="*/ 46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3" h="462">
                    <a:moveTo>
                      <a:pt x="749" y="462"/>
                    </a:moveTo>
                    <a:lnTo>
                      <a:pt x="749" y="462"/>
                    </a:lnTo>
                    <a:lnTo>
                      <a:pt x="729" y="462"/>
                    </a:lnTo>
                    <a:lnTo>
                      <a:pt x="709" y="460"/>
                    </a:lnTo>
                    <a:lnTo>
                      <a:pt x="689" y="457"/>
                    </a:lnTo>
                    <a:lnTo>
                      <a:pt x="669" y="453"/>
                    </a:lnTo>
                    <a:lnTo>
                      <a:pt x="648" y="448"/>
                    </a:lnTo>
                    <a:lnTo>
                      <a:pt x="627" y="442"/>
                    </a:lnTo>
                    <a:lnTo>
                      <a:pt x="605" y="433"/>
                    </a:lnTo>
                    <a:lnTo>
                      <a:pt x="583" y="424"/>
                    </a:lnTo>
                    <a:lnTo>
                      <a:pt x="558" y="415"/>
                    </a:lnTo>
                    <a:lnTo>
                      <a:pt x="533" y="402"/>
                    </a:lnTo>
                    <a:lnTo>
                      <a:pt x="477" y="376"/>
                    </a:lnTo>
                    <a:lnTo>
                      <a:pt x="415" y="343"/>
                    </a:lnTo>
                    <a:lnTo>
                      <a:pt x="343" y="305"/>
                    </a:lnTo>
                    <a:lnTo>
                      <a:pt x="343" y="305"/>
                    </a:lnTo>
                    <a:lnTo>
                      <a:pt x="199" y="230"/>
                    </a:lnTo>
                    <a:lnTo>
                      <a:pt x="114" y="185"/>
                    </a:lnTo>
                    <a:lnTo>
                      <a:pt x="19" y="136"/>
                    </a:lnTo>
                    <a:lnTo>
                      <a:pt x="19" y="136"/>
                    </a:lnTo>
                    <a:lnTo>
                      <a:pt x="11" y="132"/>
                    </a:lnTo>
                    <a:lnTo>
                      <a:pt x="6" y="126"/>
                    </a:lnTo>
                    <a:lnTo>
                      <a:pt x="2" y="120"/>
                    </a:lnTo>
                    <a:lnTo>
                      <a:pt x="0" y="113"/>
                    </a:lnTo>
                    <a:lnTo>
                      <a:pt x="0" y="113"/>
                    </a:lnTo>
                    <a:lnTo>
                      <a:pt x="0" y="104"/>
                    </a:lnTo>
                    <a:lnTo>
                      <a:pt x="1" y="97"/>
                    </a:lnTo>
                    <a:lnTo>
                      <a:pt x="5" y="90"/>
                    </a:lnTo>
                    <a:lnTo>
                      <a:pt x="9" y="84"/>
                    </a:lnTo>
                    <a:lnTo>
                      <a:pt x="9" y="84"/>
                    </a:lnTo>
                    <a:lnTo>
                      <a:pt x="24" y="70"/>
                    </a:lnTo>
                    <a:lnTo>
                      <a:pt x="38" y="57"/>
                    </a:lnTo>
                    <a:lnTo>
                      <a:pt x="53" y="45"/>
                    </a:lnTo>
                    <a:lnTo>
                      <a:pt x="66" y="36"/>
                    </a:lnTo>
                    <a:lnTo>
                      <a:pt x="80" y="27"/>
                    </a:lnTo>
                    <a:lnTo>
                      <a:pt x="94" y="19"/>
                    </a:lnTo>
                    <a:lnTo>
                      <a:pt x="108" y="13"/>
                    </a:lnTo>
                    <a:lnTo>
                      <a:pt x="122" y="8"/>
                    </a:lnTo>
                    <a:lnTo>
                      <a:pt x="136" y="4"/>
                    </a:lnTo>
                    <a:lnTo>
                      <a:pt x="150" y="1"/>
                    </a:lnTo>
                    <a:lnTo>
                      <a:pt x="165" y="0"/>
                    </a:lnTo>
                    <a:lnTo>
                      <a:pt x="179" y="0"/>
                    </a:lnTo>
                    <a:lnTo>
                      <a:pt x="194" y="0"/>
                    </a:lnTo>
                    <a:lnTo>
                      <a:pt x="209" y="2"/>
                    </a:lnTo>
                    <a:lnTo>
                      <a:pt x="225" y="5"/>
                    </a:lnTo>
                    <a:lnTo>
                      <a:pt x="240" y="9"/>
                    </a:lnTo>
                    <a:lnTo>
                      <a:pt x="527" y="100"/>
                    </a:lnTo>
                    <a:lnTo>
                      <a:pt x="527" y="100"/>
                    </a:lnTo>
                    <a:lnTo>
                      <a:pt x="533" y="102"/>
                    </a:lnTo>
                    <a:lnTo>
                      <a:pt x="538" y="106"/>
                    </a:lnTo>
                    <a:lnTo>
                      <a:pt x="542" y="110"/>
                    </a:lnTo>
                    <a:lnTo>
                      <a:pt x="546" y="116"/>
                    </a:lnTo>
                    <a:lnTo>
                      <a:pt x="548" y="122"/>
                    </a:lnTo>
                    <a:lnTo>
                      <a:pt x="550" y="128"/>
                    </a:lnTo>
                    <a:lnTo>
                      <a:pt x="550" y="134"/>
                    </a:lnTo>
                    <a:lnTo>
                      <a:pt x="548" y="142"/>
                    </a:lnTo>
                    <a:lnTo>
                      <a:pt x="548" y="142"/>
                    </a:lnTo>
                    <a:lnTo>
                      <a:pt x="545" y="148"/>
                    </a:lnTo>
                    <a:lnTo>
                      <a:pt x="542" y="153"/>
                    </a:lnTo>
                    <a:lnTo>
                      <a:pt x="537" y="157"/>
                    </a:lnTo>
                    <a:lnTo>
                      <a:pt x="532" y="160"/>
                    </a:lnTo>
                    <a:lnTo>
                      <a:pt x="527" y="163"/>
                    </a:lnTo>
                    <a:lnTo>
                      <a:pt x="520" y="164"/>
                    </a:lnTo>
                    <a:lnTo>
                      <a:pt x="513" y="164"/>
                    </a:lnTo>
                    <a:lnTo>
                      <a:pt x="507" y="162"/>
                    </a:lnTo>
                    <a:lnTo>
                      <a:pt x="221" y="72"/>
                    </a:lnTo>
                    <a:lnTo>
                      <a:pt x="221" y="72"/>
                    </a:lnTo>
                    <a:lnTo>
                      <a:pt x="206" y="68"/>
                    </a:lnTo>
                    <a:lnTo>
                      <a:pt x="189" y="66"/>
                    </a:lnTo>
                    <a:lnTo>
                      <a:pt x="175" y="65"/>
                    </a:lnTo>
                    <a:lnTo>
                      <a:pt x="158" y="67"/>
                    </a:lnTo>
                    <a:lnTo>
                      <a:pt x="143" y="70"/>
                    </a:lnTo>
                    <a:lnTo>
                      <a:pt x="126" y="77"/>
                    </a:lnTo>
                    <a:lnTo>
                      <a:pt x="110" y="87"/>
                    </a:lnTo>
                    <a:lnTo>
                      <a:pt x="91" y="99"/>
                    </a:lnTo>
                    <a:lnTo>
                      <a:pt x="91" y="99"/>
                    </a:lnTo>
                    <a:lnTo>
                      <a:pt x="173" y="142"/>
                    </a:lnTo>
                    <a:lnTo>
                      <a:pt x="247" y="180"/>
                    </a:lnTo>
                    <a:lnTo>
                      <a:pt x="374" y="246"/>
                    </a:lnTo>
                    <a:lnTo>
                      <a:pt x="374" y="246"/>
                    </a:lnTo>
                    <a:lnTo>
                      <a:pt x="491" y="308"/>
                    </a:lnTo>
                    <a:lnTo>
                      <a:pt x="538" y="332"/>
                    </a:lnTo>
                    <a:lnTo>
                      <a:pt x="582" y="352"/>
                    </a:lnTo>
                    <a:lnTo>
                      <a:pt x="621" y="368"/>
                    </a:lnTo>
                    <a:lnTo>
                      <a:pt x="640" y="374"/>
                    </a:lnTo>
                    <a:lnTo>
                      <a:pt x="657" y="381"/>
                    </a:lnTo>
                    <a:lnTo>
                      <a:pt x="675" y="385"/>
                    </a:lnTo>
                    <a:lnTo>
                      <a:pt x="692" y="389"/>
                    </a:lnTo>
                    <a:lnTo>
                      <a:pt x="709" y="392"/>
                    </a:lnTo>
                    <a:lnTo>
                      <a:pt x="725" y="394"/>
                    </a:lnTo>
                    <a:lnTo>
                      <a:pt x="742" y="394"/>
                    </a:lnTo>
                    <a:lnTo>
                      <a:pt x="759" y="395"/>
                    </a:lnTo>
                    <a:lnTo>
                      <a:pt x="776" y="394"/>
                    </a:lnTo>
                    <a:lnTo>
                      <a:pt x="794" y="392"/>
                    </a:lnTo>
                    <a:lnTo>
                      <a:pt x="811" y="390"/>
                    </a:lnTo>
                    <a:lnTo>
                      <a:pt x="831" y="386"/>
                    </a:lnTo>
                    <a:lnTo>
                      <a:pt x="871" y="377"/>
                    </a:lnTo>
                    <a:lnTo>
                      <a:pt x="916" y="364"/>
                    </a:lnTo>
                    <a:lnTo>
                      <a:pt x="966" y="349"/>
                    </a:lnTo>
                    <a:lnTo>
                      <a:pt x="1086" y="307"/>
                    </a:lnTo>
                    <a:lnTo>
                      <a:pt x="1086" y="307"/>
                    </a:lnTo>
                    <a:lnTo>
                      <a:pt x="1176" y="276"/>
                    </a:lnTo>
                    <a:lnTo>
                      <a:pt x="1279" y="241"/>
                    </a:lnTo>
                    <a:lnTo>
                      <a:pt x="1279" y="241"/>
                    </a:lnTo>
                    <a:lnTo>
                      <a:pt x="1285" y="240"/>
                    </a:lnTo>
                    <a:lnTo>
                      <a:pt x="1293" y="239"/>
                    </a:lnTo>
                    <a:lnTo>
                      <a:pt x="1299" y="241"/>
                    </a:lnTo>
                    <a:lnTo>
                      <a:pt x="1304" y="243"/>
                    </a:lnTo>
                    <a:lnTo>
                      <a:pt x="1310" y="246"/>
                    </a:lnTo>
                    <a:lnTo>
                      <a:pt x="1314" y="250"/>
                    </a:lnTo>
                    <a:lnTo>
                      <a:pt x="1318" y="255"/>
                    </a:lnTo>
                    <a:lnTo>
                      <a:pt x="1320" y="262"/>
                    </a:lnTo>
                    <a:lnTo>
                      <a:pt x="1320" y="262"/>
                    </a:lnTo>
                    <a:lnTo>
                      <a:pt x="1323" y="268"/>
                    </a:lnTo>
                    <a:lnTo>
                      <a:pt x="1323" y="275"/>
                    </a:lnTo>
                    <a:lnTo>
                      <a:pt x="1322" y="281"/>
                    </a:lnTo>
                    <a:lnTo>
                      <a:pt x="1319" y="288"/>
                    </a:lnTo>
                    <a:lnTo>
                      <a:pt x="1315" y="293"/>
                    </a:lnTo>
                    <a:lnTo>
                      <a:pt x="1311" y="297"/>
                    </a:lnTo>
                    <a:lnTo>
                      <a:pt x="1306" y="301"/>
                    </a:lnTo>
                    <a:lnTo>
                      <a:pt x="1300" y="304"/>
                    </a:lnTo>
                    <a:lnTo>
                      <a:pt x="1300" y="304"/>
                    </a:lnTo>
                    <a:lnTo>
                      <a:pt x="1196" y="338"/>
                    </a:lnTo>
                    <a:lnTo>
                      <a:pt x="1107" y="369"/>
                    </a:lnTo>
                    <a:lnTo>
                      <a:pt x="1107" y="369"/>
                    </a:lnTo>
                    <a:lnTo>
                      <a:pt x="990" y="410"/>
                    </a:lnTo>
                    <a:lnTo>
                      <a:pt x="941" y="425"/>
                    </a:lnTo>
                    <a:lnTo>
                      <a:pt x="896" y="439"/>
                    </a:lnTo>
                    <a:lnTo>
                      <a:pt x="855" y="449"/>
                    </a:lnTo>
                    <a:lnTo>
                      <a:pt x="818" y="456"/>
                    </a:lnTo>
                    <a:lnTo>
                      <a:pt x="800" y="459"/>
                    </a:lnTo>
                    <a:lnTo>
                      <a:pt x="782" y="461"/>
                    </a:lnTo>
                    <a:lnTo>
                      <a:pt x="766" y="462"/>
                    </a:lnTo>
                    <a:lnTo>
                      <a:pt x="749" y="462"/>
                    </a:lnTo>
                    <a:lnTo>
                      <a:pt x="749" y="4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19" name="Freeform 114">
                <a:extLst>
                  <a:ext uri="{FF2B5EF4-FFF2-40B4-BE49-F238E27FC236}">
                    <a16:creationId xmlns:a16="http://schemas.microsoft.com/office/drawing/2014/main" id="{E7D4FD85-8EE1-FE28-FE65-955F100B7808}"/>
                  </a:ext>
                </a:extLst>
              </p:cNvPr>
              <p:cNvSpPr>
                <a:spLocks/>
              </p:cNvSpPr>
              <p:nvPr/>
            </p:nvSpPr>
            <p:spPr bwMode="auto">
              <a:xfrm flipH="1">
                <a:off x="2039144" y="3084513"/>
                <a:ext cx="192088" cy="74613"/>
              </a:xfrm>
              <a:custGeom>
                <a:avLst/>
                <a:gdLst>
                  <a:gd name="T0" fmla="*/ 83 w 844"/>
                  <a:gd name="T1" fmla="*/ 331 h 331"/>
                  <a:gd name="T2" fmla="*/ 57 w 844"/>
                  <a:gd name="T3" fmla="*/ 326 h 331"/>
                  <a:gd name="T4" fmla="*/ 35 w 844"/>
                  <a:gd name="T5" fmla="*/ 315 h 331"/>
                  <a:gd name="T6" fmla="*/ 19 w 844"/>
                  <a:gd name="T7" fmla="*/ 296 h 331"/>
                  <a:gd name="T8" fmla="*/ 6 w 844"/>
                  <a:gd name="T9" fmla="*/ 272 h 331"/>
                  <a:gd name="T10" fmla="*/ 1 w 844"/>
                  <a:gd name="T11" fmla="*/ 243 h 331"/>
                  <a:gd name="T12" fmla="*/ 1 w 844"/>
                  <a:gd name="T13" fmla="*/ 221 h 331"/>
                  <a:gd name="T14" fmla="*/ 6 w 844"/>
                  <a:gd name="T15" fmla="*/ 192 h 331"/>
                  <a:gd name="T16" fmla="*/ 19 w 844"/>
                  <a:gd name="T17" fmla="*/ 167 h 331"/>
                  <a:gd name="T18" fmla="*/ 35 w 844"/>
                  <a:gd name="T19" fmla="*/ 148 h 331"/>
                  <a:gd name="T20" fmla="*/ 57 w 844"/>
                  <a:gd name="T21" fmla="*/ 137 h 331"/>
                  <a:gd name="T22" fmla="*/ 83 w 844"/>
                  <a:gd name="T23" fmla="*/ 133 h 331"/>
                  <a:gd name="T24" fmla="*/ 348 w 844"/>
                  <a:gd name="T25" fmla="*/ 108 h 331"/>
                  <a:gd name="T26" fmla="*/ 395 w 844"/>
                  <a:gd name="T27" fmla="*/ 74 h 331"/>
                  <a:gd name="T28" fmla="*/ 457 w 844"/>
                  <a:gd name="T29" fmla="*/ 39 h 331"/>
                  <a:gd name="T30" fmla="*/ 510 w 844"/>
                  <a:gd name="T31" fmla="*/ 17 h 331"/>
                  <a:gd name="T32" fmla="*/ 569 w 844"/>
                  <a:gd name="T33" fmla="*/ 3 h 331"/>
                  <a:gd name="T34" fmla="*/ 810 w 844"/>
                  <a:gd name="T35" fmla="*/ 0 h 331"/>
                  <a:gd name="T36" fmla="*/ 823 w 844"/>
                  <a:gd name="T37" fmla="*/ 2 h 331"/>
                  <a:gd name="T38" fmla="*/ 837 w 844"/>
                  <a:gd name="T39" fmla="*/ 15 h 331"/>
                  <a:gd name="T40" fmla="*/ 844 w 844"/>
                  <a:gd name="T41" fmla="*/ 33 h 331"/>
                  <a:gd name="T42" fmla="*/ 840 w 844"/>
                  <a:gd name="T43" fmla="*/ 46 h 331"/>
                  <a:gd name="T44" fmla="*/ 829 w 844"/>
                  <a:gd name="T45" fmla="*/ 60 h 331"/>
                  <a:gd name="T46" fmla="*/ 810 w 844"/>
                  <a:gd name="T47" fmla="*/ 67 h 331"/>
                  <a:gd name="T48" fmla="*/ 594 w 844"/>
                  <a:gd name="T49" fmla="*/ 67 h 331"/>
                  <a:gd name="T50" fmla="*/ 543 w 844"/>
                  <a:gd name="T51" fmla="*/ 76 h 331"/>
                  <a:gd name="T52" fmla="*/ 498 w 844"/>
                  <a:gd name="T53" fmla="*/ 92 h 331"/>
                  <a:gd name="T54" fmla="*/ 431 w 844"/>
                  <a:gd name="T55" fmla="*/ 131 h 331"/>
                  <a:gd name="T56" fmla="*/ 387 w 844"/>
                  <a:gd name="T57" fmla="*/ 161 h 331"/>
                  <a:gd name="T58" fmla="*/ 339 w 844"/>
                  <a:gd name="T59" fmla="*/ 193 h 331"/>
                  <a:gd name="T60" fmla="*/ 315 w 844"/>
                  <a:gd name="T61" fmla="*/ 199 h 331"/>
                  <a:gd name="T62" fmla="*/ 79 w 844"/>
                  <a:gd name="T63" fmla="*/ 199 h 331"/>
                  <a:gd name="T64" fmla="*/ 71 w 844"/>
                  <a:gd name="T65" fmla="*/ 211 h 331"/>
                  <a:gd name="T66" fmla="*/ 66 w 844"/>
                  <a:gd name="T67" fmla="*/ 232 h 331"/>
                  <a:gd name="T68" fmla="*/ 68 w 844"/>
                  <a:gd name="T69" fmla="*/ 248 h 331"/>
                  <a:gd name="T70" fmla="*/ 76 w 844"/>
                  <a:gd name="T71" fmla="*/ 261 h 331"/>
                  <a:gd name="T72" fmla="*/ 447 w 844"/>
                  <a:gd name="T73" fmla="*/ 264 h 331"/>
                  <a:gd name="T74" fmla="*/ 460 w 844"/>
                  <a:gd name="T75" fmla="*/ 267 h 331"/>
                  <a:gd name="T76" fmla="*/ 474 w 844"/>
                  <a:gd name="T77" fmla="*/ 280 h 331"/>
                  <a:gd name="T78" fmla="*/ 479 w 844"/>
                  <a:gd name="T79" fmla="*/ 297 h 331"/>
                  <a:gd name="T80" fmla="*/ 477 w 844"/>
                  <a:gd name="T81" fmla="*/ 311 h 331"/>
                  <a:gd name="T82" fmla="*/ 465 w 844"/>
                  <a:gd name="T83" fmla="*/ 325 h 331"/>
                  <a:gd name="T84" fmla="*/ 447 w 844"/>
                  <a:gd name="T85"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4" h="331">
                    <a:moveTo>
                      <a:pt x="447" y="331"/>
                    </a:moveTo>
                    <a:lnTo>
                      <a:pt x="83" y="331"/>
                    </a:lnTo>
                    <a:lnTo>
                      <a:pt x="83" y="331"/>
                    </a:lnTo>
                    <a:lnTo>
                      <a:pt x="75" y="331"/>
                    </a:lnTo>
                    <a:lnTo>
                      <a:pt x="65" y="330"/>
                    </a:lnTo>
                    <a:lnTo>
                      <a:pt x="57" y="326"/>
                    </a:lnTo>
                    <a:lnTo>
                      <a:pt x="50" y="323"/>
                    </a:lnTo>
                    <a:lnTo>
                      <a:pt x="43" y="319"/>
                    </a:lnTo>
                    <a:lnTo>
                      <a:pt x="35" y="315"/>
                    </a:lnTo>
                    <a:lnTo>
                      <a:pt x="29" y="309"/>
                    </a:lnTo>
                    <a:lnTo>
                      <a:pt x="24" y="303"/>
                    </a:lnTo>
                    <a:lnTo>
                      <a:pt x="19" y="296"/>
                    </a:lnTo>
                    <a:lnTo>
                      <a:pt x="14" y="288"/>
                    </a:lnTo>
                    <a:lnTo>
                      <a:pt x="9" y="280"/>
                    </a:lnTo>
                    <a:lnTo>
                      <a:pt x="6" y="272"/>
                    </a:lnTo>
                    <a:lnTo>
                      <a:pt x="4" y="262"/>
                    </a:lnTo>
                    <a:lnTo>
                      <a:pt x="2" y="253"/>
                    </a:lnTo>
                    <a:lnTo>
                      <a:pt x="1" y="243"/>
                    </a:lnTo>
                    <a:lnTo>
                      <a:pt x="0" y="232"/>
                    </a:lnTo>
                    <a:lnTo>
                      <a:pt x="0" y="232"/>
                    </a:lnTo>
                    <a:lnTo>
                      <a:pt x="1" y="221"/>
                    </a:lnTo>
                    <a:lnTo>
                      <a:pt x="2" y="211"/>
                    </a:lnTo>
                    <a:lnTo>
                      <a:pt x="4" y="201"/>
                    </a:lnTo>
                    <a:lnTo>
                      <a:pt x="6" y="192"/>
                    </a:lnTo>
                    <a:lnTo>
                      <a:pt x="9" y="184"/>
                    </a:lnTo>
                    <a:lnTo>
                      <a:pt x="14" y="175"/>
                    </a:lnTo>
                    <a:lnTo>
                      <a:pt x="19" y="167"/>
                    </a:lnTo>
                    <a:lnTo>
                      <a:pt x="24" y="161"/>
                    </a:lnTo>
                    <a:lnTo>
                      <a:pt x="29" y="155"/>
                    </a:lnTo>
                    <a:lnTo>
                      <a:pt x="35" y="148"/>
                    </a:lnTo>
                    <a:lnTo>
                      <a:pt x="43" y="144"/>
                    </a:lnTo>
                    <a:lnTo>
                      <a:pt x="50" y="140"/>
                    </a:lnTo>
                    <a:lnTo>
                      <a:pt x="57" y="137"/>
                    </a:lnTo>
                    <a:lnTo>
                      <a:pt x="65" y="135"/>
                    </a:lnTo>
                    <a:lnTo>
                      <a:pt x="75" y="133"/>
                    </a:lnTo>
                    <a:lnTo>
                      <a:pt x="83" y="133"/>
                    </a:lnTo>
                    <a:lnTo>
                      <a:pt x="315" y="133"/>
                    </a:lnTo>
                    <a:lnTo>
                      <a:pt x="315" y="133"/>
                    </a:lnTo>
                    <a:lnTo>
                      <a:pt x="348" y="108"/>
                    </a:lnTo>
                    <a:lnTo>
                      <a:pt x="348" y="108"/>
                    </a:lnTo>
                    <a:lnTo>
                      <a:pt x="371" y="91"/>
                    </a:lnTo>
                    <a:lnTo>
                      <a:pt x="395" y="74"/>
                    </a:lnTo>
                    <a:lnTo>
                      <a:pt x="424" y="56"/>
                    </a:lnTo>
                    <a:lnTo>
                      <a:pt x="440" y="47"/>
                    </a:lnTo>
                    <a:lnTo>
                      <a:pt x="457" y="39"/>
                    </a:lnTo>
                    <a:lnTo>
                      <a:pt x="474" y="31"/>
                    </a:lnTo>
                    <a:lnTo>
                      <a:pt x="492" y="23"/>
                    </a:lnTo>
                    <a:lnTo>
                      <a:pt x="510" y="17"/>
                    </a:lnTo>
                    <a:lnTo>
                      <a:pt x="529" y="12"/>
                    </a:lnTo>
                    <a:lnTo>
                      <a:pt x="549" y="7"/>
                    </a:lnTo>
                    <a:lnTo>
                      <a:pt x="569" y="3"/>
                    </a:lnTo>
                    <a:lnTo>
                      <a:pt x="590" y="1"/>
                    </a:lnTo>
                    <a:lnTo>
                      <a:pt x="612" y="0"/>
                    </a:lnTo>
                    <a:lnTo>
                      <a:pt x="810" y="0"/>
                    </a:lnTo>
                    <a:lnTo>
                      <a:pt x="810" y="0"/>
                    </a:lnTo>
                    <a:lnTo>
                      <a:pt x="817" y="1"/>
                    </a:lnTo>
                    <a:lnTo>
                      <a:pt x="823" y="2"/>
                    </a:lnTo>
                    <a:lnTo>
                      <a:pt x="829" y="6"/>
                    </a:lnTo>
                    <a:lnTo>
                      <a:pt x="834" y="10"/>
                    </a:lnTo>
                    <a:lnTo>
                      <a:pt x="837" y="15"/>
                    </a:lnTo>
                    <a:lnTo>
                      <a:pt x="840" y="20"/>
                    </a:lnTo>
                    <a:lnTo>
                      <a:pt x="843" y="26"/>
                    </a:lnTo>
                    <a:lnTo>
                      <a:pt x="844" y="33"/>
                    </a:lnTo>
                    <a:lnTo>
                      <a:pt x="844" y="33"/>
                    </a:lnTo>
                    <a:lnTo>
                      <a:pt x="843" y="40"/>
                    </a:lnTo>
                    <a:lnTo>
                      <a:pt x="840" y="46"/>
                    </a:lnTo>
                    <a:lnTo>
                      <a:pt x="837" y="52"/>
                    </a:lnTo>
                    <a:lnTo>
                      <a:pt x="834" y="56"/>
                    </a:lnTo>
                    <a:lnTo>
                      <a:pt x="829" y="60"/>
                    </a:lnTo>
                    <a:lnTo>
                      <a:pt x="823" y="64"/>
                    </a:lnTo>
                    <a:lnTo>
                      <a:pt x="817" y="66"/>
                    </a:lnTo>
                    <a:lnTo>
                      <a:pt x="810" y="67"/>
                    </a:lnTo>
                    <a:lnTo>
                      <a:pt x="612" y="67"/>
                    </a:lnTo>
                    <a:lnTo>
                      <a:pt x="612" y="67"/>
                    </a:lnTo>
                    <a:lnTo>
                      <a:pt x="594" y="67"/>
                    </a:lnTo>
                    <a:lnTo>
                      <a:pt x="577" y="69"/>
                    </a:lnTo>
                    <a:lnTo>
                      <a:pt x="560" y="72"/>
                    </a:lnTo>
                    <a:lnTo>
                      <a:pt x="543" y="76"/>
                    </a:lnTo>
                    <a:lnTo>
                      <a:pt x="528" y="81"/>
                    </a:lnTo>
                    <a:lnTo>
                      <a:pt x="512" y="86"/>
                    </a:lnTo>
                    <a:lnTo>
                      <a:pt x="498" y="92"/>
                    </a:lnTo>
                    <a:lnTo>
                      <a:pt x="483" y="100"/>
                    </a:lnTo>
                    <a:lnTo>
                      <a:pt x="455" y="114"/>
                    </a:lnTo>
                    <a:lnTo>
                      <a:pt x="431" y="131"/>
                    </a:lnTo>
                    <a:lnTo>
                      <a:pt x="408" y="146"/>
                    </a:lnTo>
                    <a:lnTo>
                      <a:pt x="387" y="161"/>
                    </a:lnTo>
                    <a:lnTo>
                      <a:pt x="387" y="161"/>
                    </a:lnTo>
                    <a:lnTo>
                      <a:pt x="365" y="176"/>
                    </a:lnTo>
                    <a:lnTo>
                      <a:pt x="347" y="189"/>
                    </a:lnTo>
                    <a:lnTo>
                      <a:pt x="339" y="193"/>
                    </a:lnTo>
                    <a:lnTo>
                      <a:pt x="330" y="196"/>
                    </a:lnTo>
                    <a:lnTo>
                      <a:pt x="322" y="198"/>
                    </a:lnTo>
                    <a:lnTo>
                      <a:pt x="315" y="199"/>
                    </a:lnTo>
                    <a:lnTo>
                      <a:pt x="83" y="199"/>
                    </a:lnTo>
                    <a:lnTo>
                      <a:pt x="83" y="199"/>
                    </a:lnTo>
                    <a:lnTo>
                      <a:pt x="79" y="199"/>
                    </a:lnTo>
                    <a:lnTo>
                      <a:pt x="76" y="202"/>
                    </a:lnTo>
                    <a:lnTo>
                      <a:pt x="73" y="205"/>
                    </a:lnTo>
                    <a:lnTo>
                      <a:pt x="71" y="211"/>
                    </a:lnTo>
                    <a:lnTo>
                      <a:pt x="68" y="216"/>
                    </a:lnTo>
                    <a:lnTo>
                      <a:pt x="67" y="221"/>
                    </a:lnTo>
                    <a:lnTo>
                      <a:pt x="66" y="232"/>
                    </a:lnTo>
                    <a:lnTo>
                      <a:pt x="66" y="232"/>
                    </a:lnTo>
                    <a:lnTo>
                      <a:pt x="67" y="243"/>
                    </a:lnTo>
                    <a:lnTo>
                      <a:pt x="68" y="248"/>
                    </a:lnTo>
                    <a:lnTo>
                      <a:pt x="71" y="253"/>
                    </a:lnTo>
                    <a:lnTo>
                      <a:pt x="73" y="258"/>
                    </a:lnTo>
                    <a:lnTo>
                      <a:pt x="76" y="261"/>
                    </a:lnTo>
                    <a:lnTo>
                      <a:pt x="79" y="264"/>
                    </a:lnTo>
                    <a:lnTo>
                      <a:pt x="83" y="264"/>
                    </a:lnTo>
                    <a:lnTo>
                      <a:pt x="447" y="264"/>
                    </a:lnTo>
                    <a:lnTo>
                      <a:pt x="447" y="264"/>
                    </a:lnTo>
                    <a:lnTo>
                      <a:pt x="453" y="265"/>
                    </a:lnTo>
                    <a:lnTo>
                      <a:pt x="460" y="267"/>
                    </a:lnTo>
                    <a:lnTo>
                      <a:pt x="465" y="271"/>
                    </a:lnTo>
                    <a:lnTo>
                      <a:pt x="470" y="275"/>
                    </a:lnTo>
                    <a:lnTo>
                      <a:pt x="474" y="280"/>
                    </a:lnTo>
                    <a:lnTo>
                      <a:pt x="477" y="285"/>
                    </a:lnTo>
                    <a:lnTo>
                      <a:pt x="479" y="291"/>
                    </a:lnTo>
                    <a:lnTo>
                      <a:pt x="479" y="297"/>
                    </a:lnTo>
                    <a:lnTo>
                      <a:pt x="479" y="297"/>
                    </a:lnTo>
                    <a:lnTo>
                      <a:pt x="479" y="305"/>
                    </a:lnTo>
                    <a:lnTo>
                      <a:pt x="477" y="311"/>
                    </a:lnTo>
                    <a:lnTo>
                      <a:pt x="474" y="316"/>
                    </a:lnTo>
                    <a:lnTo>
                      <a:pt x="470" y="321"/>
                    </a:lnTo>
                    <a:lnTo>
                      <a:pt x="465" y="325"/>
                    </a:lnTo>
                    <a:lnTo>
                      <a:pt x="460" y="329"/>
                    </a:lnTo>
                    <a:lnTo>
                      <a:pt x="453" y="331"/>
                    </a:lnTo>
                    <a:lnTo>
                      <a:pt x="447" y="331"/>
                    </a:lnTo>
                    <a:lnTo>
                      <a:pt x="447"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76" name="Group 75">
              <a:extLst>
                <a:ext uri="{FF2B5EF4-FFF2-40B4-BE49-F238E27FC236}">
                  <a16:creationId xmlns:a16="http://schemas.microsoft.com/office/drawing/2014/main" id="{0B908A41-EA27-9549-D137-A7BD354CC3A8}"/>
                </a:ext>
              </a:extLst>
            </p:cNvPr>
            <p:cNvGrpSpPr/>
            <p:nvPr/>
          </p:nvGrpSpPr>
          <p:grpSpPr>
            <a:xfrm flipH="1">
              <a:off x="2058591" y="2796777"/>
              <a:ext cx="261145" cy="261145"/>
              <a:chOff x="4116388" y="3968751"/>
              <a:chExt cx="360363" cy="360363"/>
            </a:xfrm>
            <a:grpFill/>
          </p:grpSpPr>
          <p:sp>
            <p:nvSpPr>
              <p:cNvPr id="77" name="Freeform 16">
                <a:extLst>
                  <a:ext uri="{FF2B5EF4-FFF2-40B4-BE49-F238E27FC236}">
                    <a16:creationId xmlns:a16="http://schemas.microsoft.com/office/drawing/2014/main" id="{483F6CD2-657E-661C-6BA9-A06027177584}"/>
                  </a:ext>
                </a:extLst>
              </p:cNvPr>
              <p:cNvSpPr>
                <a:spLocks noEditPoints="1"/>
              </p:cNvSpPr>
              <p:nvPr/>
            </p:nvSpPr>
            <p:spPr bwMode="auto">
              <a:xfrm>
                <a:off x="4116388" y="3968751"/>
                <a:ext cx="360363" cy="360363"/>
              </a:xfrm>
              <a:custGeom>
                <a:avLst/>
                <a:gdLst>
                  <a:gd name="T0" fmla="*/ 575 w 1361"/>
                  <a:gd name="T1" fmla="*/ 1352 h 1361"/>
                  <a:gd name="T2" fmla="*/ 532 w 1361"/>
                  <a:gd name="T3" fmla="*/ 1161 h 1361"/>
                  <a:gd name="T4" fmla="*/ 315 w 1361"/>
                  <a:gd name="T5" fmla="*/ 1245 h 1361"/>
                  <a:gd name="T6" fmla="*/ 279 w 1361"/>
                  <a:gd name="T7" fmla="*/ 1242 h 1361"/>
                  <a:gd name="T8" fmla="*/ 110 w 1361"/>
                  <a:gd name="T9" fmla="*/ 1061 h 1361"/>
                  <a:gd name="T10" fmla="*/ 227 w 1361"/>
                  <a:gd name="T11" fmla="*/ 911 h 1361"/>
                  <a:gd name="T12" fmla="*/ 22 w 1361"/>
                  <a:gd name="T13" fmla="*/ 793 h 1361"/>
                  <a:gd name="T14" fmla="*/ 0 w 1361"/>
                  <a:gd name="T15" fmla="*/ 765 h 1361"/>
                  <a:gd name="T16" fmla="*/ 12 w 1361"/>
                  <a:gd name="T17" fmla="*/ 572 h 1361"/>
                  <a:gd name="T18" fmla="*/ 209 w 1361"/>
                  <a:gd name="T19" fmla="*/ 498 h 1361"/>
                  <a:gd name="T20" fmla="*/ 112 w 1361"/>
                  <a:gd name="T21" fmla="*/ 310 h 1361"/>
                  <a:gd name="T22" fmla="*/ 118 w 1361"/>
                  <a:gd name="T23" fmla="*/ 279 h 1361"/>
                  <a:gd name="T24" fmla="*/ 304 w 1361"/>
                  <a:gd name="T25" fmla="*/ 111 h 1361"/>
                  <a:gd name="T26" fmla="*/ 465 w 1361"/>
                  <a:gd name="T27" fmla="*/ 221 h 1361"/>
                  <a:gd name="T28" fmla="*/ 569 w 1361"/>
                  <a:gd name="T29" fmla="*/ 17 h 1361"/>
                  <a:gd name="T30" fmla="*/ 765 w 1361"/>
                  <a:gd name="T31" fmla="*/ 0 h 1361"/>
                  <a:gd name="T32" fmla="*/ 791 w 1361"/>
                  <a:gd name="T33" fmla="*/ 17 h 1361"/>
                  <a:gd name="T34" fmla="*/ 895 w 1361"/>
                  <a:gd name="T35" fmla="*/ 221 h 1361"/>
                  <a:gd name="T36" fmla="*/ 1056 w 1361"/>
                  <a:gd name="T37" fmla="*/ 111 h 1361"/>
                  <a:gd name="T38" fmla="*/ 1241 w 1361"/>
                  <a:gd name="T39" fmla="*/ 279 h 1361"/>
                  <a:gd name="T40" fmla="*/ 1248 w 1361"/>
                  <a:gd name="T41" fmla="*/ 310 h 1361"/>
                  <a:gd name="T42" fmla="*/ 1151 w 1361"/>
                  <a:gd name="T43" fmla="*/ 498 h 1361"/>
                  <a:gd name="T44" fmla="*/ 1348 w 1361"/>
                  <a:gd name="T45" fmla="*/ 572 h 1361"/>
                  <a:gd name="T46" fmla="*/ 1361 w 1361"/>
                  <a:gd name="T47" fmla="*/ 765 h 1361"/>
                  <a:gd name="T48" fmla="*/ 1337 w 1361"/>
                  <a:gd name="T49" fmla="*/ 793 h 1361"/>
                  <a:gd name="T50" fmla="*/ 1132 w 1361"/>
                  <a:gd name="T51" fmla="*/ 911 h 1361"/>
                  <a:gd name="T52" fmla="*/ 1250 w 1361"/>
                  <a:gd name="T53" fmla="*/ 1061 h 1361"/>
                  <a:gd name="T54" fmla="*/ 1077 w 1361"/>
                  <a:gd name="T55" fmla="*/ 1245 h 1361"/>
                  <a:gd name="T56" fmla="*/ 1040 w 1361"/>
                  <a:gd name="T57" fmla="*/ 1242 h 1361"/>
                  <a:gd name="T58" fmla="*/ 793 w 1361"/>
                  <a:gd name="T59" fmla="*/ 1170 h 1361"/>
                  <a:gd name="T60" fmla="*/ 781 w 1361"/>
                  <a:gd name="T61" fmla="*/ 1356 h 1361"/>
                  <a:gd name="T62" fmla="*/ 736 w 1361"/>
                  <a:gd name="T63" fmla="*/ 1148 h 1361"/>
                  <a:gd name="T64" fmla="*/ 750 w 1361"/>
                  <a:gd name="T65" fmla="*/ 1125 h 1361"/>
                  <a:gd name="T66" fmla="*/ 878 w 1361"/>
                  <a:gd name="T67" fmla="*/ 1085 h 1361"/>
                  <a:gd name="T68" fmla="*/ 933 w 1361"/>
                  <a:gd name="T69" fmla="*/ 1063 h 1361"/>
                  <a:gd name="T70" fmla="*/ 1071 w 1361"/>
                  <a:gd name="T71" fmla="*/ 951 h 1361"/>
                  <a:gd name="T72" fmla="*/ 1064 w 1361"/>
                  <a:gd name="T73" fmla="*/ 925 h 1361"/>
                  <a:gd name="T74" fmla="*/ 1100 w 1361"/>
                  <a:gd name="T75" fmla="*/ 834 h 1361"/>
                  <a:gd name="T76" fmla="*/ 1130 w 1361"/>
                  <a:gd name="T77" fmla="*/ 743 h 1361"/>
                  <a:gd name="T78" fmla="*/ 1148 w 1361"/>
                  <a:gd name="T79" fmla="*/ 624 h 1361"/>
                  <a:gd name="T80" fmla="*/ 1124 w 1361"/>
                  <a:gd name="T81" fmla="*/ 610 h 1361"/>
                  <a:gd name="T82" fmla="*/ 1085 w 1361"/>
                  <a:gd name="T83" fmla="*/ 482 h 1361"/>
                  <a:gd name="T84" fmla="*/ 1063 w 1361"/>
                  <a:gd name="T85" fmla="*/ 427 h 1361"/>
                  <a:gd name="T86" fmla="*/ 951 w 1361"/>
                  <a:gd name="T87" fmla="*/ 289 h 1361"/>
                  <a:gd name="T88" fmla="*/ 924 w 1361"/>
                  <a:gd name="T89" fmla="*/ 297 h 1361"/>
                  <a:gd name="T90" fmla="*/ 841 w 1361"/>
                  <a:gd name="T91" fmla="*/ 263 h 1361"/>
                  <a:gd name="T92" fmla="*/ 742 w 1361"/>
                  <a:gd name="T93" fmla="*/ 230 h 1361"/>
                  <a:gd name="T94" fmla="*/ 623 w 1361"/>
                  <a:gd name="T95" fmla="*/ 212 h 1361"/>
                  <a:gd name="T96" fmla="*/ 610 w 1361"/>
                  <a:gd name="T97" fmla="*/ 237 h 1361"/>
                  <a:gd name="T98" fmla="*/ 482 w 1361"/>
                  <a:gd name="T99" fmla="*/ 275 h 1361"/>
                  <a:gd name="T100" fmla="*/ 426 w 1361"/>
                  <a:gd name="T101" fmla="*/ 297 h 1361"/>
                  <a:gd name="T102" fmla="*/ 289 w 1361"/>
                  <a:gd name="T103" fmla="*/ 409 h 1361"/>
                  <a:gd name="T104" fmla="*/ 297 w 1361"/>
                  <a:gd name="T105" fmla="*/ 436 h 1361"/>
                  <a:gd name="T106" fmla="*/ 260 w 1361"/>
                  <a:gd name="T107" fmla="*/ 527 h 1361"/>
                  <a:gd name="T108" fmla="*/ 229 w 1361"/>
                  <a:gd name="T109" fmla="*/ 617 h 1361"/>
                  <a:gd name="T110" fmla="*/ 212 w 1361"/>
                  <a:gd name="T111" fmla="*/ 737 h 1361"/>
                  <a:gd name="T112" fmla="*/ 235 w 1361"/>
                  <a:gd name="T113" fmla="*/ 750 h 1361"/>
                  <a:gd name="T114" fmla="*/ 275 w 1361"/>
                  <a:gd name="T115" fmla="*/ 878 h 1361"/>
                  <a:gd name="T116" fmla="*/ 297 w 1361"/>
                  <a:gd name="T117" fmla="*/ 935 h 1361"/>
                  <a:gd name="T118" fmla="*/ 409 w 1361"/>
                  <a:gd name="T119" fmla="*/ 1071 h 1361"/>
                  <a:gd name="T120" fmla="*/ 435 w 1361"/>
                  <a:gd name="T121" fmla="*/ 1064 h 1361"/>
                  <a:gd name="T122" fmla="*/ 526 w 1361"/>
                  <a:gd name="T123" fmla="*/ 1100 h 1361"/>
                  <a:gd name="T124" fmla="*/ 617 w 1361"/>
                  <a:gd name="T125" fmla="*/ 1131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1" h="1361">
                    <a:moveTo>
                      <a:pt x="765" y="1361"/>
                    </a:moveTo>
                    <a:lnTo>
                      <a:pt x="595" y="1361"/>
                    </a:lnTo>
                    <a:lnTo>
                      <a:pt x="595" y="1361"/>
                    </a:lnTo>
                    <a:lnTo>
                      <a:pt x="589" y="1360"/>
                    </a:lnTo>
                    <a:lnTo>
                      <a:pt x="584" y="1358"/>
                    </a:lnTo>
                    <a:lnTo>
                      <a:pt x="579" y="1356"/>
                    </a:lnTo>
                    <a:lnTo>
                      <a:pt x="575" y="1352"/>
                    </a:lnTo>
                    <a:lnTo>
                      <a:pt x="572" y="1348"/>
                    </a:lnTo>
                    <a:lnTo>
                      <a:pt x="569" y="1344"/>
                    </a:lnTo>
                    <a:lnTo>
                      <a:pt x="567" y="1338"/>
                    </a:lnTo>
                    <a:lnTo>
                      <a:pt x="567" y="1333"/>
                    </a:lnTo>
                    <a:lnTo>
                      <a:pt x="567" y="1170"/>
                    </a:lnTo>
                    <a:lnTo>
                      <a:pt x="567" y="1170"/>
                    </a:lnTo>
                    <a:lnTo>
                      <a:pt x="532" y="1161"/>
                    </a:lnTo>
                    <a:lnTo>
                      <a:pt x="498" y="1151"/>
                    </a:lnTo>
                    <a:lnTo>
                      <a:pt x="465" y="1140"/>
                    </a:lnTo>
                    <a:lnTo>
                      <a:pt x="449" y="1133"/>
                    </a:lnTo>
                    <a:lnTo>
                      <a:pt x="434" y="1127"/>
                    </a:lnTo>
                    <a:lnTo>
                      <a:pt x="319" y="1242"/>
                    </a:lnTo>
                    <a:lnTo>
                      <a:pt x="319" y="1242"/>
                    </a:lnTo>
                    <a:lnTo>
                      <a:pt x="315" y="1245"/>
                    </a:lnTo>
                    <a:lnTo>
                      <a:pt x="310" y="1248"/>
                    </a:lnTo>
                    <a:lnTo>
                      <a:pt x="305" y="1249"/>
                    </a:lnTo>
                    <a:lnTo>
                      <a:pt x="299" y="1250"/>
                    </a:lnTo>
                    <a:lnTo>
                      <a:pt x="294" y="1249"/>
                    </a:lnTo>
                    <a:lnTo>
                      <a:pt x="288" y="1248"/>
                    </a:lnTo>
                    <a:lnTo>
                      <a:pt x="284" y="1245"/>
                    </a:lnTo>
                    <a:lnTo>
                      <a:pt x="279" y="1242"/>
                    </a:lnTo>
                    <a:lnTo>
                      <a:pt x="118" y="1081"/>
                    </a:lnTo>
                    <a:lnTo>
                      <a:pt x="118" y="1081"/>
                    </a:lnTo>
                    <a:lnTo>
                      <a:pt x="115" y="1077"/>
                    </a:lnTo>
                    <a:lnTo>
                      <a:pt x="112" y="1072"/>
                    </a:lnTo>
                    <a:lnTo>
                      <a:pt x="111" y="1067"/>
                    </a:lnTo>
                    <a:lnTo>
                      <a:pt x="110" y="1061"/>
                    </a:lnTo>
                    <a:lnTo>
                      <a:pt x="110" y="1061"/>
                    </a:lnTo>
                    <a:lnTo>
                      <a:pt x="111" y="1056"/>
                    </a:lnTo>
                    <a:lnTo>
                      <a:pt x="112" y="1050"/>
                    </a:lnTo>
                    <a:lnTo>
                      <a:pt x="115" y="1046"/>
                    </a:lnTo>
                    <a:lnTo>
                      <a:pt x="118" y="1041"/>
                    </a:lnTo>
                    <a:lnTo>
                      <a:pt x="234" y="926"/>
                    </a:lnTo>
                    <a:lnTo>
                      <a:pt x="234" y="926"/>
                    </a:lnTo>
                    <a:lnTo>
                      <a:pt x="227" y="911"/>
                    </a:lnTo>
                    <a:lnTo>
                      <a:pt x="221" y="895"/>
                    </a:lnTo>
                    <a:lnTo>
                      <a:pt x="209" y="863"/>
                    </a:lnTo>
                    <a:lnTo>
                      <a:pt x="199" y="828"/>
                    </a:lnTo>
                    <a:lnTo>
                      <a:pt x="190" y="793"/>
                    </a:lnTo>
                    <a:lnTo>
                      <a:pt x="28" y="793"/>
                    </a:lnTo>
                    <a:lnTo>
                      <a:pt x="28" y="793"/>
                    </a:lnTo>
                    <a:lnTo>
                      <a:pt x="22" y="793"/>
                    </a:lnTo>
                    <a:lnTo>
                      <a:pt x="17" y="791"/>
                    </a:lnTo>
                    <a:lnTo>
                      <a:pt x="12" y="789"/>
                    </a:lnTo>
                    <a:lnTo>
                      <a:pt x="8" y="785"/>
                    </a:lnTo>
                    <a:lnTo>
                      <a:pt x="4" y="781"/>
                    </a:lnTo>
                    <a:lnTo>
                      <a:pt x="2" y="776"/>
                    </a:lnTo>
                    <a:lnTo>
                      <a:pt x="0" y="771"/>
                    </a:lnTo>
                    <a:lnTo>
                      <a:pt x="0" y="765"/>
                    </a:lnTo>
                    <a:lnTo>
                      <a:pt x="0" y="595"/>
                    </a:lnTo>
                    <a:lnTo>
                      <a:pt x="0" y="595"/>
                    </a:lnTo>
                    <a:lnTo>
                      <a:pt x="0" y="589"/>
                    </a:lnTo>
                    <a:lnTo>
                      <a:pt x="2" y="584"/>
                    </a:lnTo>
                    <a:lnTo>
                      <a:pt x="4" y="579"/>
                    </a:lnTo>
                    <a:lnTo>
                      <a:pt x="8" y="575"/>
                    </a:lnTo>
                    <a:lnTo>
                      <a:pt x="12" y="572"/>
                    </a:lnTo>
                    <a:lnTo>
                      <a:pt x="17" y="569"/>
                    </a:lnTo>
                    <a:lnTo>
                      <a:pt x="22" y="568"/>
                    </a:lnTo>
                    <a:lnTo>
                      <a:pt x="28" y="567"/>
                    </a:lnTo>
                    <a:lnTo>
                      <a:pt x="190" y="567"/>
                    </a:lnTo>
                    <a:lnTo>
                      <a:pt x="190" y="567"/>
                    </a:lnTo>
                    <a:lnTo>
                      <a:pt x="199" y="533"/>
                    </a:lnTo>
                    <a:lnTo>
                      <a:pt x="209" y="498"/>
                    </a:lnTo>
                    <a:lnTo>
                      <a:pt x="221" y="465"/>
                    </a:lnTo>
                    <a:lnTo>
                      <a:pt x="227" y="450"/>
                    </a:lnTo>
                    <a:lnTo>
                      <a:pt x="234" y="435"/>
                    </a:lnTo>
                    <a:lnTo>
                      <a:pt x="118" y="319"/>
                    </a:lnTo>
                    <a:lnTo>
                      <a:pt x="118" y="319"/>
                    </a:lnTo>
                    <a:lnTo>
                      <a:pt x="115" y="315"/>
                    </a:lnTo>
                    <a:lnTo>
                      <a:pt x="112" y="310"/>
                    </a:lnTo>
                    <a:lnTo>
                      <a:pt x="111" y="305"/>
                    </a:lnTo>
                    <a:lnTo>
                      <a:pt x="110" y="299"/>
                    </a:lnTo>
                    <a:lnTo>
                      <a:pt x="110" y="299"/>
                    </a:lnTo>
                    <a:lnTo>
                      <a:pt x="111" y="294"/>
                    </a:lnTo>
                    <a:lnTo>
                      <a:pt x="112" y="288"/>
                    </a:lnTo>
                    <a:lnTo>
                      <a:pt x="115" y="284"/>
                    </a:lnTo>
                    <a:lnTo>
                      <a:pt x="118" y="279"/>
                    </a:lnTo>
                    <a:lnTo>
                      <a:pt x="279" y="119"/>
                    </a:lnTo>
                    <a:lnTo>
                      <a:pt x="279" y="119"/>
                    </a:lnTo>
                    <a:lnTo>
                      <a:pt x="284" y="115"/>
                    </a:lnTo>
                    <a:lnTo>
                      <a:pt x="289" y="112"/>
                    </a:lnTo>
                    <a:lnTo>
                      <a:pt x="294" y="111"/>
                    </a:lnTo>
                    <a:lnTo>
                      <a:pt x="299" y="110"/>
                    </a:lnTo>
                    <a:lnTo>
                      <a:pt x="304" y="111"/>
                    </a:lnTo>
                    <a:lnTo>
                      <a:pt x="310" y="112"/>
                    </a:lnTo>
                    <a:lnTo>
                      <a:pt x="315" y="115"/>
                    </a:lnTo>
                    <a:lnTo>
                      <a:pt x="319" y="119"/>
                    </a:lnTo>
                    <a:lnTo>
                      <a:pt x="434" y="235"/>
                    </a:lnTo>
                    <a:lnTo>
                      <a:pt x="434" y="235"/>
                    </a:lnTo>
                    <a:lnTo>
                      <a:pt x="450" y="228"/>
                    </a:lnTo>
                    <a:lnTo>
                      <a:pt x="465" y="221"/>
                    </a:lnTo>
                    <a:lnTo>
                      <a:pt x="498" y="209"/>
                    </a:lnTo>
                    <a:lnTo>
                      <a:pt x="532" y="199"/>
                    </a:lnTo>
                    <a:lnTo>
                      <a:pt x="567" y="190"/>
                    </a:lnTo>
                    <a:lnTo>
                      <a:pt x="567" y="28"/>
                    </a:lnTo>
                    <a:lnTo>
                      <a:pt x="567" y="28"/>
                    </a:lnTo>
                    <a:lnTo>
                      <a:pt x="567" y="22"/>
                    </a:lnTo>
                    <a:lnTo>
                      <a:pt x="569" y="17"/>
                    </a:lnTo>
                    <a:lnTo>
                      <a:pt x="572" y="12"/>
                    </a:lnTo>
                    <a:lnTo>
                      <a:pt x="575" y="8"/>
                    </a:lnTo>
                    <a:lnTo>
                      <a:pt x="579" y="5"/>
                    </a:lnTo>
                    <a:lnTo>
                      <a:pt x="584" y="2"/>
                    </a:lnTo>
                    <a:lnTo>
                      <a:pt x="589" y="0"/>
                    </a:lnTo>
                    <a:lnTo>
                      <a:pt x="595" y="0"/>
                    </a:lnTo>
                    <a:lnTo>
                      <a:pt x="765" y="0"/>
                    </a:lnTo>
                    <a:lnTo>
                      <a:pt x="765" y="0"/>
                    </a:lnTo>
                    <a:lnTo>
                      <a:pt x="771" y="0"/>
                    </a:lnTo>
                    <a:lnTo>
                      <a:pt x="776" y="2"/>
                    </a:lnTo>
                    <a:lnTo>
                      <a:pt x="781" y="5"/>
                    </a:lnTo>
                    <a:lnTo>
                      <a:pt x="785" y="8"/>
                    </a:lnTo>
                    <a:lnTo>
                      <a:pt x="789" y="12"/>
                    </a:lnTo>
                    <a:lnTo>
                      <a:pt x="791" y="17"/>
                    </a:lnTo>
                    <a:lnTo>
                      <a:pt x="793" y="22"/>
                    </a:lnTo>
                    <a:lnTo>
                      <a:pt x="793" y="28"/>
                    </a:lnTo>
                    <a:lnTo>
                      <a:pt x="793" y="190"/>
                    </a:lnTo>
                    <a:lnTo>
                      <a:pt x="793" y="190"/>
                    </a:lnTo>
                    <a:lnTo>
                      <a:pt x="827" y="199"/>
                    </a:lnTo>
                    <a:lnTo>
                      <a:pt x="862" y="209"/>
                    </a:lnTo>
                    <a:lnTo>
                      <a:pt x="895" y="221"/>
                    </a:lnTo>
                    <a:lnTo>
                      <a:pt x="911" y="228"/>
                    </a:lnTo>
                    <a:lnTo>
                      <a:pt x="925" y="235"/>
                    </a:lnTo>
                    <a:lnTo>
                      <a:pt x="1040" y="119"/>
                    </a:lnTo>
                    <a:lnTo>
                      <a:pt x="1040" y="119"/>
                    </a:lnTo>
                    <a:lnTo>
                      <a:pt x="1046" y="115"/>
                    </a:lnTo>
                    <a:lnTo>
                      <a:pt x="1050" y="112"/>
                    </a:lnTo>
                    <a:lnTo>
                      <a:pt x="1056" y="111"/>
                    </a:lnTo>
                    <a:lnTo>
                      <a:pt x="1061" y="110"/>
                    </a:lnTo>
                    <a:lnTo>
                      <a:pt x="1066" y="111"/>
                    </a:lnTo>
                    <a:lnTo>
                      <a:pt x="1072" y="112"/>
                    </a:lnTo>
                    <a:lnTo>
                      <a:pt x="1076" y="115"/>
                    </a:lnTo>
                    <a:lnTo>
                      <a:pt x="1081" y="119"/>
                    </a:lnTo>
                    <a:lnTo>
                      <a:pt x="1241" y="279"/>
                    </a:lnTo>
                    <a:lnTo>
                      <a:pt x="1241" y="279"/>
                    </a:lnTo>
                    <a:lnTo>
                      <a:pt x="1244" y="284"/>
                    </a:lnTo>
                    <a:lnTo>
                      <a:pt x="1248" y="288"/>
                    </a:lnTo>
                    <a:lnTo>
                      <a:pt x="1249" y="294"/>
                    </a:lnTo>
                    <a:lnTo>
                      <a:pt x="1250" y="299"/>
                    </a:lnTo>
                    <a:lnTo>
                      <a:pt x="1250" y="299"/>
                    </a:lnTo>
                    <a:lnTo>
                      <a:pt x="1249" y="305"/>
                    </a:lnTo>
                    <a:lnTo>
                      <a:pt x="1248" y="310"/>
                    </a:lnTo>
                    <a:lnTo>
                      <a:pt x="1244" y="315"/>
                    </a:lnTo>
                    <a:lnTo>
                      <a:pt x="1241" y="319"/>
                    </a:lnTo>
                    <a:lnTo>
                      <a:pt x="1126" y="435"/>
                    </a:lnTo>
                    <a:lnTo>
                      <a:pt x="1126" y="435"/>
                    </a:lnTo>
                    <a:lnTo>
                      <a:pt x="1132" y="450"/>
                    </a:lnTo>
                    <a:lnTo>
                      <a:pt x="1139" y="465"/>
                    </a:lnTo>
                    <a:lnTo>
                      <a:pt x="1151" y="498"/>
                    </a:lnTo>
                    <a:lnTo>
                      <a:pt x="1161" y="533"/>
                    </a:lnTo>
                    <a:lnTo>
                      <a:pt x="1170" y="567"/>
                    </a:lnTo>
                    <a:lnTo>
                      <a:pt x="1331" y="567"/>
                    </a:lnTo>
                    <a:lnTo>
                      <a:pt x="1331" y="567"/>
                    </a:lnTo>
                    <a:lnTo>
                      <a:pt x="1337" y="568"/>
                    </a:lnTo>
                    <a:lnTo>
                      <a:pt x="1342" y="569"/>
                    </a:lnTo>
                    <a:lnTo>
                      <a:pt x="1348" y="572"/>
                    </a:lnTo>
                    <a:lnTo>
                      <a:pt x="1352" y="575"/>
                    </a:lnTo>
                    <a:lnTo>
                      <a:pt x="1356" y="579"/>
                    </a:lnTo>
                    <a:lnTo>
                      <a:pt x="1358" y="584"/>
                    </a:lnTo>
                    <a:lnTo>
                      <a:pt x="1360" y="589"/>
                    </a:lnTo>
                    <a:lnTo>
                      <a:pt x="1361" y="595"/>
                    </a:lnTo>
                    <a:lnTo>
                      <a:pt x="1361" y="765"/>
                    </a:lnTo>
                    <a:lnTo>
                      <a:pt x="1361" y="765"/>
                    </a:lnTo>
                    <a:lnTo>
                      <a:pt x="1360" y="771"/>
                    </a:lnTo>
                    <a:lnTo>
                      <a:pt x="1358" y="776"/>
                    </a:lnTo>
                    <a:lnTo>
                      <a:pt x="1356" y="781"/>
                    </a:lnTo>
                    <a:lnTo>
                      <a:pt x="1352" y="785"/>
                    </a:lnTo>
                    <a:lnTo>
                      <a:pt x="1348" y="789"/>
                    </a:lnTo>
                    <a:lnTo>
                      <a:pt x="1342" y="791"/>
                    </a:lnTo>
                    <a:lnTo>
                      <a:pt x="1337" y="793"/>
                    </a:lnTo>
                    <a:lnTo>
                      <a:pt x="1331" y="793"/>
                    </a:lnTo>
                    <a:lnTo>
                      <a:pt x="1170" y="793"/>
                    </a:lnTo>
                    <a:lnTo>
                      <a:pt x="1170" y="793"/>
                    </a:lnTo>
                    <a:lnTo>
                      <a:pt x="1161" y="828"/>
                    </a:lnTo>
                    <a:lnTo>
                      <a:pt x="1151" y="863"/>
                    </a:lnTo>
                    <a:lnTo>
                      <a:pt x="1138" y="895"/>
                    </a:lnTo>
                    <a:lnTo>
                      <a:pt x="1132" y="911"/>
                    </a:lnTo>
                    <a:lnTo>
                      <a:pt x="1126" y="926"/>
                    </a:lnTo>
                    <a:lnTo>
                      <a:pt x="1241" y="1041"/>
                    </a:lnTo>
                    <a:lnTo>
                      <a:pt x="1241" y="1041"/>
                    </a:lnTo>
                    <a:lnTo>
                      <a:pt x="1244" y="1046"/>
                    </a:lnTo>
                    <a:lnTo>
                      <a:pt x="1248" y="1051"/>
                    </a:lnTo>
                    <a:lnTo>
                      <a:pt x="1249" y="1056"/>
                    </a:lnTo>
                    <a:lnTo>
                      <a:pt x="1250" y="1061"/>
                    </a:lnTo>
                    <a:lnTo>
                      <a:pt x="1249" y="1067"/>
                    </a:lnTo>
                    <a:lnTo>
                      <a:pt x="1248" y="1072"/>
                    </a:lnTo>
                    <a:lnTo>
                      <a:pt x="1244" y="1077"/>
                    </a:lnTo>
                    <a:lnTo>
                      <a:pt x="1241" y="1081"/>
                    </a:lnTo>
                    <a:lnTo>
                      <a:pt x="1081" y="1242"/>
                    </a:lnTo>
                    <a:lnTo>
                      <a:pt x="1081" y="1242"/>
                    </a:lnTo>
                    <a:lnTo>
                      <a:pt x="1077" y="1245"/>
                    </a:lnTo>
                    <a:lnTo>
                      <a:pt x="1072" y="1248"/>
                    </a:lnTo>
                    <a:lnTo>
                      <a:pt x="1066" y="1249"/>
                    </a:lnTo>
                    <a:lnTo>
                      <a:pt x="1061" y="1250"/>
                    </a:lnTo>
                    <a:lnTo>
                      <a:pt x="1056" y="1249"/>
                    </a:lnTo>
                    <a:lnTo>
                      <a:pt x="1051" y="1248"/>
                    </a:lnTo>
                    <a:lnTo>
                      <a:pt x="1046" y="1245"/>
                    </a:lnTo>
                    <a:lnTo>
                      <a:pt x="1040" y="1242"/>
                    </a:lnTo>
                    <a:lnTo>
                      <a:pt x="925" y="1127"/>
                    </a:lnTo>
                    <a:lnTo>
                      <a:pt x="925" y="1127"/>
                    </a:lnTo>
                    <a:lnTo>
                      <a:pt x="911" y="1133"/>
                    </a:lnTo>
                    <a:lnTo>
                      <a:pt x="895" y="1140"/>
                    </a:lnTo>
                    <a:lnTo>
                      <a:pt x="862" y="1151"/>
                    </a:lnTo>
                    <a:lnTo>
                      <a:pt x="827" y="1161"/>
                    </a:lnTo>
                    <a:lnTo>
                      <a:pt x="793" y="1170"/>
                    </a:lnTo>
                    <a:lnTo>
                      <a:pt x="793" y="1333"/>
                    </a:lnTo>
                    <a:lnTo>
                      <a:pt x="793" y="1333"/>
                    </a:lnTo>
                    <a:lnTo>
                      <a:pt x="793" y="1338"/>
                    </a:lnTo>
                    <a:lnTo>
                      <a:pt x="791" y="1344"/>
                    </a:lnTo>
                    <a:lnTo>
                      <a:pt x="789" y="1348"/>
                    </a:lnTo>
                    <a:lnTo>
                      <a:pt x="785" y="1352"/>
                    </a:lnTo>
                    <a:lnTo>
                      <a:pt x="781" y="1356"/>
                    </a:lnTo>
                    <a:lnTo>
                      <a:pt x="776" y="1358"/>
                    </a:lnTo>
                    <a:lnTo>
                      <a:pt x="771" y="1360"/>
                    </a:lnTo>
                    <a:lnTo>
                      <a:pt x="765" y="1361"/>
                    </a:lnTo>
                    <a:lnTo>
                      <a:pt x="765" y="1361"/>
                    </a:lnTo>
                    <a:close/>
                    <a:moveTo>
                      <a:pt x="623" y="1304"/>
                    </a:moveTo>
                    <a:lnTo>
                      <a:pt x="736" y="1304"/>
                    </a:lnTo>
                    <a:lnTo>
                      <a:pt x="736" y="1148"/>
                    </a:lnTo>
                    <a:lnTo>
                      <a:pt x="736" y="1148"/>
                    </a:lnTo>
                    <a:lnTo>
                      <a:pt x="737" y="1144"/>
                    </a:lnTo>
                    <a:lnTo>
                      <a:pt x="738" y="1139"/>
                    </a:lnTo>
                    <a:lnTo>
                      <a:pt x="740" y="1135"/>
                    </a:lnTo>
                    <a:lnTo>
                      <a:pt x="742" y="1131"/>
                    </a:lnTo>
                    <a:lnTo>
                      <a:pt x="746" y="1128"/>
                    </a:lnTo>
                    <a:lnTo>
                      <a:pt x="750" y="1125"/>
                    </a:lnTo>
                    <a:lnTo>
                      <a:pt x="754" y="1123"/>
                    </a:lnTo>
                    <a:lnTo>
                      <a:pt x="759" y="1121"/>
                    </a:lnTo>
                    <a:lnTo>
                      <a:pt x="759" y="1121"/>
                    </a:lnTo>
                    <a:lnTo>
                      <a:pt x="790" y="1112"/>
                    </a:lnTo>
                    <a:lnTo>
                      <a:pt x="833" y="1100"/>
                    </a:lnTo>
                    <a:lnTo>
                      <a:pt x="856" y="1093"/>
                    </a:lnTo>
                    <a:lnTo>
                      <a:pt x="878" y="1085"/>
                    </a:lnTo>
                    <a:lnTo>
                      <a:pt x="898" y="1076"/>
                    </a:lnTo>
                    <a:lnTo>
                      <a:pt x="916" y="1067"/>
                    </a:lnTo>
                    <a:lnTo>
                      <a:pt x="916" y="1067"/>
                    </a:lnTo>
                    <a:lnTo>
                      <a:pt x="920" y="1065"/>
                    </a:lnTo>
                    <a:lnTo>
                      <a:pt x="924" y="1064"/>
                    </a:lnTo>
                    <a:lnTo>
                      <a:pt x="929" y="1063"/>
                    </a:lnTo>
                    <a:lnTo>
                      <a:pt x="933" y="1063"/>
                    </a:lnTo>
                    <a:lnTo>
                      <a:pt x="938" y="1064"/>
                    </a:lnTo>
                    <a:lnTo>
                      <a:pt x="942" y="1066"/>
                    </a:lnTo>
                    <a:lnTo>
                      <a:pt x="947" y="1068"/>
                    </a:lnTo>
                    <a:lnTo>
                      <a:pt x="951" y="1071"/>
                    </a:lnTo>
                    <a:lnTo>
                      <a:pt x="1061" y="1181"/>
                    </a:lnTo>
                    <a:lnTo>
                      <a:pt x="1181" y="1061"/>
                    </a:lnTo>
                    <a:lnTo>
                      <a:pt x="1071" y="951"/>
                    </a:lnTo>
                    <a:lnTo>
                      <a:pt x="1071" y="951"/>
                    </a:lnTo>
                    <a:lnTo>
                      <a:pt x="1068" y="947"/>
                    </a:lnTo>
                    <a:lnTo>
                      <a:pt x="1066" y="943"/>
                    </a:lnTo>
                    <a:lnTo>
                      <a:pt x="1064" y="939"/>
                    </a:lnTo>
                    <a:lnTo>
                      <a:pt x="1063" y="935"/>
                    </a:lnTo>
                    <a:lnTo>
                      <a:pt x="1063" y="930"/>
                    </a:lnTo>
                    <a:lnTo>
                      <a:pt x="1064" y="925"/>
                    </a:lnTo>
                    <a:lnTo>
                      <a:pt x="1065" y="921"/>
                    </a:lnTo>
                    <a:lnTo>
                      <a:pt x="1067" y="916"/>
                    </a:lnTo>
                    <a:lnTo>
                      <a:pt x="1067" y="916"/>
                    </a:lnTo>
                    <a:lnTo>
                      <a:pt x="1076" y="898"/>
                    </a:lnTo>
                    <a:lnTo>
                      <a:pt x="1085" y="878"/>
                    </a:lnTo>
                    <a:lnTo>
                      <a:pt x="1093" y="856"/>
                    </a:lnTo>
                    <a:lnTo>
                      <a:pt x="1100" y="834"/>
                    </a:lnTo>
                    <a:lnTo>
                      <a:pt x="1112" y="791"/>
                    </a:lnTo>
                    <a:lnTo>
                      <a:pt x="1120" y="759"/>
                    </a:lnTo>
                    <a:lnTo>
                      <a:pt x="1120" y="759"/>
                    </a:lnTo>
                    <a:lnTo>
                      <a:pt x="1122" y="754"/>
                    </a:lnTo>
                    <a:lnTo>
                      <a:pt x="1124" y="750"/>
                    </a:lnTo>
                    <a:lnTo>
                      <a:pt x="1127" y="746"/>
                    </a:lnTo>
                    <a:lnTo>
                      <a:pt x="1130" y="743"/>
                    </a:lnTo>
                    <a:lnTo>
                      <a:pt x="1134" y="741"/>
                    </a:lnTo>
                    <a:lnTo>
                      <a:pt x="1138" y="739"/>
                    </a:lnTo>
                    <a:lnTo>
                      <a:pt x="1143" y="738"/>
                    </a:lnTo>
                    <a:lnTo>
                      <a:pt x="1148" y="737"/>
                    </a:lnTo>
                    <a:lnTo>
                      <a:pt x="1303" y="737"/>
                    </a:lnTo>
                    <a:lnTo>
                      <a:pt x="1303" y="624"/>
                    </a:lnTo>
                    <a:lnTo>
                      <a:pt x="1148" y="624"/>
                    </a:lnTo>
                    <a:lnTo>
                      <a:pt x="1148" y="624"/>
                    </a:lnTo>
                    <a:lnTo>
                      <a:pt x="1142" y="624"/>
                    </a:lnTo>
                    <a:lnTo>
                      <a:pt x="1138" y="622"/>
                    </a:lnTo>
                    <a:lnTo>
                      <a:pt x="1134" y="620"/>
                    </a:lnTo>
                    <a:lnTo>
                      <a:pt x="1130" y="617"/>
                    </a:lnTo>
                    <a:lnTo>
                      <a:pt x="1127" y="614"/>
                    </a:lnTo>
                    <a:lnTo>
                      <a:pt x="1124" y="610"/>
                    </a:lnTo>
                    <a:lnTo>
                      <a:pt x="1122" y="606"/>
                    </a:lnTo>
                    <a:lnTo>
                      <a:pt x="1120" y="602"/>
                    </a:lnTo>
                    <a:lnTo>
                      <a:pt x="1120" y="602"/>
                    </a:lnTo>
                    <a:lnTo>
                      <a:pt x="1112" y="570"/>
                    </a:lnTo>
                    <a:lnTo>
                      <a:pt x="1100" y="528"/>
                    </a:lnTo>
                    <a:lnTo>
                      <a:pt x="1093" y="504"/>
                    </a:lnTo>
                    <a:lnTo>
                      <a:pt x="1085" y="482"/>
                    </a:lnTo>
                    <a:lnTo>
                      <a:pt x="1076" y="462"/>
                    </a:lnTo>
                    <a:lnTo>
                      <a:pt x="1067" y="445"/>
                    </a:lnTo>
                    <a:lnTo>
                      <a:pt x="1067" y="445"/>
                    </a:lnTo>
                    <a:lnTo>
                      <a:pt x="1065" y="440"/>
                    </a:lnTo>
                    <a:lnTo>
                      <a:pt x="1064" y="436"/>
                    </a:lnTo>
                    <a:lnTo>
                      <a:pt x="1063" y="431"/>
                    </a:lnTo>
                    <a:lnTo>
                      <a:pt x="1063" y="427"/>
                    </a:lnTo>
                    <a:lnTo>
                      <a:pt x="1064" y="421"/>
                    </a:lnTo>
                    <a:lnTo>
                      <a:pt x="1066" y="417"/>
                    </a:lnTo>
                    <a:lnTo>
                      <a:pt x="1068" y="413"/>
                    </a:lnTo>
                    <a:lnTo>
                      <a:pt x="1071" y="409"/>
                    </a:lnTo>
                    <a:lnTo>
                      <a:pt x="1181" y="299"/>
                    </a:lnTo>
                    <a:lnTo>
                      <a:pt x="1061" y="179"/>
                    </a:lnTo>
                    <a:lnTo>
                      <a:pt x="951" y="289"/>
                    </a:lnTo>
                    <a:lnTo>
                      <a:pt x="951" y="289"/>
                    </a:lnTo>
                    <a:lnTo>
                      <a:pt x="947" y="292"/>
                    </a:lnTo>
                    <a:lnTo>
                      <a:pt x="942" y="295"/>
                    </a:lnTo>
                    <a:lnTo>
                      <a:pt x="938" y="296"/>
                    </a:lnTo>
                    <a:lnTo>
                      <a:pt x="933" y="297"/>
                    </a:lnTo>
                    <a:lnTo>
                      <a:pt x="929" y="297"/>
                    </a:lnTo>
                    <a:lnTo>
                      <a:pt x="924" y="297"/>
                    </a:lnTo>
                    <a:lnTo>
                      <a:pt x="920" y="295"/>
                    </a:lnTo>
                    <a:lnTo>
                      <a:pt x="916" y="293"/>
                    </a:lnTo>
                    <a:lnTo>
                      <a:pt x="916" y="293"/>
                    </a:lnTo>
                    <a:lnTo>
                      <a:pt x="900" y="285"/>
                    </a:lnTo>
                    <a:lnTo>
                      <a:pt x="882" y="277"/>
                    </a:lnTo>
                    <a:lnTo>
                      <a:pt x="863" y="270"/>
                    </a:lnTo>
                    <a:lnTo>
                      <a:pt x="841" y="263"/>
                    </a:lnTo>
                    <a:lnTo>
                      <a:pt x="798" y="250"/>
                    </a:lnTo>
                    <a:lnTo>
                      <a:pt x="759" y="240"/>
                    </a:lnTo>
                    <a:lnTo>
                      <a:pt x="759" y="240"/>
                    </a:lnTo>
                    <a:lnTo>
                      <a:pt x="754" y="239"/>
                    </a:lnTo>
                    <a:lnTo>
                      <a:pt x="750" y="237"/>
                    </a:lnTo>
                    <a:lnTo>
                      <a:pt x="746" y="234"/>
                    </a:lnTo>
                    <a:lnTo>
                      <a:pt x="742" y="230"/>
                    </a:lnTo>
                    <a:lnTo>
                      <a:pt x="740" y="226"/>
                    </a:lnTo>
                    <a:lnTo>
                      <a:pt x="738" y="221"/>
                    </a:lnTo>
                    <a:lnTo>
                      <a:pt x="737" y="217"/>
                    </a:lnTo>
                    <a:lnTo>
                      <a:pt x="736" y="212"/>
                    </a:lnTo>
                    <a:lnTo>
                      <a:pt x="736" y="57"/>
                    </a:lnTo>
                    <a:lnTo>
                      <a:pt x="623" y="57"/>
                    </a:lnTo>
                    <a:lnTo>
                      <a:pt x="623" y="212"/>
                    </a:lnTo>
                    <a:lnTo>
                      <a:pt x="623" y="212"/>
                    </a:lnTo>
                    <a:lnTo>
                      <a:pt x="623" y="217"/>
                    </a:lnTo>
                    <a:lnTo>
                      <a:pt x="621" y="221"/>
                    </a:lnTo>
                    <a:lnTo>
                      <a:pt x="620" y="226"/>
                    </a:lnTo>
                    <a:lnTo>
                      <a:pt x="617" y="230"/>
                    </a:lnTo>
                    <a:lnTo>
                      <a:pt x="614" y="234"/>
                    </a:lnTo>
                    <a:lnTo>
                      <a:pt x="610" y="237"/>
                    </a:lnTo>
                    <a:lnTo>
                      <a:pt x="606" y="239"/>
                    </a:lnTo>
                    <a:lnTo>
                      <a:pt x="601" y="240"/>
                    </a:lnTo>
                    <a:lnTo>
                      <a:pt x="601" y="240"/>
                    </a:lnTo>
                    <a:lnTo>
                      <a:pt x="570" y="248"/>
                    </a:lnTo>
                    <a:lnTo>
                      <a:pt x="526" y="260"/>
                    </a:lnTo>
                    <a:lnTo>
                      <a:pt x="504" y="267"/>
                    </a:lnTo>
                    <a:lnTo>
                      <a:pt x="482" y="275"/>
                    </a:lnTo>
                    <a:lnTo>
                      <a:pt x="462" y="284"/>
                    </a:lnTo>
                    <a:lnTo>
                      <a:pt x="445" y="293"/>
                    </a:lnTo>
                    <a:lnTo>
                      <a:pt x="445" y="293"/>
                    </a:lnTo>
                    <a:lnTo>
                      <a:pt x="439" y="295"/>
                    </a:lnTo>
                    <a:lnTo>
                      <a:pt x="435" y="297"/>
                    </a:lnTo>
                    <a:lnTo>
                      <a:pt x="430" y="297"/>
                    </a:lnTo>
                    <a:lnTo>
                      <a:pt x="426" y="297"/>
                    </a:lnTo>
                    <a:lnTo>
                      <a:pt x="421" y="296"/>
                    </a:lnTo>
                    <a:lnTo>
                      <a:pt x="417" y="295"/>
                    </a:lnTo>
                    <a:lnTo>
                      <a:pt x="413" y="292"/>
                    </a:lnTo>
                    <a:lnTo>
                      <a:pt x="409" y="289"/>
                    </a:lnTo>
                    <a:lnTo>
                      <a:pt x="299" y="179"/>
                    </a:lnTo>
                    <a:lnTo>
                      <a:pt x="179" y="299"/>
                    </a:lnTo>
                    <a:lnTo>
                      <a:pt x="289" y="409"/>
                    </a:lnTo>
                    <a:lnTo>
                      <a:pt x="289" y="409"/>
                    </a:lnTo>
                    <a:lnTo>
                      <a:pt x="292" y="413"/>
                    </a:lnTo>
                    <a:lnTo>
                      <a:pt x="295" y="417"/>
                    </a:lnTo>
                    <a:lnTo>
                      <a:pt x="296" y="421"/>
                    </a:lnTo>
                    <a:lnTo>
                      <a:pt x="297" y="427"/>
                    </a:lnTo>
                    <a:lnTo>
                      <a:pt x="297" y="431"/>
                    </a:lnTo>
                    <a:lnTo>
                      <a:pt x="297" y="436"/>
                    </a:lnTo>
                    <a:lnTo>
                      <a:pt x="295" y="440"/>
                    </a:lnTo>
                    <a:lnTo>
                      <a:pt x="293" y="445"/>
                    </a:lnTo>
                    <a:lnTo>
                      <a:pt x="293" y="445"/>
                    </a:lnTo>
                    <a:lnTo>
                      <a:pt x="284" y="462"/>
                    </a:lnTo>
                    <a:lnTo>
                      <a:pt x="275" y="482"/>
                    </a:lnTo>
                    <a:lnTo>
                      <a:pt x="267" y="504"/>
                    </a:lnTo>
                    <a:lnTo>
                      <a:pt x="260" y="527"/>
                    </a:lnTo>
                    <a:lnTo>
                      <a:pt x="248" y="570"/>
                    </a:lnTo>
                    <a:lnTo>
                      <a:pt x="239" y="602"/>
                    </a:lnTo>
                    <a:lnTo>
                      <a:pt x="239" y="602"/>
                    </a:lnTo>
                    <a:lnTo>
                      <a:pt x="238" y="606"/>
                    </a:lnTo>
                    <a:lnTo>
                      <a:pt x="235" y="610"/>
                    </a:lnTo>
                    <a:lnTo>
                      <a:pt x="233" y="614"/>
                    </a:lnTo>
                    <a:lnTo>
                      <a:pt x="229" y="617"/>
                    </a:lnTo>
                    <a:lnTo>
                      <a:pt x="225" y="620"/>
                    </a:lnTo>
                    <a:lnTo>
                      <a:pt x="221" y="622"/>
                    </a:lnTo>
                    <a:lnTo>
                      <a:pt x="217" y="624"/>
                    </a:lnTo>
                    <a:lnTo>
                      <a:pt x="212" y="624"/>
                    </a:lnTo>
                    <a:lnTo>
                      <a:pt x="57" y="624"/>
                    </a:lnTo>
                    <a:lnTo>
                      <a:pt x="57" y="737"/>
                    </a:lnTo>
                    <a:lnTo>
                      <a:pt x="212" y="737"/>
                    </a:lnTo>
                    <a:lnTo>
                      <a:pt x="212" y="737"/>
                    </a:lnTo>
                    <a:lnTo>
                      <a:pt x="217" y="738"/>
                    </a:lnTo>
                    <a:lnTo>
                      <a:pt x="221" y="739"/>
                    </a:lnTo>
                    <a:lnTo>
                      <a:pt x="225" y="741"/>
                    </a:lnTo>
                    <a:lnTo>
                      <a:pt x="229" y="743"/>
                    </a:lnTo>
                    <a:lnTo>
                      <a:pt x="233" y="746"/>
                    </a:lnTo>
                    <a:lnTo>
                      <a:pt x="235" y="750"/>
                    </a:lnTo>
                    <a:lnTo>
                      <a:pt x="238" y="754"/>
                    </a:lnTo>
                    <a:lnTo>
                      <a:pt x="239" y="759"/>
                    </a:lnTo>
                    <a:lnTo>
                      <a:pt x="239" y="759"/>
                    </a:lnTo>
                    <a:lnTo>
                      <a:pt x="248" y="791"/>
                    </a:lnTo>
                    <a:lnTo>
                      <a:pt x="260" y="834"/>
                    </a:lnTo>
                    <a:lnTo>
                      <a:pt x="267" y="856"/>
                    </a:lnTo>
                    <a:lnTo>
                      <a:pt x="275" y="878"/>
                    </a:lnTo>
                    <a:lnTo>
                      <a:pt x="284" y="898"/>
                    </a:lnTo>
                    <a:lnTo>
                      <a:pt x="293" y="916"/>
                    </a:lnTo>
                    <a:lnTo>
                      <a:pt x="293" y="916"/>
                    </a:lnTo>
                    <a:lnTo>
                      <a:pt x="295" y="921"/>
                    </a:lnTo>
                    <a:lnTo>
                      <a:pt x="297" y="925"/>
                    </a:lnTo>
                    <a:lnTo>
                      <a:pt x="297" y="930"/>
                    </a:lnTo>
                    <a:lnTo>
                      <a:pt x="297" y="935"/>
                    </a:lnTo>
                    <a:lnTo>
                      <a:pt x="296" y="939"/>
                    </a:lnTo>
                    <a:lnTo>
                      <a:pt x="295" y="943"/>
                    </a:lnTo>
                    <a:lnTo>
                      <a:pt x="292" y="947"/>
                    </a:lnTo>
                    <a:lnTo>
                      <a:pt x="289" y="951"/>
                    </a:lnTo>
                    <a:lnTo>
                      <a:pt x="179" y="1061"/>
                    </a:lnTo>
                    <a:lnTo>
                      <a:pt x="299" y="1181"/>
                    </a:lnTo>
                    <a:lnTo>
                      <a:pt x="409" y="1071"/>
                    </a:lnTo>
                    <a:lnTo>
                      <a:pt x="409" y="1071"/>
                    </a:lnTo>
                    <a:lnTo>
                      <a:pt x="413" y="1068"/>
                    </a:lnTo>
                    <a:lnTo>
                      <a:pt x="417" y="1066"/>
                    </a:lnTo>
                    <a:lnTo>
                      <a:pt x="421" y="1064"/>
                    </a:lnTo>
                    <a:lnTo>
                      <a:pt x="426" y="1063"/>
                    </a:lnTo>
                    <a:lnTo>
                      <a:pt x="430" y="1063"/>
                    </a:lnTo>
                    <a:lnTo>
                      <a:pt x="435" y="1064"/>
                    </a:lnTo>
                    <a:lnTo>
                      <a:pt x="439" y="1065"/>
                    </a:lnTo>
                    <a:lnTo>
                      <a:pt x="445" y="1067"/>
                    </a:lnTo>
                    <a:lnTo>
                      <a:pt x="445" y="1067"/>
                    </a:lnTo>
                    <a:lnTo>
                      <a:pt x="462" y="1076"/>
                    </a:lnTo>
                    <a:lnTo>
                      <a:pt x="482" y="1085"/>
                    </a:lnTo>
                    <a:lnTo>
                      <a:pt x="504" y="1093"/>
                    </a:lnTo>
                    <a:lnTo>
                      <a:pt x="526" y="1100"/>
                    </a:lnTo>
                    <a:lnTo>
                      <a:pt x="570" y="1112"/>
                    </a:lnTo>
                    <a:lnTo>
                      <a:pt x="602" y="1121"/>
                    </a:lnTo>
                    <a:lnTo>
                      <a:pt x="602" y="1121"/>
                    </a:lnTo>
                    <a:lnTo>
                      <a:pt x="606" y="1123"/>
                    </a:lnTo>
                    <a:lnTo>
                      <a:pt x="610" y="1125"/>
                    </a:lnTo>
                    <a:lnTo>
                      <a:pt x="614" y="1128"/>
                    </a:lnTo>
                    <a:lnTo>
                      <a:pt x="617" y="1131"/>
                    </a:lnTo>
                    <a:lnTo>
                      <a:pt x="620" y="1135"/>
                    </a:lnTo>
                    <a:lnTo>
                      <a:pt x="621" y="1139"/>
                    </a:lnTo>
                    <a:lnTo>
                      <a:pt x="623" y="1144"/>
                    </a:lnTo>
                    <a:lnTo>
                      <a:pt x="623" y="1148"/>
                    </a:lnTo>
                    <a:lnTo>
                      <a:pt x="623" y="130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8" name="Freeform 17">
                <a:extLst>
                  <a:ext uri="{FF2B5EF4-FFF2-40B4-BE49-F238E27FC236}">
                    <a16:creationId xmlns:a16="http://schemas.microsoft.com/office/drawing/2014/main" id="{D6578757-5A31-34D5-05AC-26C585E76B9E}"/>
                  </a:ext>
                </a:extLst>
              </p:cNvPr>
              <p:cNvSpPr>
                <a:spLocks noEditPoints="1"/>
              </p:cNvSpPr>
              <p:nvPr/>
            </p:nvSpPr>
            <p:spPr bwMode="auto">
              <a:xfrm>
                <a:off x="4221163" y="4073526"/>
                <a:ext cx="150813" cy="150813"/>
              </a:xfrm>
              <a:custGeom>
                <a:avLst/>
                <a:gdLst>
                  <a:gd name="T0" fmla="*/ 255 w 568"/>
                  <a:gd name="T1" fmla="*/ 565 h 567"/>
                  <a:gd name="T2" fmla="*/ 200 w 568"/>
                  <a:gd name="T3" fmla="*/ 554 h 567"/>
                  <a:gd name="T4" fmla="*/ 149 w 568"/>
                  <a:gd name="T5" fmla="*/ 533 h 567"/>
                  <a:gd name="T6" fmla="*/ 104 w 568"/>
                  <a:gd name="T7" fmla="*/ 502 h 567"/>
                  <a:gd name="T8" fmla="*/ 66 w 568"/>
                  <a:gd name="T9" fmla="*/ 464 h 567"/>
                  <a:gd name="T10" fmla="*/ 34 w 568"/>
                  <a:gd name="T11" fmla="*/ 418 h 567"/>
                  <a:gd name="T12" fmla="*/ 13 w 568"/>
                  <a:gd name="T13" fmla="*/ 368 h 567"/>
                  <a:gd name="T14" fmla="*/ 2 w 568"/>
                  <a:gd name="T15" fmla="*/ 312 h 567"/>
                  <a:gd name="T16" fmla="*/ 1 w 568"/>
                  <a:gd name="T17" fmla="*/ 269 h 567"/>
                  <a:gd name="T18" fmla="*/ 9 w 568"/>
                  <a:gd name="T19" fmla="*/ 212 h 567"/>
                  <a:gd name="T20" fmla="*/ 28 w 568"/>
                  <a:gd name="T21" fmla="*/ 161 h 567"/>
                  <a:gd name="T22" fmla="*/ 57 w 568"/>
                  <a:gd name="T23" fmla="*/ 113 h 567"/>
                  <a:gd name="T24" fmla="*/ 94 w 568"/>
                  <a:gd name="T25" fmla="*/ 74 h 567"/>
                  <a:gd name="T26" fmla="*/ 137 w 568"/>
                  <a:gd name="T27" fmla="*/ 41 h 567"/>
                  <a:gd name="T28" fmla="*/ 187 w 568"/>
                  <a:gd name="T29" fmla="*/ 17 h 567"/>
                  <a:gd name="T30" fmla="*/ 240 w 568"/>
                  <a:gd name="T31" fmla="*/ 3 h 567"/>
                  <a:gd name="T32" fmla="*/ 284 w 568"/>
                  <a:gd name="T33" fmla="*/ 0 h 567"/>
                  <a:gd name="T34" fmla="*/ 341 w 568"/>
                  <a:gd name="T35" fmla="*/ 5 h 567"/>
                  <a:gd name="T36" fmla="*/ 394 w 568"/>
                  <a:gd name="T37" fmla="*/ 22 h 567"/>
                  <a:gd name="T38" fmla="*/ 442 w 568"/>
                  <a:gd name="T39" fmla="*/ 49 h 567"/>
                  <a:gd name="T40" fmla="*/ 484 w 568"/>
                  <a:gd name="T41" fmla="*/ 83 h 567"/>
                  <a:gd name="T42" fmla="*/ 519 w 568"/>
                  <a:gd name="T43" fmla="*/ 124 h 567"/>
                  <a:gd name="T44" fmla="*/ 545 w 568"/>
                  <a:gd name="T45" fmla="*/ 173 h 567"/>
                  <a:gd name="T46" fmla="*/ 562 w 568"/>
                  <a:gd name="T47" fmla="*/ 227 h 567"/>
                  <a:gd name="T48" fmla="*/ 568 w 568"/>
                  <a:gd name="T49" fmla="*/ 283 h 567"/>
                  <a:gd name="T50" fmla="*/ 564 w 568"/>
                  <a:gd name="T51" fmla="*/ 327 h 567"/>
                  <a:gd name="T52" fmla="*/ 551 w 568"/>
                  <a:gd name="T53" fmla="*/ 381 h 567"/>
                  <a:gd name="T54" fmla="*/ 526 w 568"/>
                  <a:gd name="T55" fmla="*/ 431 h 567"/>
                  <a:gd name="T56" fmla="*/ 494 w 568"/>
                  <a:gd name="T57" fmla="*/ 474 h 567"/>
                  <a:gd name="T58" fmla="*/ 454 w 568"/>
                  <a:gd name="T59" fmla="*/ 510 h 567"/>
                  <a:gd name="T60" fmla="*/ 407 w 568"/>
                  <a:gd name="T61" fmla="*/ 539 h 567"/>
                  <a:gd name="T62" fmla="*/ 355 w 568"/>
                  <a:gd name="T63" fmla="*/ 558 h 567"/>
                  <a:gd name="T64" fmla="*/ 299 w 568"/>
                  <a:gd name="T65" fmla="*/ 566 h 567"/>
                  <a:gd name="T66" fmla="*/ 284 w 568"/>
                  <a:gd name="T67" fmla="*/ 57 h 567"/>
                  <a:gd name="T68" fmla="*/ 196 w 568"/>
                  <a:gd name="T69" fmla="*/ 74 h 567"/>
                  <a:gd name="T70" fmla="*/ 123 w 568"/>
                  <a:gd name="T71" fmla="*/ 123 h 567"/>
                  <a:gd name="T72" fmla="*/ 75 w 568"/>
                  <a:gd name="T73" fmla="*/ 195 h 567"/>
                  <a:gd name="T74" fmla="*/ 58 w 568"/>
                  <a:gd name="T75" fmla="*/ 283 h 567"/>
                  <a:gd name="T76" fmla="*/ 68 w 568"/>
                  <a:gd name="T77" fmla="*/ 351 h 567"/>
                  <a:gd name="T78" fmla="*/ 109 w 568"/>
                  <a:gd name="T79" fmla="*/ 428 h 567"/>
                  <a:gd name="T80" fmla="*/ 176 w 568"/>
                  <a:gd name="T81" fmla="*/ 483 h 567"/>
                  <a:gd name="T82" fmla="*/ 261 w 568"/>
                  <a:gd name="T83" fmla="*/ 509 h 567"/>
                  <a:gd name="T84" fmla="*/ 329 w 568"/>
                  <a:gd name="T85" fmla="*/ 505 h 567"/>
                  <a:gd name="T86" fmla="*/ 411 w 568"/>
                  <a:gd name="T87" fmla="*/ 471 h 567"/>
                  <a:gd name="T88" fmla="*/ 472 w 568"/>
                  <a:gd name="T89" fmla="*/ 410 h 567"/>
                  <a:gd name="T90" fmla="*/ 506 w 568"/>
                  <a:gd name="T91" fmla="*/ 329 h 567"/>
                  <a:gd name="T92" fmla="*/ 509 w 568"/>
                  <a:gd name="T93" fmla="*/ 260 h 567"/>
                  <a:gd name="T94" fmla="*/ 483 w 568"/>
                  <a:gd name="T95" fmla="*/ 175 h 567"/>
                  <a:gd name="T96" fmla="*/ 428 w 568"/>
                  <a:gd name="T97" fmla="*/ 108 h 567"/>
                  <a:gd name="T98" fmla="*/ 352 w 568"/>
                  <a:gd name="T99" fmla="*/ 67 h 567"/>
                  <a:gd name="T100" fmla="*/ 284 w 568"/>
                  <a:gd name="T101" fmla="*/ 57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8" h="567">
                    <a:moveTo>
                      <a:pt x="284" y="567"/>
                    </a:moveTo>
                    <a:lnTo>
                      <a:pt x="284" y="567"/>
                    </a:lnTo>
                    <a:lnTo>
                      <a:pt x="270" y="566"/>
                    </a:lnTo>
                    <a:lnTo>
                      <a:pt x="255" y="565"/>
                    </a:lnTo>
                    <a:lnTo>
                      <a:pt x="240" y="564"/>
                    </a:lnTo>
                    <a:lnTo>
                      <a:pt x="227" y="561"/>
                    </a:lnTo>
                    <a:lnTo>
                      <a:pt x="213" y="558"/>
                    </a:lnTo>
                    <a:lnTo>
                      <a:pt x="200" y="554"/>
                    </a:lnTo>
                    <a:lnTo>
                      <a:pt x="187" y="550"/>
                    </a:lnTo>
                    <a:lnTo>
                      <a:pt x="174" y="545"/>
                    </a:lnTo>
                    <a:lnTo>
                      <a:pt x="162" y="539"/>
                    </a:lnTo>
                    <a:lnTo>
                      <a:pt x="149" y="533"/>
                    </a:lnTo>
                    <a:lnTo>
                      <a:pt x="137" y="526"/>
                    </a:lnTo>
                    <a:lnTo>
                      <a:pt x="125" y="518"/>
                    </a:lnTo>
                    <a:lnTo>
                      <a:pt x="114" y="510"/>
                    </a:lnTo>
                    <a:lnTo>
                      <a:pt x="104" y="502"/>
                    </a:lnTo>
                    <a:lnTo>
                      <a:pt x="94" y="493"/>
                    </a:lnTo>
                    <a:lnTo>
                      <a:pt x="84" y="484"/>
                    </a:lnTo>
                    <a:lnTo>
                      <a:pt x="74" y="474"/>
                    </a:lnTo>
                    <a:lnTo>
                      <a:pt x="66" y="464"/>
                    </a:lnTo>
                    <a:lnTo>
                      <a:pt x="57" y="453"/>
                    </a:lnTo>
                    <a:lnTo>
                      <a:pt x="49" y="442"/>
                    </a:lnTo>
                    <a:lnTo>
                      <a:pt x="41" y="431"/>
                    </a:lnTo>
                    <a:lnTo>
                      <a:pt x="34" y="418"/>
                    </a:lnTo>
                    <a:lnTo>
                      <a:pt x="28" y="406"/>
                    </a:lnTo>
                    <a:lnTo>
                      <a:pt x="23" y="393"/>
                    </a:lnTo>
                    <a:lnTo>
                      <a:pt x="18" y="381"/>
                    </a:lnTo>
                    <a:lnTo>
                      <a:pt x="13" y="368"/>
                    </a:lnTo>
                    <a:lnTo>
                      <a:pt x="9" y="354"/>
                    </a:lnTo>
                    <a:lnTo>
                      <a:pt x="6" y="341"/>
                    </a:lnTo>
                    <a:lnTo>
                      <a:pt x="4" y="327"/>
                    </a:lnTo>
                    <a:lnTo>
                      <a:pt x="2" y="312"/>
                    </a:lnTo>
                    <a:lnTo>
                      <a:pt x="1" y="298"/>
                    </a:lnTo>
                    <a:lnTo>
                      <a:pt x="0" y="283"/>
                    </a:lnTo>
                    <a:lnTo>
                      <a:pt x="0" y="283"/>
                    </a:lnTo>
                    <a:lnTo>
                      <a:pt x="1" y="269"/>
                    </a:lnTo>
                    <a:lnTo>
                      <a:pt x="2" y="255"/>
                    </a:lnTo>
                    <a:lnTo>
                      <a:pt x="4" y="241"/>
                    </a:lnTo>
                    <a:lnTo>
                      <a:pt x="6" y="227"/>
                    </a:lnTo>
                    <a:lnTo>
                      <a:pt x="9" y="212"/>
                    </a:lnTo>
                    <a:lnTo>
                      <a:pt x="13" y="199"/>
                    </a:lnTo>
                    <a:lnTo>
                      <a:pt x="18" y="186"/>
                    </a:lnTo>
                    <a:lnTo>
                      <a:pt x="23" y="173"/>
                    </a:lnTo>
                    <a:lnTo>
                      <a:pt x="28" y="161"/>
                    </a:lnTo>
                    <a:lnTo>
                      <a:pt x="34" y="149"/>
                    </a:lnTo>
                    <a:lnTo>
                      <a:pt x="41" y="137"/>
                    </a:lnTo>
                    <a:lnTo>
                      <a:pt x="49" y="124"/>
                    </a:lnTo>
                    <a:lnTo>
                      <a:pt x="57" y="113"/>
                    </a:lnTo>
                    <a:lnTo>
                      <a:pt x="66" y="103"/>
                    </a:lnTo>
                    <a:lnTo>
                      <a:pt x="74" y="93"/>
                    </a:lnTo>
                    <a:lnTo>
                      <a:pt x="84" y="83"/>
                    </a:lnTo>
                    <a:lnTo>
                      <a:pt x="94" y="74"/>
                    </a:lnTo>
                    <a:lnTo>
                      <a:pt x="104" y="65"/>
                    </a:lnTo>
                    <a:lnTo>
                      <a:pt x="114" y="56"/>
                    </a:lnTo>
                    <a:lnTo>
                      <a:pt x="125" y="49"/>
                    </a:lnTo>
                    <a:lnTo>
                      <a:pt x="137" y="41"/>
                    </a:lnTo>
                    <a:lnTo>
                      <a:pt x="149" y="34"/>
                    </a:lnTo>
                    <a:lnTo>
                      <a:pt x="162" y="28"/>
                    </a:lnTo>
                    <a:lnTo>
                      <a:pt x="174" y="22"/>
                    </a:lnTo>
                    <a:lnTo>
                      <a:pt x="187" y="17"/>
                    </a:lnTo>
                    <a:lnTo>
                      <a:pt x="200" y="12"/>
                    </a:lnTo>
                    <a:lnTo>
                      <a:pt x="213" y="8"/>
                    </a:lnTo>
                    <a:lnTo>
                      <a:pt x="227" y="5"/>
                    </a:lnTo>
                    <a:lnTo>
                      <a:pt x="240" y="3"/>
                    </a:lnTo>
                    <a:lnTo>
                      <a:pt x="255" y="1"/>
                    </a:lnTo>
                    <a:lnTo>
                      <a:pt x="270" y="0"/>
                    </a:lnTo>
                    <a:lnTo>
                      <a:pt x="284" y="0"/>
                    </a:lnTo>
                    <a:lnTo>
                      <a:pt x="284" y="0"/>
                    </a:lnTo>
                    <a:lnTo>
                      <a:pt x="299" y="0"/>
                    </a:lnTo>
                    <a:lnTo>
                      <a:pt x="313" y="1"/>
                    </a:lnTo>
                    <a:lnTo>
                      <a:pt x="327" y="3"/>
                    </a:lnTo>
                    <a:lnTo>
                      <a:pt x="341" y="5"/>
                    </a:lnTo>
                    <a:lnTo>
                      <a:pt x="355" y="8"/>
                    </a:lnTo>
                    <a:lnTo>
                      <a:pt x="368" y="12"/>
                    </a:lnTo>
                    <a:lnTo>
                      <a:pt x="381" y="17"/>
                    </a:lnTo>
                    <a:lnTo>
                      <a:pt x="394" y="22"/>
                    </a:lnTo>
                    <a:lnTo>
                      <a:pt x="407" y="28"/>
                    </a:lnTo>
                    <a:lnTo>
                      <a:pt x="419" y="34"/>
                    </a:lnTo>
                    <a:lnTo>
                      <a:pt x="430" y="41"/>
                    </a:lnTo>
                    <a:lnTo>
                      <a:pt x="442" y="49"/>
                    </a:lnTo>
                    <a:lnTo>
                      <a:pt x="454" y="56"/>
                    </a:lnTo>
                    <a:lnTo>
                      <a:pt x="464" y="65"/>
                    </a:lnTo>
                    <a:lnTo>
                      <a:pt x="475" y="74"/>
                    </a:lnTo>
                    <a:lnTo>
                      <a:pt x="484" y="83"/>
                    </a:lnTo>
                    <a:lnTo>
                      <a:pt x="494" y="93"/>
                    </a:lnTo>
                    <a:lnTo>
                      <a:pt x="503" y="103"/>
                    </a:lnTo>
                    <a:lnTo>
                      <a:pt x="511" y="113"/>
                    </a:lnTo>
                    <a:lnTo>
                      <a:pt x="519" y="124"/>
                    </a:lnTo>
                    <a:lnTo>
                      <a:pt x="526" y="137"/>
                    </a:lnTo>
                    <a:lnTo>
                      <a:pt x="533" y="149"/>
                    </a:lnTo>
                    <a:lnTo>
                      <a:pt x="539" y="161"/>
                    </a:lnTo>
                    <a:lnTo>
                      <a:pt x="545" y="173"/>
                    </a:lnTo>
                    <a:lnTo>
                      <a:pt x="551" y="186"/>
                    </a:lnTo>
                    <a:lnTo>
                      <a:pt x="555" y="199"/>
                    </a:lnTo>
                    <a:lnTo>
                      <a:pt x="559" y="212"/>
                    </a:lnTo>
                    <a:lnTo>
                      <a:pt x="562" y="227"/>
                    </a:lnTo>
                    <a:lnTo>
                      <a:pt x="564" y="241"/>
                    </a:lnTo>
                    <a:lnTo>
                      <a:pt x="566" y="255"/>
                    </a:lnTo>
                    <a:lnTo>
                      <a:pt x="567" y="269"/>
                    </a:lnTo>
                    <a:lnTo>
                      <a:pt x="568" y="283"/>
                    </a:lnTo>
                    <a:lnTo>
                      <a:pt x="568" y="283"/>
                    </a:lnTo>
                    <a:lnTo>
                      <a:pt x="567" y="298"/>
                    </a:lnTo>
                    <a:lnTo>
                      <a:pt x="566" y="312"/>
                    </a:lnTo>
                    <a:lnTo>
                      <a:pt x="564" y="327"/>
                    </a:lnTo>
                    <a:lnTo>
                      <a:pt x="562" y="341"/>
                    </a:lnTo>
                    <a:lnTo>
                      <a:pt x="559" y="354"/>
                    </a:lnTo>
                    <a:lnTo>
                      <a:pt x="555" y="368"/>
                    </a:lnTo>
                    <a:lnTo>
                      <a:pt x="551" y="381"/>
                    </a:lnTo>
                    <a:lnTo>
                      <a:pt x="545" y="393"/>
                    </a:lnTo>
                    <a:lnTo>
                      <a:pt x="539" y="406"/>
                    </a:lnTo>
                    <a:lnTo>
                      <a:pt x="533" y="418"/>
                    </a:lnTo>
                    <a:lnTo>
                      <a:pt x="526" y="431"/>
                    </a:lnTo>
                    <a:lnTo>
                      <a:pt x="519" y="442"/>
                    </a:lnTo>
                    <a:lnTo>
                      <a:pt x="511" y="453"/>
                    </a:lnTo>
                    <a:lnTo>
                      <a:pt x="503" y="464"/>
                    </a:lnTo>
                    <a:lnTo>
                      <a:pt x="494" y="474"/>
                    </a:lnTo>
                    <a:lnTo>
                      <a:pt x="484" y="484"/>
                    </a:lnTo>
                    <a:lnTo>
                      <a:pt x="475" y="493"/>
                    </a:lnTo>
                    <a:lnTo>
                      <a:pt x="464" y="502"/>
                    </a:lnTo>
                    <a:lnTo>
                      <a:pt x="454" y="510"/>
                    </a:lnTo>
                    <a:lnTo>
                      <a:pt x="442" y="518"/>
                    </a:lnTo>
                    <a:lnTo>
                      <a:pt x="430" y="526"/>
                    </a:lnTo>
                    <a:lnTo>
                      <a:pt x="419" y="533"/>
                    </a:lnTo>
                    <a:lnTo>
                      <a:pt x="407" y="539"/>
                    </a:lnTo>
                    <a:lnTo>
                      <a:pt x="394" y="545"/>
                    </a:lnTo>
                    <a:lnTo>
                      <a:pt x="381" y="550"/>
                    </a:lnTo>
                    <a:lnTo>
                      <a:pt x="368" y="554"/>
                    </a:lnTo>
                    <a:lnTo>
                      <a:pt x="355" y="558"/>
                    </a:lnTo>
                    <a:lnTo>
                      <a:pt x="341" y="561"/>
                    </a:lnTo>
                    <a:lnTo>
                      <a:pt x="327" y="564"/>
                    </a:lnTo>
                    <a:lnTo>
                      <a:pt x="313" y="565"/>
                    </a:lnTo>
                    <a:lnTo>
                      <a:pt x="299" y="566"/>
                    </a:lnTo>
                    <a:lnTo>
                      <a:pt x="284" y="567"/>
                    </a:lnTo>
                    <a:lnTo>
                      <a:pt x="284" y="567"/>
                    </a:lnTo>
                    <a:close/>
                    <a:moveTo>
                      <a:pt x="284" y="57"/>
                    </a:moveTo>
                    <a:lnTo>
                      <a:pt x="284" y="57"/>
                    </a:lnTo>
                    <a:lnTo>
                      <a:pt x="261" y="58"/>
                    </a:lnTo>
                    <a:lnTo>
                      <a:pt x="238" y="61"/>
                    </a:lnTo>
                    <a:lnTo>
                      <a:pt x="216" y="67"/>
                    </a:lnTo>
                    <a:lnTo>
                      <a:pt x="196" y="74"/>
                    </a:lnTo>
                    <a:lnTo>
                      <a:pt x="176" y="84"/>
                    </a:lnTo>
                    <a:lnTo>
                      <a:pt x="158" y="95"/>
                    </a:lnTo>
                    <a:lnTo>
                      <a:pt x="139" y="108"/>
                    </a:lnTo>
                    <a:lnTo>
                      <a:pt x="123" y="123"/>
                    </a:lnTo>
                    <a:lnTo>
                      <a:pt x="109" y="139"/>
                    </a:lnTo>
                    <a:lnTo>
                      <a:pt x="96" y="157"/>
                    </a:lnTo>
                    <a:lnTo>
                      <a:pt x="85" y="175"/>
                    </a:lnTo>
                    <a:lnTo>
                      <a:pt x="75" y="195"/>
                    </a:lnTo>
                    <a:lnTo>
                      <a:pt x="68" y="216"/>
                    </a:lnTo>
                    <a:lnTo>
                      <a:pt x="62" y="238"/>
                    </a:lnTo>
                    <a:lnTo>
                      <a:pt x="59" y="260"/>
                    </a:lnTo>
                    <a:lnTo>
                      <a:pt x="58" y="283"/>
                    </a:lnTo>
                    <a:lnTo>
                      <a:pt x="58" y="283"/>
                    </a:lnTo>
                    <a:lnTo>
                      <a:pt x="59" y="306"/>
                    </a:lnTo>
                    <a:lnTo>
                      <a:pt x="62" y="329"/>
                    </a:lnTo>
                    <a:lnTo>
                      <a:pt x="68" y="351"/>
                    </a:lnTo>
                    <a:lnTo>
                      <a:pt x="75" y="371"/>
                    </a:lnTo>
                    <a:lnTo>
                      <a:pt x="85" y="391"/>
                    </a:lnTo>
                    <a:lnTo>
                      <a:pt x="96" y="410"/>
                    </a:lnTo>
                    <a:lnTo>
                      <a:pt x="109" y="428"/>
                    </a:lnTo>
                    <a:lnTo>
                      <a:pt x="123" y="444"/>
                    </a:lnTo>
                    <a:lnTo>
                      <a:pt x="139" y="458"/>
                    </a:lnTo>
                    <a:lnTo>
                      <a:pt x="158" y="471"/>
                    </a:lnTo>
                    <a:lnTo>
                      <a:pt x="176" y="483"/>
                    </a:lnTo>
                    <a:lnTo>
                      <a:pt x="196" y="492"/>
                    </a:lnTo>
                    <a:lnTo>
                      <a:pt x="216" y="500"/>
                    </a:lnTo>
                    <a:lnTo>
                      <a:pt x="238" y="505"/>
                    </a:lnTo>
                    <a:lnTo>
                      <a:pt x="261" y="509"/>
                    </a:lnTo>
                    <a:lnTo>
                      <a:pt x="284" y="510"/>
                    </a:lnTo>
                    <a:lnTo>
                      <a:pt x="284" y="510"/>
                    </a:lnTo>
                    <a:lnTo>
                      <a:pt x="307" y="509"/>
                    </a:lnTo>
                    <a:lnTo>
                      <a:pt x="329" y="505"/>
                    </a:lnTo>
                    <a:lnTo>
                      <a:pt x="352" y="500"/>
                    </a:lnTo>
                    <a:lnTo>
                      <a:pt x="372" y="492"/>
                    </a:lnTo>
                    <a:lnTo>
                      <a:pt x="392" y="483"/>
                    </a:lnTo>
                    <a:lnTo>
                      <a:pt x="411" y="471"/>
                    </a:lnTo>
                    <a:lnTo>
                      <a:pt x="428" y="458"/>
                    </a:lnTo>
                    <a:lnTo>
                      <a:pt x="444" y="444"/>
                    </a:lnTo>
                    <a:lnTo>
                      <a:pt x="459" y="428"/>
                    </a:lnTo>
                    <a:lnTo>
                      <a:pt x="472" y="410"/>
                    </a:lnTo>
                    <a:lnTo>
                      <a:pt x="483" y="391"/>
                    </a:lnTo>
                    <a:lnTo>
                      <a:pt x="493" y="371"/>
                    </a:lnTo>
                    <a:lnTo>
                      <a:pt x="500" y="351"/>
                    </a:lnTo>
                    <a:lnTo>
                      <a:pt x="506" y="329"/>
                    </a:lnTo>
                    <a:lnTo>
                      <a:pt x="509" y="306"/>
                    </a:lnTo>
                    <a:lnTo>
                      <a:pt x="511" y="283"/>
                    </a:lnTo>
                    <a:lnTo>
                      <a:pt x="511" y="283"/>
                    </a:lnTo>
                    <a:lnTo>
                      <a:pt x="509" y="260"/>
                    </a:lnTo>
                    <a:lnTo>
                      <a:pt x="506" y="238"/>
                    </a:lnTo>
                    <a:lnTo>
                      <a:pt x="500" y="216"/>
                    </a:lnTo>
                    <a:lnTo>
                      <a:pt x="493" y="195"/>
                    </a:lnTo>
                    <a:lnTo>
                      <a:pt x="483" y="175"/>
                    </a:lnTo>
                    <a:lnTo>
                      <a:pt x="472" y="157"/>
                    </a:lnTo>
                    <a:lnTo>
                      <a:pt x="459" y="139"/>
                    </a:lnTo>
                    <a:lnTo>
                      <a:pt x="444" y="123"/>
                    </a:lnTo>
                    <a:lnTo>
                      <a:pt x="428" y="108"/>
                    </a:lnTo>
                    <a:lnTo>
                      <a:pt x="411" y="95"/>
                    </a:lnTo>
                    <a:lnTo>
                      <a:pt x="392" y="84"/>
                    </a:lnTo>
                    <a:lnTo>
                      <a:pt x="372" y="74"/>
                    </a:lnTo>
                    <a:lnTo>
                      <a:pt x="352" y="67"/>
                    </a:lnTo>
                    <a:lnTo>
                      <a:pt x="329" y="61"/>
                    </a:lnTo>
                    <a:lnTo>
                      <a:pt x="307" y="58"/>
                    </a:lnTo>
                    <a:lnTo>
                      <a:pt x="284" y="57"/>
                    </a:lnTo>
                    <a:lnTo>
                      <a:pt x="284" y="5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sp>
        <p:nvSpPr>
          <p:cNvPr id="126" name="Freeform 474">
            <a:extLst>
              <a:ext uri="{FF2B5EF4-FFF2-40B4-BE49-F238E27FC236}">
                <a16:creationId xmlns:a16="http://schemas.microsoft.com/office/drawing/2014/main" id="{298DED39-2A2C-D0C9-F5C3-83A585CDE21D}"/>
              </a:ext>
            </a:extLst>
          </p:cNvPr>
          <p:cNvSpPr>
            <a:spLocks/>
          </p:cNvSpPr>
          <p:nvPr/>
        </p:nvSpPr>
        <p:spPr bwMode="auto">
          <a:xfrm>
            <a:off x="11704159" y="2368353"/>
            <a:ext cx="195263" cy="344488"/>
          </a:xfrm>
          <a:custGeom>
            <a:avLst/>
            <a:gdLst>
              <a:gd name="T0" fmla="*/ 0 w 123"/>
              <a:gd name="T1" fmla="*/ 217 h 217"/>
              <a:gd name="T2" fmla="*/ 123 w 123"/>
              <a:gd name="T3" fmla="*/ 108 h 217"/>
              <a:gd name="T4" fmla="*/ 0 w 123"/>
              <a:gd name="T5" fmla="*/ 0 h 217"/>
            </a:gdLst>
            <a:ahLst/>
            <a:cxnLst>
              <a:cxn ang="0">
                <a:pos x="T0" y="T1"/>
              </a:cxn>
              <a:cxn ang="0">
                <a:pos x="T2" y="T3"/>
              </a:cxn>
              <a:cxn ang="0">
                <a:pos x="T4" y="T5"/>
              </a:cxn>
            </a:cxnLst>
            <a:rect l="0" t="0" r="r" b="b"/>
            <a:pathLst>
              <a:path w="123" h="217">
                <a:moveTo>
                  <a:pt x="0" y="217"/>
                </a:moveTo>
                <a:lnTo>
                  <a:pt x="123" y="108"/>
                </a:lnTo>
                <a:lnTo>
                  <a:pt x="0" y="0"/>
                </a:lnTo>
              </a:path>
            </a:pathLst>
          </a:custGeom>
          <a:noFill/>
          <a:ln w="60325" cap="rnd">
            <a:solidFill>
              <a:srgbClr val="D9D9D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Roboto"/>
              <a:ea typeface="+mn-ea"/>
              <a:cs typeface="+mn-cs"/>
            </a:endParaRPr>
          </a:p>
        </p:txBody>
      </p:sp>
    </p:spTree>
    <p:extLst>
      <p:ext uri="{BB962C8B-B14F-4D97-AF65-F5344CB8AC3E}">
        <p14:creationId xmlns:p14="http://schemas.microsoft.com/office/powerpoint/2010/main" val="20259569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814D24-EDF0-4AEB-0147-6613199D4376}"/>
            </a:ext>
          </a:extLst>
        </p:cNvPr>
        <p:cNvGrpSpPr/>
        <p:nvPr/>
      </p:nvGrpSpPr>
      <p:grpSpPr>
        <a:xfrm>
          <a:off x="0" y="0"/>
          <a:ext cx="0" cy="0"/>
          <a:chOff x="0" y="0"/>
          <a:chExt cx="0" cy="0"/>
        </a:xfrm>
      </p:grpSpPr>
      <p:sp>
        <p:nvSpPr>
          <p:cNvPr id="51" name="Rectangle: Rounded Corners 50">
            <a:extLst>
              <a:ext uri="{FF2B5EF4-FFF2-40B4-BE49-F238E27FC236}">
                <a16:creationId xmlns:a16="http://schemas.microsoft.com/office/drawing/2014/main" id="{D166CE7E-6093-BEF9-C600-C093BA032D72}"/>
              </a:ext>
            </a:extLst>
          </p:cNvPr>
          <p:cNvSpPr/>
          <p:nvPr/>
        </p:nvSpPr>
        <p:spPr>
          <a:xfrm flipH="1">
            <a:off x="738554" y="1788844"/>
            <a:ext cx="11453446" cy="5069156"/>
          </a:xfrm>
          <a:prstGeom prst="roundRect">
            <a:avLst>
              <a:gd name="adj" fmla="val 0"/>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000" b="1" i="0" u="none" strike="noStrike" kern="1200" cap="none" spc="0" normalizeH="0" baseline="0" noProof="0">
              <a:ln>
                <a:noFill/>
              </a:ln>
              <a:solidFill>
                <a:prstClr val="black"/>
              </a:solidFill>
              <a:effectLst/>
              <a:uLnTx/>
              <a:uFillTx/>
              <a:latin typeface="Roboto"/>
              <a:ea typeface="+mn-ea"/>
              <a:cs typeface="+mn-cs"/>
            </a:endParaRPr>
          </a:p>
        </p:txBody>
      </p:sp>
      <p:sp>
        <p:nvSpPr>
          <p:cNvPr id="2" name="Title 1">
            <a:extLst>
              <a:ext uri="{FF2B5EF4-FFF2-40B4-BE49-F238E27FC236}">
                <a16:creationId xmlns:a16="http://schemas.microsoft.com/office/drawing/2014/main" id="{2FBCD172-F522-DE76-A968-1AABBA7CBA57}"/>
              </a:ext>
            </a:extLst>
          </p:cNvPr>
          <p:cNvSpPr>
            <a:spLocks noGrp="1"/>
          </p:cNvSpPr>
          <p:nvPr>
            <p:ph type="title"/>
          </p:nvPr>
        </p:nvSpPr>
        <p:spPr>
          <a:xfrm>
            <a:off x="1010652" y="447337"/>
            <a:ext cx="3619963" cy="430887"/>
          </a:xfrm>
        </p:spPr>
        <p:txBody>
          <a:bodyPr/>
          <a:lstStyle/>
          <a:p>
            <a:r>
              <a:rPr lang="en-US" dirty="0"/>
              <a:t>UNFCCC adaptation architecture</a:t>
            </a:r>
          </a:p>
        </p:txBody>
      </p:sp>
      <p:sp>
        <p:nvSpPr>
          <p:cNvPr id="4" name="Slide Number Placeholder 3">
            <a:extLst>
              <a:ext uri="{FF2B5EF4-FFF2-40B4-BE49-F238E27FC236}">
                <a16:creationId xmlns:a16="http://schemas.microsoft.com/office/drawing/2014/main" id="{A3A4CF4D-6BEC-13F7-9BAC-D3A4BE79D80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BD9EE9C-3A9A-458B-8C8B-545D7DF0CA2D}" type="slidenum">
              <a:rPr kumimoji="0" lang="en-ID" sz="1000" b="1" i="0" u="none" strike="noStrike" kern="1200" cap="none" spc="0" normalizeH="0" baseline="0" noProof="0" smtClean="0">
                <a:ln>
                  <a:noFill/>
                </a:ln>
                <a:solidFill>
                  <a:srgbClr val="1C97DA"/>
                </a:solidFill>
                <a:effectLst/>
                <a:uLnTx/>
                <a:uFillTx/>
                <a:latin typeface="Robot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ID" sz="1000" b="1" i="0" u="none" strike="noStrike" kern="1200" cap="none" spc="0" normalizeH="0" baseline="0" noProof="0">
              <a:ln>
                <a:noFill/>
              </a:ln>
              <a:solidFill>
                <a:srgbClr val="1C97DA"/>
              </a:solidFill>
              <a:effectLst/>
              <a:uLnTx/>
              <a:uFillTx/>
              <a:latin typeface="Roboto"/>
              <a:ea typeface="+mn-ea"/>
              <a:cs typeface="+mn-cs"/>
            </a:endParaRPr>
          </a:p>
        </p:txBody>
      </p:sp>
      <p:sp>
        <p:nvSpPr>
          <p:cNvPr id="3" name="Rectangle: Rounded Corners 2">
            <a:extLst>
              <a:ext uri="{FF2B5EF4-FFF2-40B4-BE49-F238E27FC236}">
                <a16:creationId xmlns:a16="http://schemas.microsoft.com/office/drawing/2014/main" id="{4D3B189D-855F-5C67-8524-F5312C4B4691}"/>
              </a:ext>
            </a:extLst>
          </p:cNvPr>
          <p:cNvSpPr/>
          <p:nvPr/>
        </p:nvSpPr>
        <p:spPr>
          <a:xfrm flipH="1">
            <a:off x="1010642" y="1910080"/>
            <a:ext cx="9290826" cy="1357484"/>
          </a:xfrm>
          <a:prstGeom prst="roundRect">
            <a:avLst>
              <a:gd name="adj" fmla="val 12183"/>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000" b="1" i="0" u="none" strike="noStrike" kern="1200" cap="none" spc="0" normalizeH="0" baseline="0" noProof="0" dirty="0">
              <a:ln>
                <a:noFill/>
              </a:ln>
              <a:solidFill>
                <a:prstClr val="black"/>
              </a:solidFill>
              <a:effectLst/>
              <a:uLnTx/>
              <a:uFillTx/>
              <a:latin typeface="Roboto"/>
              <a:ea typeface="+mn-ea"/>
              <a:cs typeface="+mn-cs"/>
            </a:endParaRPr>
          </a:p>
        </p:txBody>
      </p:sp>
      <p:sp>
        <p:nvSpPr>
          <p:cNvPr id="5" name="Rectangle: Rounded Corners 4">
            <a:extLst>
              <a:ext uri="{FF2B5EF4-FFF2-40B4-BE49-F238E27FC236}">
                <a16:creationId xmlns:a16="http://schemas.microsoft.com/office/drawing/2014/main" id="{4874721C-4DF7-3D38-A6AD-957F39A3C92B}"/>
              </a:ext>
            </a:extLst>
          </p:cNvPr>
          <p:cNvSpPr/>
          <p:nvPr/>
        </p:nvSpPr>
        <p:spPr>
          <a:xfrm>
            <a:off x="1108957" y="2507876"/>
            <a:ext cx="4064592" cy="69982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ed Rectangle 4">
            <a:extLst>
              <a:ext uri="{FF2B5EF4-FFF2-40B4-BE49-F238E27FC236}">
                <a16:creationId xmlns:a16="http://schemas.microsoft.com/office/drawing/2014/main" id="{5E84C316-45AB-A7AD-88E8-1A47A59FC1D5}"/>
              </a:ext>
            </a:extLst>
          </p:cNvPr>
          <p:cNvSpPr>
            <a:spLocks/>
          </p:cNvSpPr>
          <p:nvPr/>
        </p:nvSpPr>
        <p:spPr>
          <a:xfrm>
            <a:off x="1010642" y="1910080"/>
            <a:ext cx="9290304" cy="365760"/>
          </a:xfrm>
          <a:prstGeom prst="roundRect">
            <a:avLst>
              <a:gd name="adj" fmla="val 23887"/>
            </a:avLst>
          </a:prstGeom>
          <a:solidFill>
            <a:schemeClr val="accent3"/>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Roboto"/>
                <a:ea typeface="Roboto"/>
                <a:cs typeface="Roboto"/>
              </a:rPr>
              <a:t>What does it look like / how do we know where that is</a:t>
            </a:r>
          </a:p>
        </p:txBody>
      </p:sp>
      <p:sp>
        <p:nvSpPr>
          <p:cNvPr id="14" name="TextBox 13">
            <a:extLst>
              <a:ext uri="{FF2B5EF4-FFF2-40B4-BE49-F238E27FC236}">
                <a16:creationId xmlns:a16="http://schemas.microsoft.com/office/drawing/2014/main" id="{27E73E58-B296-E0E6-AE80-18A1C5DB76BF}"/>
              </a:ext>
            </a:extLst>
          </p:cNvPr>
          <p:cNvSpPr txBox="1"/>
          <p:nvPr/>
        </p:nvSpPr>
        <p:spPr>
          <a:xfrm>
            <a:off x="5441999" y="2507876"/>
            <a:ext cx="2832792" cy="53860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546A"/>
                </a:solidFill>
                <a:effectLst/>
                <a:uLnTx/>
                <a:uFillTx/>
                <a:latin typeface="Roboto"/>
                <a:ea typeface="+mn-ea"/>
                <a:cs typeface="+mn-cs"/>
              </a:rPr>
              <a:t>Cross-cutting consider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Gender; participatory; transparent, human rights approaches; vulnerable groups, communities, ecosystems; traditional, local, Indigenous knowledge; adaptation approaches, etc.</a:t>
            </a:r>
          </a:p>
        </p:txBody>
      </p:sp>
      <p:sp>
        <p:nvSpPr>
          <p:cNvPr id="15" name="TextBox 14">
            <a:extLst>
              <a:ext uri="{FF2B5EF4-FFF2-40B4-BE49-F238E27FC236}">
                <a16:creationId xmlns:a16="http://schemas.microsoft.com/office/drawing/2014/main" id="{4E320F9C-BA3C-0808-5086-3E2265F0B05A}"/>
              </a:ext>
            </a:extLst>
          </p:cNvPr>
          <p:cNvSpPr txBox="1"/>
          <p:nvPr/>
        </p:nvSpPr>
        <p:spPr>
          <a:xfrm>
            <a:off x="8598673" y="2507876"/>
            <a:ext cx="1500803" cy="53860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546A"/>
                </a:solidFill>
                <a:effectLst/>
                <a:uLnTx/>
                <a:uFillTx/>
                <a:latin typeface="Roboto"/>
                <a:ea typeface="+mn-ea"/>
                <a:cs typeface="+mn-cs"/>
              </a:rPr>
              <a:t>Sources of infor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44546A"/>
                </a:solidFill>
                <a:effectLst/>
                <a:uLnTx/>
                <a:uFillTx/>
                <a:latin typeface="Roboto"/>
                <a:ea typeface="+mn-ea"/>
                <a:cs typeface="+mn-cs"/>
              </a:rPr>
              <a:t>AdComs</a:t>
            </a:r>
            <a:r>
              <a:rPr kumimoji="0" lang="en-US" sz="800" b="0" i="0" u="none" strike="noStrike" kern="1200" cap="none" spc="0" normalizeH="0" baseline="0" noProof="0" dirty="0">
                <a:ln>
                  <a:noFill/>
                </a:ln>
                <a:solidFill>
                  <a:srgbClr val="44546A"/>
                </a:solidFill>
                <a:effectLst/>
                <a:uLnTx/>
                <a:uFillTx/>
                <a:latin typeface="Roboto"/>
                <a:ea typeface="+mn-ea"/>
                <a:cs typeface="+mn-cs"/>
              </a:rPr>
              <a:t>, NDCs, NAPs, BTRs, </a:t>
            </a:r>
            <a:r>
              <a:rPr kumimoji="0" lang="en-US" sz="800" b="0" i="0" u="none" strike="noStrike" kern="1200" cap="none" spc="0" normalizeH="0" baseline="0" noProof="0" dirty="0" err="1">
                <a:ln>
                  <a:noFill/>
                </a:ln>
                <a:solidFill>
                  <a:srgbClr val="44546A"/>
                </a:solidFill>
                <a:effectLst/>
                <a:uLnTx/>
                <a:uFillTx/>
                <a:latin typeface="Roboto"/>
                <a:ea typeface="+mn-ea"/>
                <a:cs typeface="+mn-cs"/>
              </a:rPr>
              <a:t>NatComs</a:t>
            </a:r>
            <a:r>
              <a:rPr kumimoji="0" lang="en-US" sz="800" b="0" i="0" u="none" strike="noStrike" kern="1200" cap="none" spc="0" normalizeH="0" baseline="0" noProof="0" dirty="0">
                <a:ln>
                  <a:noFill/>
                </a:ln>
                <a:solidFill>
                  <a:srgbClr val="44546A"/>
                </a:solidFill>
                <a:effectLst/>
                <a:uLnTx/>
                <a:uFillTx/>
                <a:latin typeface="Roboto"/>
                <a:ea typeface="+mn-ea"/>
                <a:cs typeface="+mn-cs"/>
              </a:rPr>
              <a:t>, IPCC reports, UN, other sources</a:t>
            </a:r>
          </a:p>
        </p:txBody>
      </p:sp>
      <p:sp>
        <p:nvSpPr>
          <p:cNvPr id="16" name="TextBox 15">
            <a:extLst>
              <a:ext uri="{FF2B5EF4-FFF2-40B4-BE49-F238E27FC236}">
                <a16:creationId xmlns:a16="http://schemas.microsoft.com/office/drawing/2014/main" id="{3BA3E19B-6606-C235-FAA5-410F18AD918D}"/>
              </a:ext>
            </a:extLst>
          </p:cNvPr>
          <p:cNvSpPr txBox="1"/>
          <p:nvPr/>
        </p:nvSpPr>
        <p:spPr>
          <a:xfrm>
            <a:off x="1212635" y="2545976"/>
            <a:ext cx="1720498" cy="66172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546A"/>
                </a:solidFill>
                <a:effectLst/>
                <a:uLnTx/>
                <a:uFillTx/>
                <a:latin typeface="Roboto"/>
                <a:ea typeface="+mn-ea"/>
                <a:cs typeface="+mn-cs"/>
              </a:rPr>
              <a:t>Thematic targets (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Wate &amp;</a:t>
            </a:r>
            <a:r>
              <a:rPr kumimoji="0" lang="en-US" sz="800" b="0" i="0" u="none" strike="noStrike" kern="1200" cap="none" spc="0" normalizeH="0" noProof="0" dirty="0">
                <a:ln>
                  <a:noFill/>
                </a:ln>
                <a:solidFill>
                  <a:srgbClr val="44546A"/>
                </a:solidFill>
                <a:effectLst/>
                <a:uLnTx/>
                <a:uFillTx/>
                <a:latin typeface="Roboto"/>
                <a:ea typeface="+mn-ea"/>
                <a:cs typeface="+mn-cs"/>
              </a:rPr>
              <a:t> sanitation</a:t>
            </a:r>
            <a:r>
              <a:rPr kumimoji="0" lang="en-US" sz="800" b="0" i="0" u="none" strike="noStrike" kern="1200" cap="none" spc="0" normalizeH="0" baseline="0" noProof="0" dirty="0">
                <a:ln>
                  <a:noFill/>
                </a:ln>
                <a:solidFill>
                  <a:srgbClr val="44546A"/>
                </a:solidFill>
                <a:effectLst/>
                <a:uLnTx/>
                <a:uFillTx/>
                <a:latin typeface="Roboto"/>
                <a:ea typeface="+mn-ea"/>
                <a:cs typeface="+mn-cs"/>
              </a:rPr>
              <a:t>, food &amp; agriculture, health, ecosystems &amp; biodiversity, infrastructure</a:t>
            </a:r>
            <a:r>
              <a:rPr kumimoji="0" lang="en-US" sz="800" b="0" i="0" u="none" strike="noStrike" kern="1200" cap="none" spc="0" normalizeH="0" noProof="0" dirty="0">
                <a:ln>
                  <a:noFill/>
                </a:ln>
                <a:solidFill>
                  <a:srgbClr val="44546A"/>
                </a:solidFill>
                <a:effectLst/>
                <a:uLnTx/>
                <a:uFillTx/>
                <a:latin typeface="Roboto"/>
                <a:ea typeface="+mn-ea"/>
                <a:cs typeface="+mn-cs"/>
              </a:rPr>
              <a:t> &amp; human settlements</a:t>
            </a:r>
            <a:r>
              <a:rPr kumimoji="0" lang="en-US" sz="800" b="0" i="0" u="none" strike="noStrike" kern="1200" cap="none" spc="0" normalizeH="0" baseline="0" noProof="0" dirty="0">
                <a:ln>
                  <a:noFill/>
                </a:ln>
                <a:solidFill>
                  <a:srgbClr val="44546A"/>
                </a:solidFill>
                <a:effectLst/>
                <a:uLnTx/>
                <a:uFillTx/>
                <a:latin typeface="Roboto"/>
                <a:ea typeface="+mn-ea"/>
                <a:cs typeface="+mn-cs"/>
              </a:rPr>
              <a:t>, poverty &amp; livelihoods, cultural heritage</a:t>
            </a:r>
          </a:p>
        </p:txBody>
      </p:sp>
      <p:sp>
        <p:nvSpPr>
          <p:cNvPr id="17" name="TextBox 16">
            <a:extLst>
              <a:ext uri="{FF2B5EF4-FFF2-40B4-BE49-F238E27FC236}">
                <a16:creationId xmlns:a16="http://schemas.microsoft.com/office/drawing/2014/main" id="{F504E8EF-03C1-CF0F-4994-0587AB3C207B}"/>
              </a:ext>
            </a:extLst>
          </p:cNvPr>
          <p:cNvSpPr txBox="1"/>
          <p:nvPr/>
        </p:nvSpPr>
        <p:spPr>
          <a:xfrm>
            <a:off x="3150514" y="2545976"/>
            <a:ext cx="1967600" cy="58477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546A"/>
                </a:solidFill>
                <a:effectLst/>
                <a:uLnTx/>
                <a:uFillTx/>
                <a:latin typeface="Roboto"/>
                <a:ea typeface="+mn-ea"/>
                <a:cs typeface="+mn-cs"/>
              </a:rPr>
              <a:t>Dimensional targets of iterative adaptation cycl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Impact, vulnerability and risk assessment; planning; implementation, MEL</a:t>
            </a:r>
          </a:p>
        </p:txBody>
      </p:sp>
      <p:sp>
        <p:nvSpPr>
          <p:cNvPr id="52" name="Rounded Rectangle 4">
            <a:extLst>
              <a:ext uri="{FF2B5EF4-FFF2-40B4-BE49-F238E27FC236}">
                <a16:creationId xmlns:a16="http://schemas.microsoft.com/office/drawing/2014/main" id="{8D22A5A3-6A9E-5305-E60C-00CEAF2DBEF0}"/>
              </a:ext>
            </a:extLst>
          </p:cNvPr>
          <p:cNvSpPr>
            <a:spLocks/>
          </p:cNvSpPr>
          <p:nvPr/>
        </p:nvSpPr>
        <p:spPr>
          <a:xfrm>
            <a:off x="1010642" y="1312570"/>
            <a:ext cx="10847680" cy="365760"/>
          </a:xfrm>
          <a:prstGeom prst="roundRect">
            <a:avLst>
              <a:gd name="adj" fmla="val 23887"/>
            </a:avLst>
          </a:prstGeom>
          <a:solidFill>
            <a:schemeClr val="accent4"/>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Roboto"/>
                <a:ea typeface="Roboto"/>
                <a:cs typeface="Roboto"/>
              </a:rPr>
              <a:t>Where do we need to go</a:t>
            </a:r>
          </a:p>
        </p:txBody>
      </p:sp>
      <p:sp>
        <p:nvSpPr>
          <p:cNvPr id="29" name="Rectangle: Rounded Corners 28">
            <a:extLst>
              <a:ext uri="{FF2B5EF4-FFF2-40B4-BE49-F238E27FC236}">
                <a16:creationId xmlns:a16="http://schemas.microsoft.com/office/drawing/2014/main" id="{1D35E3CE-E3E9-D1BB-7034-54D16F6A25DA}"/>
              </a:ext>
            </a:extLst>
          </p:cNvPr>
          <p:cNvSpPr/>
          <p:nvPr/>
        </p:nvSpPr>
        <p:spPr>
          <a:xfrm flipH="1">
            <a:off x="10463514" y="1910080"/>
            <a:ext cx="1394808" cy="4528820"/>
          </a:xfrm>
          <a:prstGeom prst="roundRect">
            <a:avLst>
              <a:gd name="adj" fmla="val 6174"/>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000" b="1" i="0" u="none" strike="noStrike" kern="1200" cap="none" spc="0" normalizeH="0" baseline="0" noProof="0">
              <a:ln>
                <a:noFill/>
              </a:ln>
              <a:solidFill>
                <a:prstClr val="black"/>
              </a:solidFill>
              <a:effectLst/>
              <a:uLnTx/>
              <a:uFillTx/>
              <a:latin typeface="Roboto"/>
              <a:ea typeface="+mn-ea"/>
              <a:cs typeface="+mn-cs"/>
            </a:endParaRPr>
          </a:p>
        </p:txBody>
      </p:sp>
      <p:sp>
        <p:nvSpPr>
          <p:cNvPr id="31" name="Rounded Rectangle 4">
            <a:extLst>
              <a:ext uri="{FF2B5EF4-FFF2-40B4-BE49-F238E27FC236}">
                <a16:creationId xmlns:a16="http://schemas.microsoft.com/office/drawing/2014/main" id="{85CAD47D-7512-8341-1A5E-839492AF871E}"/>
              </a:ext>
            </a:extLst>
          </p:cNvPr>
          <p:cNvSpPr>
            <a:spLocks/>
          </p:cNvSpPr>
          <p:nvPr/>
        </p:nvSpPr>
        <p:spPr>
          <a:xfrm>
            <a:off x="10463514" y="1910080"/>
            <a:ext cx="1394808" cy="365760"/>
          </a:xfrm>
          <a:prstGeom prst="roundRect">
            <a:avLst>
              <a:gd name="adj" fmla="val 23887"/>
            </a:avLst>
          </a:prstGeom>
          <a:solidFill>
            <a:schemeClr val="bg2">
              <a:lumMod val="25000"/>
            </a:schemeClr>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Roboto"/>
                <a:ea typeface="Roboto"/>
                <a:cs typeface="Roboto"/>
              </a:rPr>
              <a:t>ACTORS:</a:t>
            </a:r>
          </a:p>
        </p:txBody>
      </p:sp>
      <p:sp>
        <p:nvSpPr>
          <p:cNvPr id="40" name="Rectangle: Rounded Corners 39">
            <a:extLst>
              <a:ext uri="{FF2B5EF4-FFF2-40B4-BE49-F238E27FC236}">
                <a16:creationId xmlns:a16="http://schemas.microsoft.com/office/drawing/2014/main" id="{51F455C6-757D-7503-801D-7035DF9F5352}"/>
              </a:ext>
            </a:extLst>
          </p:cNvPr>
          <p:cNvSpPr/>
          <p:nvPr/>
        </p:nvSpPr>
        <p:spPr>
          <a:xfrm flipH="1">
            <a:off x="1010642" y="4469883"/>
            <a:ext cx="9290826" cy="907617"/>
          </a:xfrm>
          <a:prstGeom prst="roundRect">
            <a:avLst>
              <a:gd name="adj" fmla="val 12183"/>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000" b="1" i="0" u="none" strike="noStrike" kern="1200" cap="none" spc="0" normalizeH="0" baseline="0" noProof="0">
              <a:ln>
                <a:noFill/>
              </a:ln>
              <a:solidFill>
                <a:prstClr val="black"/>
              </a:solidFill>
              <a:effectLst/>
              <a:uLnTx/>
              <a:uFillTx/>
              <a:latin typeface="Roboto"/>
              <a:ea typeface="+mn-ea"/>
              <a:cs typeface="+mn-cs"/>
            </a:endParaRPr>
          </a:p>
        </p:txBody>
      </p:sp>
      <p:sp>
        <p:nvSpPr>
          <p:cNvPr id="41" name="Rounded Rectangle 4">
            <a:extLst>
              <a:ext uri="{FF2B5EF4-FFF2-40B4-BE49-F238E27FC236}">
                <a16:creationId xmlns:a16="http://schemas.microsoft.com/office/drawing/2014/main" id="{078B899E-DB2D-EAE1-5851-3877AA5F8E7F}"/>
              </a:ext>
            </a:extLst>
          </p:cNvPr>
          <p:cNvSpPr>
            <a:spLocks/>
          </p:cNvSpPr>
          <p:nvPr/>
        </p:nvSpPr>
        <p:spPr>
          <a:xfrm>
            <a:off x="1010642" y="4469883"/>
            <a:ext cx="9290304" cy="365760"/>
          </a:xfrm>
          <a:prstGeom prst="roundRect">
            <a:avLst>
              <a:gd name="adj" fmla="val 23887"/>
            </a:avLst>
          </a:prstGeom>
          <a:solidFill>
            <a:schemeClr val="accent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Roboto"/>
                <a:ea typeface="Roboto"/>
                <a:cs typeface="Roboto"/>
              </a:rPr>
              <a:t>What does it take to get there</a:t>
            </a:r>
          </a:p>
        </p:txBody>
      </p:sp>
      <p:sp>
        <p:nvSpPr>
          <p:cNvPr id="42" name="TextBox 41">
            <a:extLst>
              <a:ext uri="{FF2B5EF4-FFF2-40B4-BE49-F238E27FC236}">
                <a16:creationId xmlns:a16="http://schemas.microsoft.com/office/drawing/2014/main" id="{E3CCF0CC-A88C-655C-35F4-649723A25CF0}"/>
              </a:ext>
            </a:extLst>
          </p:cNvPr>
          <p:cNvSpPr txBox="1"/>
          <p:nvPr/>
        </p:nvSpPr>
        <p:spPr>
          <a:xfrm>
            <a:off x="1212636" y="4898822"/>
            <a:ext cx="3886505" cy="41549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546A"/>
                </a:solidFill>
                <a:effectLst/>
                <a:uLnTx/>
                <a:uFillTx/>
                <a:latin typeface="Roboto"/>
                <a:ea typeface="+mn-ea"/>
                <a:cs typeface="+mn-cs"/>
              </a:rPr>
              <a:t>Finance, technology, capacity-buil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UNFCCC Funds: GCF, ACF, LDCF, SCCF, FRL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Other: bilateral, domestic, private, etc.</a:t>
            </a:r>
          </a:p>
        </p:txBody>
      </p:sp>
      <p:sp>
        <p:nvSpPr>
          <p:cNvPr id="43" name="Rectangle: Rounded Corners 42">
            <a:extLst>
              <a:ext uri="{FF2B5EF4-FFF2-40B4-BE49-F238E27FC236}">
                <a16:creationId xmlns:a16="http://schemas.microsoft.com/office/drawing/2014/main" id="{F0FEFF7D-7B8F-39B2-876D-2D1EEEA5F709}"/>
              </a:ext>
            </a:extLst>
          </p:cNvPr>
          <p:cNvSpPr/>
          <p:nvPr/>
        </p:nvSpPr>
        <p:spPr>
          <a:xfrm flipH="1">
            <a:off x="1010642" y="5524850"/>
            <a:ext cx="9290826" cy="907617"/>
          </a:xfrm>
          <a:prstGeom prst="roundRect">
            <a:avLst>
              <a:gd name="adj" fmla="val 12183"/>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000" b="1" i="0" u="none" strike="noStrike" kern="1200" cap="none" spc="0" normalizeH="0" baseline="0" noProof="0">
              <a:ln>
                <a:noFill/>
              </a:ln>
              <a:solidFill>
                <a:prstClr val="black"/>
              </a:solidFill>
              <a:effectLst/>
              <a:uLnTx/>
              <a:uFillTx/>
              <a:latin typeface="Roboto"/>
              <a:ea typeface="+mn-ea"/>
              <a:cs typeface="+mn-cs"/>
            </a:endParaRPr>
          </a:p>
        </p:txBody>
      </p:sp>
      <p:sp>
        <p:nvSpPr>
          <p:cNvPr id="44" name="Rounded Rectangle 4">
            <a:extLst>
              <a:ext uri="{FF2B5EF4-FFF2-40B4-BE49-F238E27FC236}">
                <a16:creationId xmlns:a16="http://schemas.microsoft.com/office/drawing/2014/main" id="{FB8E1457-8B05-F214-DBBE-DF05944B842D}"/>
              </a:ext>
            </a:extLst>
          </p:cNvPr>
          <p:cNvSpPr>
            <a:spLocks/>
          </p:cNvSpPr>
          <p:nvPr/>
        </p:nvSpPr>
        <p:spPr>
          <a:xfrm>
            <a:off x="1010642" y="5524850"/>
            <a:ext cx="9290304" cy="365760"/>
          </a:xfrm>
          <a:prstGeom prst="roundRect">
            <a:avLst>
              <a:gd name="adj" fmla="val 23887"/>
            </a:avLst>
          </a:prstGeom>
          <a:solidFill>
            <a:schemeClr val="tx2"/>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Roboto"/>
                <a:ea typeface="Roboto"/>
                <a:cs typeface="Roboto"/>
              </a:rPr>
              <a:t>Foundation</a:t>
            </a:r>
          </a:p>
        </p:txBody>
      </p:sp>
      <p:sp>
        <p:nvSpPr>
          <p:cNvPr id="45" name="TextBox 44">
            <a:extLst>
              <a:ext uri="{FF2B5EF4-FFF2-40B4-BE49-F238E27FC236}">
                <a16:creationId xmlns:a16="http://schemas.microsoft.com/office/drawing/2014/main" id="{CC9BFE39-F326-F07D-B481-D1C25A4562C0}"/>
              </a:ext>
            </a:extLst>
          </p:cNvPr>
          <p:cNvSpPr txBox="1"/>
          <p:nvPr/>
        </p:nvSpPr>
        <p:spPr>
          <a:xfrm>
            <a:off x="1212635" y="5953789"/>
            <a:ext cx="3905476" cy="17269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546A"/>
                </a:solidFill>
                <a:effectLst/>
                <a:uLnTx/>
                <a:uFillTx/>
                <a:latin typeface="Roboto"/>
                <a:ea typeface="+mn-ea"/>
                <a:cs typeface="+mn-cs"/>
              </a:rPr>
              <a:t>COP guidance and guidelines</a:t>
            </a:r>
          </a:p>
        </p:txBody>
      </p:sp>
      <p:sp>
        <p:nvSpPr>
          <p:cNvPr id="57" name="TextBox 56">
            <a:extLst>
              <a:ext uri="{FF2B5EF4-FFF2-40B4-BE49-F238E27FC236}">
                <a16:creationId xmlns:a16="http://schemas.microsoft.com/office/drawing/2014/main" id="{649DAB74-8E7D-0980-1289-E9045CD65F5F}"/>
              </a:ext>
            </a:extLst>
          </p:cNvPr>
          <p:cNvSpPr txBox="1"/>
          <p:nvPr/>
        </p:nvSpPr>
        <p:spPr>
          <a:xfrm>
            <a:off x="5441997" y="4898822"/>
            <a:ext cx="4657480" cy="41549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546A"/>
                </a:solidFill>
                <a:effectLst/>
                <a:uLnTx/>
                <a:uFillTx/>
                <a:latin typeface="Roboto"/>
                <a:ea typeface="+mn-ea"/>
                <a:cs typeface="+mn-cs"/>
              </a:rPr>
              <a:t>Data, science, knowled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Climate data, scenarios, best available science, traditional knowledge, knowledge of indigenous peoples and local knowledge systems, etc.)</a:t>
            </a:r>
          </a:p>
        </p:txBody>
      </p:sp>
      <p:sp>
        <p:nvSpPr>
          <p:cNvPr id="58" name="TextBox 57">
            <a:extLst>
              <a:ext uri="{FF2B5EF4-FFF2-40B4-BE49-F238E27FC236}">
                <a16:creationId xmlns:a16="http://schemas.microsoft.com/office/drawing/2014/main" id="{07F56DEB-F77E-034B-5719-9FD0F6FD144B}"/>
              </a:ext>
            </a:extLst>
          </p:cNvPr>
          <p:cNvSpPr txBox="1"/>
          <p:nvPr/>
        </p:nvSpPr>
        <p:spPr>
          <a:xfrm>
            <a:off x="5437177" y="5953789"/>
            <a:ext cx="4662299" cy="41549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546A"/>
                </a:solidFill>
                <a:effectLst/>
                <a:uLnTx/>
                <a:uFillTx/>
                <a:latin typeface="Roboto"/>
                <a:ea typeface="+mn-ea"/>
                <a:cs typeface="+mn-cs"/>
              </a:rPr>
              <a:t>National systems (essential func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Leadership &amp; coordination; legal &amp; regulatory frameworks; data systems (collection, analysis, etc.); planning, implementation, MEL &amp; reporting systems; resource mobilization (finance, human) </a:t>
            </a:r>
          </a:p>
        </p:txBody>
      </p:sp>
      <p:cxnSp>
        <p:nvCxnSpPr>
          <p:cNvPr id="59" name="Straight Connector 58">
            <a:extLst>
              <a:ext uri="{FF2B5EF4-FFF2-40B4-BE49-F238E27FC236}">
                <a16:creationId xmlns:a16="http://schemas.microsoft.com/office/drawing/2014/main" id="{C6E1834D-A512-DD42-0AD6-F08AC5645684}"/>
              </a:ext>
            </a:extLst>
          </p:cNvPr>
          <p:cNvCxnSpPr>
            <a:cxnSpLocks/>
          </p:cNvCxnSpPr>
          <p:nvPr/>
        </p:nvCxnSpPr>
        <p:spPr>
          <a:xfrm rot="5400000" flipV="1">
            <a:off x="5071904" y="6163546"/>
            <a:ext cx="411480" cy="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E929FBC-C465-0E3C-B0FE-B06A52AA361F}"/>
              </a:ext>
            </a:extLst>
          </p:cNvPr>
          <p:cNvCxnSpPr>
            <a:cxnSpLocks/>
          </p:cNvCxnSpPr>
          <p:nvPr/>
        </p:nvCxnSpPr>
        <p:spPr>
          <a:xfrm rot="5400000" flipV="1">
            <a:off x="5071905" y="5108579"/>
            <a:ext cx="411480" cy="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AF4235F-2783-6F2C-1278-544B2DD26823}"/>
              </a:ext>
            </a:extLst>
          </p:cNvPr>
          <p:cNvCxnSpPr>
            <a:cxnSpLocks/>
          </p:cNvCxnSpPr>
          <p:nvPr/>
        </p:nvCxnSpPr>
        <p:spPr>
          <a:xfrm rot="5400000" flipV="1">
            <a:off x="4987449" y="2800484"/>
            <a:ext cx="585216" cy="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DD2C931-5AB5-487D-1577-9D6255A12A71}"/>
              </a:ext>
            </a:extLst>
          </p:cNvPr>
          <p:cNvCxnSpPr>
            <a:cxnSpLocks/>
          </p:cNvCxnSpPr>
          <p:nvPr/>
        </p:nvCxnSpPr>
        <p:spPr>
          <a:xfrm rot="5400000" flipV="1">
            <a:off x="8144126" y="2800485"/>
            <a:ext cx="585216" cy="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68B1BE7-7E3D-5EF1-49F2-3DA1AFEE1653}"/>
              </a:ext>
            </a:extLst>
          </p:cNvPr>
          <p:cNvCxnSpPr>
            <a:cxnSpLocks/>
          </p:cNvCxnSpPr>
          <p:nvPr/>
        </p:nvCxnSpPr>
        <p:spPr>
          <a:xfrm rot="5400000" flipV="1">
            <a:off x="2695964" y="2800486"/>
            <a:ext cx="585216" cy="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13378F4B-F225-CB97-63A8-5F8D544BCC69}"/>
              </a:ext>
            </a:extLst>
          </p:cNvPr>
          <p:cNvSpPr txBox="1"/>
          <p:nvPr/>
        </p:nvSpPr>
        <p:spPr>
          <a:xfrm>
            <a:off x="10570019" y="2386354"/>
            <a:ext cx="1181798" cy="110030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1" i="0" u="none" strike="noStrike" kern="1200" cap="none" spc="0" normalizeH="0" baseline="0" noProof="0" dirty="0">
                <a:ln>
                  <a:noFill/>
                </a:ln>
                <a:solidFill>
                  <a:srgbClr val="44546A"/>
                </a:solidFill>
                <a:effectLst/>
                <a:uLnTx/>
                <a:uFillTx/>
                <a:latin typeface="Roboto"/>
                <a:ea typeface="+mn-ea"/>
                <a:cs typeface="+mn-cs"/>
              </a:rPr>
              <a:t>Constituted bodies (per mandates)</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AC</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LEG</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CGE</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WIM ExCom</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FWG</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Others</a:t>
            </a:r>
          </a:p>
        </p:txBody>
      </p:sp>
      <p:sp>
        <p:nvSpPr>
          <p:cNvPr id="75" name="TextBox 74">
            <a:extLst>
              <a:ext uri="{FF2B5EF4-FFF2-40B4-BE49-F238E27FC236}">
                <a16:creationId xmlns:a16="http://schemas.microsoft.com/office/drawing/2014/main" id="{847042B0-2B7A-BF75-5120-A1F7DFD23127}"/>
              </a:ext>
            </a:extLst>
          </p:cNvPr>
          <p:cNvSpPr txBox="1"/>
          <p:nvPr/>
        </p:nvSpPr>
        <p:spPr>
          <a:xfrm>
            <a:off x="10570019" y="3700578"/>
            <a:ext cx="1181798" cy="60785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1" i="0" u="none" strike="noStrike" kern="1200" cap="none" spc="0" normalizeH="0" baseline="0" noProof="0" dirty="0" err="1">
                <a:ln>
                  <a:noFill/>
                </a:ln>
                <a:solidFill>
                  <a:srgbClr val="44546A"/>
                </a:solidFill>
                <a:effectLst/>
                <a:uLnTx/>
                <a:uFillTx/>
                <a:latin typeface="Roboto"/>
                <a:ea typeface="+mn-ea"/>
                <a:cs typeface="+mn-cs"/>
              </a:rPr>
              <a:t>Programmes</a:t>
            </a:r>
            <a:r>
              <a:rPr kumimoji="0" lang="en-US" sz="1050" b="1" i="0" u="none" strike="noStrike" kern="1200" cap="none" spc="0" normalizeH="0" baseline="0" noProof="0" dirty="0">
                <a:ln>
                  <a:noFill/>
                </a:ln>
                <a:solidFill>
                  <a:srgbClr val="44546A"/>
                </a:solidFill>
                <a:effectLst/>
                <a:uLnTx/>
                <a:uFillTx/>
                <a:latin typeface="Roboto"/>
                <a:ea typeface="+mn-ea"/>
                <a:cs typeface="+mn-cs"/>
              </a:rPr>
              <a:t>/ platforms</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LCIPP</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NWP</a:t>
            </a:r>
          </a:p>
        </p:txBody>
      </p:sp>
      <p:sp>
        <p:nvSpPr>
          <p:cNvPr id="77" name="TextBox 76">
            <a:extLst>
              <a:ext uri="{FF2B5EF4-FFF2-40B4-BE49-F238E27FC236}">
                <a16:creationId xmlns:a16="http://schemas.microsoft.com/office/drawing/2014/main" id="{CA00CA61-E1A9-7AA2-9F1C-BB19F0FCF408}"/>
              </a:ext>
            </a:extLst>
          </p:cNvPr>
          <p:cNvSpPr txBox="1"/>
          <p:nvPr/>
        </p:nvSpPr>
        <p:spPr>
          <a:xfrm>
            <a:off x="10570019" y="4522360"/>
            <a:ext cx="1181798" cy="85408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1" i="0" u="none" strike="noStrike" kern="1200" cap="none" spc="0" normalizeH="0" baseline="0" noProof="0" dirty="0">
                <a:ln>
                  <a:noFill/>
                </a:ln>
                <a:solidFill>
                  <a:srgbClr val="44546A"/>
                </a:solidFill>
                <a:effectLst/>
                <a:uLnTx/>
                <a:uFillTx/>
                <a:latin typeface="Roboto"/>
                <a:ea typeface="+mn-ea"/>
                <a:cs typeface="+mn-cs"/>
              </a:rPr>
              <a:t>Financial Mechanism entities</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GCF</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GEF</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AFB</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WB/FRLD</a:t>
            </a:r>
          </a:p>
        </p:txBody>
      </p:sp>
      <p:sp>
        <p:nvSpPr>
          <p:cNvPr id="78" name="TextBox 77">
            <a:extLst>
              <a:ext uri="{FF2B5EF4-FFF2-40B4-BE49-F238E27FC236}">
                <a16:creationId xmlns:a16="http://schemas.microsoft.com/office/drawing/2014/main" id="{8E9FBBAA-3BEB-1264-FB40-61F2A2A4BFC5}"/>
              </a:ext>
            </a:extLst>
          </p:cNvPr>
          <p:cNvSpPr txBox="1"/>
          <p:nvPr/>
        </p:nvSpPr>
        <p:spPr>
          <a:xfrm>
            <a:off x="10570019" y="5590363"/>
            <a:ext cx="1181798" cy="32316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1" i="0" u="none" strike="noStrike" kern="1200" cap="none" spc="0" normalizeH="0" baseline="0" noProof="0" dirty="0">
                <a:ln>
                  <a:noFill/>
                </a:ln>
                <a:solidFill>
                  <a:srgbClr val="44546A"/>
                </a:solidFill>
                <a:effectLst/>
                <a:uLnTx/>
                <a:uFillTx/>
                <a:latin typeface="Roboto"/>
                <a:ea typeface="+mn-ea"/>
                <a:cs typeface="+mn-cs"/>
              </a:rPr>
              <a:t>Non-State Actors / Action Agenda</a:t>
            </a:r>
          </a:p>
        </p:txBody>
      </p:sp>
      <p:sp>
        <p:nvSpPr>
          <p:cNvPr id="24" name="TextBox 23">
            <a:extLst>
              <a:ext uri="{FF2B5EF4-FFF2-40B4-BE49-F238E27FC236}">
                <a16:creationId xmlns:a16="http://schemas.microsoft.com/office/drawing/2014/main" id="{9E080E94-E8BA-3783-5B02-50DDAD044906}"/>
              </a:ext>
            </a:extLst>
          </p:cNvPr>
          <p:cNvSpPr txBox="1"/>
          <p:nvPr/>
        </p:nvSpPr>
        <p:spPr>
          <a:xfrm>
            <a:off x="2595429" y="3199422"/>
            <a:ext cx="789799" cy="180000"/>
          </a:xfrm>
          <a:prstGeom prst="rect">
            <a:avLst/>
          </a:prstGeom>
          <a:solidFill>
            <a:schemeClr val="accent3">
              <a:lumMod val="20000"/>
              <a:lumOff val="80000"/>
            </a:scheme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C000">
                    <a:lumMod val="75000"/>
                  </a:srgbClr>
                </a:solidFill>
                <a:effectLst/>
                <a:uLnTx/>
                <a:uFillTx/>
                <a:latin typeface="Roboto"/>
                <a:ea typeface="+mn-ea"/>
                <a:cs typeface="+mn-cs"/>
              </a:rPr>
              <a:t>Indicators</a:t>
            </a:r>
          </a:p>
        </p:txBody>
      </p:sp>
      <p:sp>
        <p:nvSpPr>
          <p:cNvPr id="107" name="TextBox 106">
            <a:extLst>
              <a:ext uri="{FF2B5EF4-FFF2-40B4-BE49-F238E27FC236}">
                <a16:creationId xmlns:a16="http://schemas.microsoft.com/office/drawing/2014/main" id="{C2FA154C-13B2-6C8F-80AC-3A4B087FA9FE}"/>
              </a:ext>
            </a:extLst>
          </p:cNvPr>
          <p:cNvSpPr txBox="1"/>
          <p:nvPr/>
        </p:nvSpPr>
        <p:spPr>
          <a:xfrm>
            <a:off x="10570019" y="6127449"/>
            <a:ext cx="1181798" cy="16158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1" i="0" u="none" strike="noStrike" kern="1200" cap="none" spc="0" normalizeH="0" baseline="0" noProof="0" dirty="0">
                <a:ln>
                  <a:noFill/>
                </a:ln>
                <a:solidFill>
                  <a:srgbClr val="44546A"/>
                </a:solidFill>
                <a:effectLst/>
                <a:uLnTx/>
                <a:uFillTx/>
                <a:latin typeface="Roboto"/>
                <a:ea typeface="+mn-ea"/>
                <a:cs typeface="+mn-cs"/>
              </a:rPr>
              <a:t>UN, Others</a:t>
            </a:r>
          </a:p>
        </p:txBody>
      </p:sp>
      <p:cxnSp>
        <p:nvCxnSpPr>
          <p:cNvPr id="108" name="Straight Connector 107">
            <a:extLst>
              <a:ext uri="{FF2B5EF4-FFF2-40B4-BE49-F238E27FC236}">
                <a16:creationId xmlns:a16="http://schemas.microsoft.com/office/drawing/2014/main" id="{CB8CE80F-9683-A9AB-860B-6F00B6161DED}"/>
              </a:ext>
            </a:extLst>
          </p:cNvPr>
          <p:cNvCxnSpPr>
            <a:cxnSpLocks/>
          </p:cNvCxnSpPr>
          <p:nvPr/>
        </p:nvCxnSpPr>
        <p:spPr>
          <a:xfrm rot="10800000" flipV="1">
            <a:off x="10572241" y="5483401"/>
            <a:ext cx="1179576" cy="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F1B1CC47-8CEF-05D4-97AB-4D8DA7D86145}"/>
              </a:ext>
            </a:extLst>
          </p:cNvPr>
          <p:cNvCxnSpPr>
            <a:cxnSpLocks/>
          </p:cNvCxnSpPr>
          <p:nvPr/>
        </p:nvCxnSpPr>
        <p:spPr>
          <a:xfrm rot="10800000" flipV="1">
            <a:off x="10572241" y="6020489"/>
            <a:ext cx="1179576" cy="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DDFAD05A-2309-7211-3901-8E0500AEEE03}"/>
              </a:ext>
            </a:extLst>
          </p:cNvPr>
          <p:cNvCxnSpPr>
            <a:cxnSpLocks/>
          </p:cNvCxnSpPr>
          <p:nvPr/>
        </p:nvCxnSpPr>
        <p:spPr>
          <a:xfrm rot="10800000" flipV="1">
            <a:off x="10572241" y="4415398"/>
            <a:ext cx="1179576" cy="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4D5FA360-0902-DF8C-C86B-0B782B0736D0}"/>
              </a:ext>
            </a:extLst>
          </p:cNvPr>
          <p:cNvCxnSpPr>
            <a:cxnSpLocks/>
          </p:cNvCxnSpPr>
          <p:nvPr/>
        </p:nvCxnSpPr>
        <p:spPr>
          <a:xfrm rot="10800000" flipV="1">
            <a:off x="10572241" y="3593616"/>
            <a:ext cx="1179576" cy="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5A9FC31-59BB-895B-7074-F242C05A25E3}"/>
              </a:ext>
            </a:extLst>
          </p:cNvPr>
          <p:cNvSpPr txBox="1"/>
          <p:nvPr/>
        </p:nvSpPr>
        <p:spPr>
          <a:xfrm>
            <a:off x="1141953" y="2313360"/>
            <a:ext cx="3552254" cy="169277"/>
          </a:xfrm>
          <a:prstGeom prst="rect">
            <a:avLst/>
          </a:prstGeom>
          <a:noFill/>
        </p:spPr>
        <p:txBody>
          <a:bodyPr wrap="none" lIns="0" tIns="0" rIns="0" bIns="0" rtlCol="0">
            <a:spAutoFit/>
          </a:bodyPr>
          <a:lstStyle/>
          <a:p>
            <a:pPr marL="0" indent="0" algn="l">
              <a:buFont typeface="Arial" panose="020B0604020202020204" pitchFamily="34" charset="0"/>
              <a:buNone/>
            </a:pPr>
            <a:r>
              <a:rPr lang="en-US" sz="1100" b="1" dirty="0"/>
              <a:t>UAE Framework for Global Climate Resilience (on GGA)</a:t>
            </a:r>
          </a:p>
        </p:txBody>
      </p:sp>
      <p:grpSp>
        <p:nvGrpSpPr>
          <p:cNvPr id="8" name="Group 7">
            <a:extLst>
              <a:ext uri="{FF2B5EF4-FFF2-40B4-BE49-F238E27FC236}">
                <a16:creationId xmlns:a16="http://schemas.microsoft.com/office/drawing/2014/main" id="{3F7E9344-1579-8FA1-4D9F-53978A93918E}"/>
              </a:ext>
            </a:extLst>
          </p:cNvPr>
          <p:cNvGrpSpPr/>
          <p:nvPr/>
        </p:nvGrpSpPr>
        <p:grpSpPr>
          <a:xfrm>
            <a:off x="1010642" y="3414915"/>
            <a:ext cx="9290826" cy="915844"/>
            <a:chOff x="1010642" y="3414915"/>
            <a:chExt cx="9290826" cy="915844"/>
          </a:xfrm>
        </p:grpSpPr>
        <p:grpSp>
          <p:nvGrpSpPr>
            <p:cNvPr id="54" name="Group 53">
              <a:extLst>
                <a:ext uri="{FF2B5EF4-FFF2-40B4-BE49-F238E27FC236}">
                  <a16:creationId xmlns:a16="http://schemas.microsoft.com/office/drawing/2014/main" id="{23126289-5476-1E63-C93B-C0A40F561BE6}"/>
                </a:ext>
              </a:extLst>
            </p:cNvPr>
            <p:cNvGrpSpPr/>
            <p:nvPr/>
          </p:nvGrpSpPr>
          <p:grpSpPr>
            <a:xfrm>
              <a:off x="1010642" y="3414915"/>
              <a:ext cx="9290826" cy="915844"/>
              <a:chOff x="1010642" y="3365305"/>
              <a:chExt cx="9290826" cy="915844"/>
            </a:xfrm>
          </p:grpSpPr>
          <p:sp>
            <p:nvSpPr>
              <p:cNvPr id="26" name="Rectangle: Rounded Corners 25">
                <a:extLst>
                  <a:ext uri="{FF2B5EF4-FFF2-40B4-BE49-F238E27FC236}">
                    <a16:creationId xmlns:a16="http://schemas.microsoft.com/office/drawing/2014/main" id="{D20D7A9C-E23E-6A52-5D30-F9627C5EB1A0}"/>
                  </a:ext>
                </a:extLst>
              </p:cNvPr>
              <p:cNvSpPr/>
              <p:nvPr/>
            </p:nvSpPr>
            <p:spPr>
              <a:xfrm flipH="1">
                <a:off x="1010642" y="3365305"/>
                <a:ext cx="9290826" cy="907617"/>
              </a:xfrm>
              <a:prstGeom prst="roundRect">
                <a:avLst>
                  <a:gd name="adj" fmla="val 12183"/>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000" b="1" i="0" u="none" strike="noStrike" kern="1200" cap="none" spc="0" normalizeH="0" baseline="0" noProof="0">
                  <a:ln>
                    <a:noFill/>
                  </a:ln>
                  <a:solidFill>
                    <a:prstClr val="black"/>
                  </a:solidFill>
                  <a:effectLst/>
                  <a:uLnTx/>
                  <a:uFillTx/>
                  <a:latin typeface="Roboto"/>
                  <a:ea typeface="+mn-ea"/>
                  <a:cs typeface="+mn-cs"/>
                </a:endParaRPr>
              </a:p>
            </p:txBody>
          </p:sp>
          <p:sp>
            <p:nvSpPr>
              <p:cNvPr id="27" name="Rounded Rectangle 4">
                <a:extLst>
                  <a:ext uri="{FF2B5EF4-FFF2-40B4-BE49-F238E27FC236}">
                    <a16:creationId xmlns:a16="http://schemas.microsoft.com/office/drawing/2014/main" id="{D490BBAE-AAF5-06FF-A695-928DD11733F6}"/>
                  </a:ext>
                </a:extLst>
              </p:cNvPr>
              <p:cNvSpPr>
                <a:spLocks/>
              </p:cNvSpPr>
              <p:nvPr/>
            </p:nvSpPr>
            <p:spPr>
              <a:xfrm>
                <a:off x="1010642" y="3365305"/>
                <a:ext cx="9290304" cy="365760"/>
              </a:xfrm>
              <a:prstGeom prst="roundRect">
                <a:avLst>
                  <a:gd name="adj" fmla="val 23887"/>
                </a:avLst>
              </a:prstGeom>
              <a:solidFill>
                <a:schemeClr val="accent2"/>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Roboto"/>
                    <a:ea typeface="Roboto"/>
                    <a:cs typeface="Roboto"/>
                  </a:rPr>
                  <a:t>How do we get there</a:t>
                </a:r>
              </a:p>
            </p:txBody>
          </p:sp>
          <p:sp>
            <p:nvSpPr>
              <p:cNvPr id="28" name="TextBox 27">
                <a:extLst>
                  <a:ext uri="{FF2B5EF4-FFF2-40B4-BE49-F238E27FC236}">
                    <a16:creationId xmlns:a16="http://schemas.microsoft.com/office/drawing/2014/main" id="{EF3881AE-9F24-5D69-43F9-2187DEB95C07}"/>
                  </a:ext>
                </a:extLst>
              </p:cNvPr>
              <p:cNvSpPr txBox="1"/>
              <p:nvPr/>
            </p:nvSpPr>
            <p:spPr>
              <a:xfrm>
                <a:off x="1212635" y="3819484"/>
                <a:ext cx="8886841" cy="46166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546A"/>
                    </a:solidFill>
                    <a:effectLst/>
                    <a:uLnTx/>
                    <a:uFillTx/>
                    <a:latin typeface="Roboto"/>
                    <a:ea typeface="+mn-ea"/>
                    <a:cs typeface="+mn-cs"/>
                  </a:rPr>
                  <a:t>National Adaptation Plan (NA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44546A"/>
                  </a:solidFill>
                  <a:effectLst/>
                  <a:uLnTx/>
                  <a:uFillTx/>
                  <a:latin typeface="Roboto"/>
                  <a:ea typeface="+mn-ea"/>
                  <a:cs typeface="+mn-cs"/>
                </a:endParaRPr>
              </a:p>
              <a:p>
                <a:pPr lvl="0">
                  <a:defRPr/>
                </a:pPr>
                <a:r>
                  <a:rPr kumimoji="0" lang="en-US" sz="800" b="0" i="0" u="none" strike="noStrike" kern="1200" cap="none" spc="0" normalizeH="0" baseline="0" noProof="0" dirty="0">
                    <a:ln>
                      <a:noFill/>
                    </a:ln>
                    <a:solidFill>
                      <a:srgbClr val="44546A"/>
                    </a:solidFill>
                    <a:effectLst/>
                    <a:uLnTx/>
                    <a:uFillTx/>
                    <a:latin typeface="Roboto"/>
                    <a:ea typeface="+mn-ea"/>
                    <a:cs typeface="+mn-cs"/>
                  </a:rPr>
                  <a:t>Hazards </a:t>
                </a:r>
                <a:r>
                  <a:rPr lang="en-US" sz="800" dirty="0">
                    <a:solidFill>
                      <a:srgbClr val="44546A"/>
                    </a:solidFill>
                    <a:sym typeface="Wingdings" panose="05000000000000000000" pitchFamily="2" charset="2"/>
                  </a:rPr>
                  <a:t></a:t>
                </a:r>
                <a:r>
                  <a:rPr kumimoji="0" lang="en-US" sz="800" b="0" i="0" u="none" strike="noStrike" kern="1200" cap="none" spc="0" normalizeH="0" baseline="0" noProof="0" dirty="0">
                    <a:ln>
                      <a:noFill/>
                    </a:ln>
                    <a:solidFill>
                      <a:srgbClr val="44546A"/>
                    </a:solidFill>
                    <a:effectLst/>
                    <a:uLnTx/>
                    <a:uFillTx/>
                    <a:latin typeface="Roboto"/>
                    <a:ea typeface="+mn-ea"/>
                    <a:cs typeface="+mn-cs"/>
                  </a:rPr>
                  <a:t> Impacts </a:t>
                </a:r>
                <a:r>
                  <a:rPr lang="en-US" sz="800" dirty="0">
                    <a:solidFill>
                      <a:srgbClr val="44546A"/>
                    </a:solidFill>
                    <a:sym typeface="Wingdings" panose="05000000000000000000" pitchFamily="2" charset="2"/>
                  </a:rPr>
                  <a:t></a:t>
                </a:r>
                <a:r>
                  <a:rPr kumimoji="0" lang="en-US" sz="800" b="0" i="0" u="none" strike="noStrike" kern="1200" cap="none" spc="0" normalizeH="0" baseline="0" noProof="0" dirty="0">
                    <a:ln>
                      <a:noFill/>
                    </a:ln>
                    <a:solidFill>
                      <a:srgbClr val="44546A"/>
                    </a:solidFill>
                    <a:effectLst/>
                    <a:uLnTx/>
                    <a:uFillTx/>
                    <a:latin typeface="Roboto"/>
                    <a:ea typeface="+mn-ea"/>
                    <a:cs typeface="+mn-cs"/>
                  </a:rPr>
                  <a:t> Risk Pathways </a:t>
                </a:r>
                <a:r>
                  <a:rPr lang="en-US" sz="800" dirty="0">
                    <a:solidFill>
                      <a:srgbClr val="44546A"/>
                    </a:solidFill>
                    <a:sym typeface="Wingdings" panose="05000000000000000000" pitchFamily="2" charset="2"/>
                  </a:rPr>
                  <a:t></a:t>
                </a:r>
                <a:r>
                  <a:rPr kumimoji="0" lang="en-US" sz="800" b="0" i="0" u="none" strike="noStrike" kern="1200" cap="none" spc="0" normalizeH="0" baseline="0" noProof="0" dirty="0">
                    <a:ln>
                      <a:noFill/>
                    </a:ln>
                    <a:solidFill>
                      <a:srgbClr val="44546A"/>
                    </a:solidFill>
                    <a:effectLst/>
                    <a:uLnTx/>
                    <a:uFillTx/>
                    <a:latin typeface="Roboto"/>
                    <a:ea typeface="+mn-ea"/>
                    <a:cs typeface="+mn-cs"/>
                  </a:rPr>
                  <a:t> Adaptation Functions </a:t>
                </a:r>
                <a:r>
                  <a:rPr lang="en-US" sz="800" dirty="0">
                    <a:solidFill>
                      <a:srgbClr val="44546A"/>
                    </a:solidFill>
                    <a:sym typeface="Wingdings" panose="05000000000000000000" pitchFamily="2" charset="2"/>
                  </a:rPr>
                  <a:t></a:t>
                </a:r>
                <a:r>
                  <a:rPr kumimoji="0" lang="en-US" sz="800" b="0" i="0" u="none" strike="noStrike" kern="1200" cap="none" spc="0" normalizeH="0" baseline="0" noProof="0" dirty="0">
                    <a:ln>
                      <a:noFill/>
                    </a:ln>
                    <a:solidFill>
                      <a:srgbClr val="44546A"/>
                    </a:solidFill>
                    <a:effectLst/>
                    <a:uLnTx/>
                    <a:uFillTx/>
                    <a:latin typeface="Roboto"/>
                    <a:ea typeface="+mn-ea"/>
                    <a:cs typeface="+mn-cs"/>
                  </a:rPr>
                  <a:t> GGA Targets </a:t>
                </a:r>
                <a:r>
                  <a:rPr kumimoji="0" lang="en-US" sz="800" b="0" i="0" u="none" strike="noStrike" kern="1200" cap="none" spc="0" normalizeH="0" baseline="0" noProof="0" dirty="0">
                    <a:ln>
                      <a:noFill/>
                    </a:ln>
                    <a:solidFill>
                      <a:srgbClr val="44546A"/>
                    </a:solidFill>
                    <a:effectLst/>
                    <a:uLnTx/>
                    <a:uFillTx/>
                    <a:latin typeface="Roboto"/>
                    <a:ea typeface="+mn-ea"/>
                    <a:cs typeface="+mn-cs"/>
                    <a:sym typeface="Wingdings" panose="05000000000000000000" pitchFamily="2" charset="2"/>
                  </a:rPr>
                  <a:t></a:t>
                </a:r>
                <a:r>
                  <a:rPr kumimoji="0" lang="en-US" sz="800" b="0" i="0" u="none" strike="noStrike" kern="1200" cap="none" spc="0" normalizeH="0" baseline="0" noProof="0" dirty="0">
                    <a:ln>
                      <a:noFill/>
                    </a:ln>
                    <a:solidFill>
                      <a:srgbClr val="44546A"/>
                    </a:solidFill>
                    <a:effectLst/>
                    <a:uLnTx/>
                    <a:uFillTx/>
                    <a:latin typeface="Roboto"/>
                    <a:ea typeface="+mn-ea"/>
                    <a:cs typeface="+mn-cs"/>
                  </a:rPr>
                  <a:t> NAP-GGA Systems </a:t>
                </a:r>
                <a:br>
                  <a:rPr kumimoji="0" lang="en-US" sz="800" b="0" i="0" u="none" strike="noStrike" kern="1200" cap="none" spc="0" normalizeH="0" baseline="0" noProof="0" dirty="0">
                    <a:ln>
                      <a:noFill/>
                    </a:ln>
                    <a:solidFill>
                      <a:srgbClr val="44546A"/>
                    </a:solidFill>
                    <a:effectLst/>
                    <a:uLnTx/>
                    <a:uFillTx/>
                    <a:latin typeface="Roboto"/>
                    <a:ea typeface="+mn-ea"/>
                    <a:cs typeface="+mn-cs"/>
                  </a:rPr>
                </a:br>
                <a:r>
                  <a:rPr kumimoji="0" lang="en-US" sz="800" b="0" i="0" u="none" strike="noStrike" kern="1200" cap="none" spc="0" normalizeH="0" baseline="0" noProof="0" dirty="0">
                    <a:ln>
                      <a:noFill/>
                    </a:ln>
                    <a:solidFill>
                      <a:srgbClr val="44546A"/>
                    </a:solidFill>
                    <a:effectLst/>
                    <a:uLnTx/>
                    <a:uFillTx/>
                    <a:latin typeface="Roboto"/>
                    <a:ea typeface="+mn-ea"/>
                    <a:cs typeface="+mn-cs"/>
                  </a:rPr>
                  <a:t>                </a:t>
                </a:r>
                <a:r>
                  <a:rPr lang="en-US" sz="800" dirty="0">
                    <a:solidFill>
                      <a:srgbClr val="44546A"/>
                    </a:solidFill>
                    <a:sym typeface="Wingdings" panose="05000000000000000000" pitchFamily="2" charset="2"/>
                  </a:rPr>
                  <a:t> </a:t>
                </a:r>
                <a:r>
                  <a:rPr kumimoji="0" lang="en-US" sz="800" b="0" i="0" u="none" strike="noStrike" kern="1200" cap="none" spc="0" normalizeH="0" baseline="0" noProof="0" dirty="0">
                    <a:ln>
                      <a:noFill/>
                    </a:ln>
                    <a:solidFill>
                      <a:srgbClr val="44546A"/>
                    </a:solidFill>
                    <a:effectLst/>
                    <a:uLnTx/>
                    <a:uFillTx/>
                    <a:latin typeface="Roboto"/>
                    <a:ea typeface="+mn-ea"/>
                    <a:cs typeface="+mn-cs"/>
                  </a:rPr>
                  <a:t>M</a:t>
                </a:r>
                <a:r>
                  <a:rPr lang="en-US" sz="800" dirty="0">
                    <a:solidFill>
                      <a:srgbClr val="44546A"/>
                    </a:solidFill>
                  </a:rPr>
                  <a:t>&amp;E </a:t>
                </a:r>
                <a:r>
                  <a:rPr lang="en-US" sz="800" dirty="0">
                    <a:solidFill>
                      <a:srgbClr val="44546A"/>
                    </a:solidFill>
                    <a:sym typeface="Wingdings" panose="05000000000000000000" pitchFamily="2" charset="2"/>
                  </a:rPr>
                  <a:t> </a:t>
                </a:r>
                <a:r>
                  <a:rPr lang="en-US" sz="800" dirty="0">
                    <a:solidFill>
                      <a:srgbClr val="44546A"/>
                    </a:solidFill>
                  </a:rPr>
                  <a:t>Financing </a:t>
                </a:r>
                <a:r>
                  <a:rPr lang="en-US" sz="800" dirty="0">
                    <a:solidFill>
                      <a:srgbClr val="44546A"/>
                    </a:solidFill>
                    <a:sym typeface="Wingdings" panose="05000000000000000000" pitchFamily="2" charset="2"/>
                  </a:rPr>
                  <a:t></a:t>
                </a:r>
                <a:r>
                  <a:rPr lang="en-US" sz="800" dirty="0">
                    <a:solidFill>
                      <a:srgbClr val="44546A"/>
                    </a:solidFill>
                  </a:rPr>
                  <a:t> Implementation Portfolio </a:t>
                </a:r>
                <a:r>
                  <a:rPr lang="en-US" sz="800" dirty="0">
                    <a:solidFill>
                      <a:srgbClr val="44546A"/>
                    </a:solidFill>
                    <a:sym typeface="Wingdings" panose="05000000000000000000" pitchFamily="2" charset="2"/>
                  </a:rPr>
                  <a:t></a:t>
                </a:r>
                <a:r>
                  <a:rPr lang="en-US" sz="800" dirty="0">
                    <a:solidFill>
                      <a:srgbClr val="44546A"/>
                    </a:solidFill>
                  </a:rPr>
                  <a:t> Essential Adaptation Solutions </a:t>
                </a:r>
                <a:endParaRPr kumimoji="0" lang="en-US" sz="800" b="0" i="0" u="none" strike="noStrike" kern="1200" cap="none" spc="0" normalizeH="0" baseline="0" noProof="0" dirty="0">
                  <a:ln>
                    <a:noFill/>
                  </a:ln>
                  <a:solidFill>
                    <a:srgbClr val="44546A"/>
                  </a:solidFill>
                  <a:effectLst/>
                  <a:uLnTx/>
                  <a:uFillTx/>
                  <a:latin typeface="Roboto"/>
                  <a:ea typeface="+mn-ea"/>
                  <a:cs typeface="+mn-cs"/>
                </a:endParaRPr>
              </a:p>
            </p:txBody>
          </p:sp>
        </p:grpSp>
        <p:cxnSp>
          <p:nvCxnSpPr>
            <p:cNvPr id="12" name="Connector: Curved 11">
              <a:extLst>
                <a:ext uri="{FF2B5EF4-FFF2-40B4-BE49-F238E27FC236}">
                  <a16:creationId xmlns:a16="http://schemas.microsoft.com/office/drawing/2014/main" id="{C0EBAB67-494C-69C3-6DA1-0CD6B3531A08}"/>
                </a:ext>
              </a:extLst>
            </p:cNvPr>
            <p:cNvCxnSpPr>
              <a:cxnSpLocks/>
            </p:cNvCxnSpPr>
            <p:nvPr/>
          </p:nvCxnSpPr>
          <p:spPr>
            <a:xfrm rot="10800000" flipV="1">
              <a:off x="5437178" y="4152897"/>
              <a:ext cx="354025" cy="136489"/>
            </a:xfrm>
            <a:prstGeom prst="curvedConnector3">
              <a:avLst>
                <a:gd name="adj1" fmla="val -28024"/>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Curved 22">
              <a:extLst>
                <a:ext uri="{FF2B5EF4-FFF2-40B4-BE49-F238E27FC236}">
                  <a16:creationId xmlns:a16="http://schemas.microsoft.com/office/drawing/2014/main" id="{9835BD2E-60CD-F648-F994-1745053463D5}"/>
                </a:ext>
              </a:extLst>
            </p:cNvPr>
            <p:cNvCxnSpPr>
              <a:cxnSpLocks/>
            </p:cNvCxnSpPr>
            <p:nvPr/>
          </p:nvCxnSpPr>
          <p:spPr>
            <a:xfrm rot="10800000">
              <a:off x="1193585" y="4152897"/>
              <a:ext cx="354026" cy="136490"/>
            </a:xfrm>
            <a:prstGeom prst="curvedConnector3">
              <a:avLst>
                <a:gd name="adj1" fmla="val 130714"/>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6" name="TextBox 35">
            <a:extLst>
              <a:ext uri="{FF2B5EF4-FFF2-40B4-BE49-F238E27FC236}">
                <a16:creationId xmlns:a16="http://schemas.microsoft.com/office/drawing/2014/main" id="{7A01A2EE-7471-B3A8-2927-20EBD7BA544C}"/>
              </a:ext>
            </a:extLst>
          </p:cNvPr>
          <p:cNvSpPr txBox="1"/>
          <p:nvPr/>
        </p:nvSpPr>
        <p:spPr>
          <a:xfrm>
            <a:off x="7404413" y="4040862"/>
            <a:ext cx="2003899" cy="246221"/>
          </a:xfrm>
          <a:prstGeom prst="rect">
            <a:avLst/>
          </a:prstGeom>
          <a:noFill/>
        </p:spPr>
        <p:txBody>
          <a:bodyPr wrap="square" lIns="0" tIns="0" rIns="0" bIns="0" rtlCol="0">
            <a:spAutoFit/>
          </a:bodyPr>
          <a:lstStyle/>
          <a:p>
            <a:pPr marL="0" indent="0" algn="ctr">
              <a:buFont typeface="Arial" panose="020B0604020202020204" pitchFamily="34" charset="0"/>
              <a:buNone/>
            </a:pPr>
            <a:r>
              <a:rPr lang="en-US" sz="800" dirty="0">
                <a:solidFill>
                  <a:srgbClr val="44546A"/>
                </a:solidFill>
                <a:latin typeface="Roboto"/>
              </a:rPr>
              <a:t>Adaptation information basis for </a:t>
            </a:r>
          </a:p>
          <a:p>
            <a:pPr marL="0" indent="0" algn="ctr">
              <a:buFont typeface="Arial" panose="020B0604020202020204" pitchFamily="34" charset="0"/>
              <a:buNone/>
            </a:pPr>
            <a:r>
              <a:rPr lang="en-US" sz="800" dirty="0">
                <a:solidFill>
                  <a:srgbClr val="44546A"/>
                </a:solidFill>
                <a:latin typeface="Roboto"/>
              </a:rPr>
              <a:t>NDCs, adaptation communication, BTR</a:t>
            </a:r>
          </a:p>
        </p:txBody>
      </p:sp>
      <p:sp>
        <p:nvSpPr>
          <p:cNvPr id="37" name="Arrow: Chevron 36">
            <a:extLst>
              <a:ext uri="{FF2B5EF4-FFF2-40B4-BE49-F238E27FC236}">
                <a16:creationId xmlns:a16="http://schemas.microsoft.com/office/drawing/2014/main" id="{13CCADC2-00F3-D2A6-6885-AA9B1F17A935}"/>
              </a:ext>
            </a:extLst>
          </p:cNvPr>
          <p:cNvSpPr/>
          <p:nvPr/>
        </p:nvSpPr>
        <p:spPr>
          <a:xfrm>
            <a:off x="7062281" y="4083633"/>
            <a:ext cx="214008" cy="179936"/>
          </a:xfrm>
          <a:prstGeom prst="chevron">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Isosceles Triangle 37">
            <a:extLst>
              <a:ext uri="{FF2B5EF4-FFF2-40B4-BE49-F238E27FC236}">
                <a16:creationId xmlns:a16="http://schemas.microsoft.com/office/drawing/2014/main" id="{5367AF75-79E5-283A-5932-91C7C4F0E4D6}"/>
              </a:ext>
            </a:extLst>
          </p:cNvPr>
          <p:cNvSpPr/>
          <p:nvPr/>
        </p:nvSpPr>
        <p:spPr>
          <a:xfrm>
            <a:off x="2145487" y="485717"/>
            <a:ext cx="7901025" cy="119261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a:p>
            <a:pPr algn="ctr"/>
            <a:r>
              <a:rPr lang="en-US" sz="1600" b="1" dirty="0"/>
              <a:t>Global Goal on Adaptation (GGA)</a:t>
            </a:r>
          </a:p>
          <a:p>
            <a:pPr algn="ctr"/>
            <a:r>
              <a:rPr lang="en-US" sz="1000" dirty="0"/>
              <a:t>… of enhancing adaptive capacity, strengthening resilience, reducing vulnerability to climate change …</a:t>
            </a:r>
          </a:p>
          <a:p>
            <a:pPr algn="ctr"/>
            <a:endParaRPr lang="en-US" sz="1600" dirty="0"/>
          </a:p>
          <a:p>
            <a:pPr algn="ctr"/>
            <a:endParaRPr lang="en-US" sz="1600" dirty="0"/>
          </a:p>
        </p:txBody>
      </p:sp>
    </p:spTree>
    <p:extLst>
      <p:ext uri="{BB962C8B-B14F-4D97-AF65-F5344CB8AC3E}">
        <p14:creationId xmlns:p14="http://schemas.microsoft.com/office/powerpoint/2010/main" val="36775886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Single Corner Rounded 83">
            <a:extLst>
              <a:ext uri="{FF2B5EF4-FFF2-40B4-BE49-F238E27FC236}">
                <a16:creationId xmlns:a16="http://schemas.microsoft.com/office/drawing/2014/main" id="{1E698E06-70BE-76B1-1A9B-6828EAA11AB1}"/>
              </a:ext>
            </a:extLst>
          </p:cNvPr>
          <p:cNvSpPr/>
          <p:nvPr/>
        </p:nvSpPr>
        <p:spPr>
          <a:xfrm>
            <a:off x="723021" y="1288400"/>
            <a:ext cx="3217822" cy="5150500"/>
          </a:xfrm>
          <a:prstGeom prst="round1Rect">
            <a:avLst>
              <a:gd name="adj" fmla="val 0"/>
            </a:avLst>
          </a:prstGeom>
          <a:gradFill flip="none" rotWithShape="1">
            <a:gsLst>
              <a:gs pos="0">
                <a:schemeClr val="accent1">
                  <a:lumMod val="50000"/>
                </a:schemeClr>
              </a:gs>
              <a:gs pos="100000">
                <a:schemeClr val="accent1"/>
              </a:gs>
            </a:gsLst>
            <a:lin ang="2700000" scaled="1"/>
            <a:tileRect/>
          </a:gradFill>
          <a:ln>
            <a:noFill/>
          </a:ln>
          <a:effectLst>
            <a:outerShdw blurRad="279400" dist="38100" dir="8100000" algn="ctr" rotWithShape="0">
              <a:srgbClr val="000000">
                <a:alpha val="62000"/>
              </a:srgbClr>
            </a:outerShdw>
          </a:effectLst>
        </p:spPr>
        <p:txBody>
          <a:bodyPr spcFirstLastPara="1" wrap="square" lIns="274320" tIns="365760" rIns="18288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Roboto"/>
              <a:ea typeface="+mn-ea"/>
              <a:cs typeface="+mn-cs"/>
            </a:endParaRPr>
          </a:p>
        </p:txBody>
      </p:sp>
      <p:sp>
        <p:nvSpPr>
          <p:cNvPr id="2" name="Title 1">
            <a:extLst>
              <a:ext uri="{FF2B5EF4-FFF2-40B4-BE49-F238E27FC236}">
                <a16:creationId xmlns:a16="http://schemas.microsoft.com/office/drawing/2014/main" id="{53EF0646-4027-8733-678B-F71ED1A33385}"/>
              </a:ext>
            </a:extLst>
          </p:cNvPr>
          <p:cNvSpPr>
            <a:spLocks noGrp="1"/>
          </p:cNvSpPr>
          <p:nvPr>
            <p:ph type="title"/>
          </p:nvPr>
        </p:nvSpPr>
        <p:spPr/>
        <p:txBody>
          <a:bodyPr/>
          <a:lstStyle/>
          <a:p>
            <a:r>
              <a:rPr lang="en-US" dirty="0"/>
              <a:t>Global goal on adaptation – a timeline (overview) </a:t>
            </a:r>
          </a:p>
        </p:txBody>
      </p:sp>
      <p:sp>
        <p:nvSpPr>
          <p:cNvPr id="4" name="Slide Number Placeholder 3">
            <a:extLst>
              <a:ext uri="{FF2B5EF4-FFF2-40B4-BE49-F238E27FC236}">
                <a16:creationId xmlns:a16="http://schemas.microsoft.com/office/drawing/2014/main" id="{F1C2E22F-2306-431D-0669-5690026DA05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BD9EE9C-3A9A-458B-8C8B-545D7DF0CA2D}" type="slidenum">
              <a:rPr kumimoji="0" lang="en-ID" sz="1000" b="1" i="0" u="none" strike="noStrike" kern="1200" cap="none" spc="0" normalizeH="0" baseline="0" noProof="0" smtClean="0">
                <a:ln>
                  <a:noFill/>
                </a:ln>
                <a:solidFill>
                  <a:srgbClr val="1C97DA"/>
                </a:solidFill>
                <a:effectLst/>
                <a:uLnTx/>
                <a:uFillTx/>
                <a:latin typeface="Robot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ID" sz="1000" b="1" i="0" u="none" strike="noStrike" kern="1200" cap="none" spc="0" normalizeH="0" baseline="0" noProof="0">
              <a:ln>
                <a:noFill/>
              </a:ln>
              <a:solidFill>
                <a:srgbClr val="1C97DA"/>
              </a:solidFill>
              <a:effectLst/>
              <a:uLnTx/>
              <a:uFillTx/>
              <a:latin typeface="Roboto"/>
              <a:ea typeface="+mn-ea"/>
              <a:cs typeface="+mn-cs"/>
            </a:endParaRPr>
          </a:p>
        </p:txBody>
      </p:sp>
      <p:sp>
        <p:nvSpPr>
          <p:cNvPr id="83" name="Rectangle: Rounded Corners 82">
            <a:extLst>
              <a:ext uri="{FF2B5EF4-FFF2-40B4-BE49-F238E27FC236}">
                <a16:creationId xmlns:a16="http://schemas.microsoft.com/office/drawing/2014/main" id="{57C904F0-FFB4-9E48-40A1-BD4829CF4E46}"/>
              </a:ext>
            </a:extLst>
          </p:cNvPr>
          <p:cNvSpPr/>
          <p:nvPr/>
        </p:nvSpPr>
        <p:spPr>
          <a:xfrm rot="5400000" flipH="1">
            <a:off x="5359710" y="-393391"/>
            <a:ext cx="5150500" cy="8514081"/>
          </a:xfrm>
          <a:prstGeom prst="roundRect">
            <a:avLst>
              <a:gd name="adj" fmla="val 0"/>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0" name="Group 109">
            <a:extLst>
              <a:ext uri="{FF2B5EF4-FFF2-40B4-BE49-F238E27FC236}">
                <a16:creationId xmlns:a16="http://schemas.microsoft.com/office/drawing/2014/main" id="{B62D7008-6F34-8E14-EE99-1CD63112BFB3}"/>
              </a:ext>
            </a:extLst>
          </p:cNvPr>
          <p:cNvGrpSpPr/>
          <p:nvPr/>
        </p:nvGrpSpPr>
        <p:grpSpPr>
          <a:xfrm>
            <a:off x="934931" y="1745724"/>
            <a:ext cx="2526449" cy="701584"/>
            <a:chOff x="934931" y="1455465"/>
            <a:chExt cx="2526449" cy="701584"/>
          </a:xfrm>
        </p:grpSpPr>
        <p:sp>
          <p:nvSpPr>
            <p:cNvPr id="92" name="TextBox 91">
              <a:extLst>
                <a:ext uri="{FF2B5EF4-FFF2-40B4-BE49-F238E27FC236}">
                  <a16:creationId xmlns:a16="http://schemas.microsoft.com/office/drawing/2014/main" id="{A23F061B-3074-A4F0-3F1B-11DA46935084}"/>
                </a:ext>
              </a:extLst>
            </p:cNvPr>
            <p:cNvSpPr txBox="1"/>
            <p:nvPr/>
          </p:nvSpPr>
          <p:spPr>
            <a:xfrm>
              <a:off x="1862484" y="1464552"/>
              <a:ext cx="1598896" cy="69249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Roboto"/>
                  <a:ea typeface="Roboto"/>
                  <a:cs typeface="Roboto"/>
                </a:rPr>
                <a:t>Article 7.1 of the Paris Agre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dirty="0">
                  <a:solidFill>
                    <a:prstClr val="white"/>
                  </a:solidFill>
                  <a:latin typeface="Roboto"/>
                  <a:ea typeface="Roboto"/>
                  <a:cs typeface="Roboto"/>
                </a:rPr>
                <a:t>(2015)</a:t>
              </a:r>
              <a:endParaRPr kumimoji="0" lang="en-US" sz="1500" b="1" i="0" u="none" strike="noStrike" kern="1200" cap="none" spc="0" normalizeH="0" baseline="0" noProof="0" dirty="0">
                <a:ln>
                  <a:noFill/>
                </a:ln>
                <a:solidFill>
                  <a:prstClr val="white"/>
                </a:solidFill>
                <a:effectLst/>
                <a:uLnTx/>
                <a:uFillTx/>
                <a:latin typeface="Roboto"/>
                <a:ea typeface="Roboto"/>
                <a:cs typeface="Roboto"/>
              </a:endParaRPr>
            </a:p>
          </p:txBody>
        </p:sp>
        <p:grpSp>
          <p:nvGrpSpPr>
            <p:cNvPr id="93" name="Group 92">
              <a:extLst>
                <a:ext uri="{FF2B5EF4-FFF2-40B4-BE49-F238E27FC236}">
                  <a16:creationId xmlns:a16="http://schemas.microsoft.com/office/drawing/2014/main" id="{277566F8-BCF0-AE93-A5D5-41CC742DF164}"/>
                </a:ext>
              </a:extLst>
            </p:cNvPr>
            <p:cNvGrpSpPr/>
            <p:nvPr/>
          </p:nvGrpSpPr>
          <p:grpSpPr>
            <a:xfrm>
              <a:off x="934931" y="1455465"/>
              <a:ext cx="692497" cy="692497"/>
              <a:chOff x="5470196" y="1394896"/>
              <a:chExt cx="764700" cy="764700"/>
            </a:xfrm>
          </p:grpSpPr>
          <p:grpSp>
            <p:nvGrpSpPr>
              <p:cNvPr id="94" name="Group 93">
                <a:extLst>
                  <a:ext uri="{FF2B5EF4-FFF2-40B4-BE49-F238E27FC236}">
                    <a16:creationId xmlns:a16="http://schemas.microsoft.com/office/drawing/2014/main" id="{20DE050E-56AA-2DFB-5B13-100A7E9F3320}"/>
                  </a:ext>
                </a:extLst>
              </p:cNvPr>
              <p:cNvGrpSpPr/>
              <p:nvPr/>
            </p:nvGrpSpPr>
            <p:grpSpPr>
              <a:xfrm>
                <a:off x="5470196" y="1394896"/>
                <a:ext cx="764700" cy="764700"/>
                <a:chOff x="5396773" y="1335882"/>
                <a:chExt cx="764700" cy="764700"/>
              </a:xfrm>
            </p:grpSpPr>
            <p:sp>
              <p:nvSpPr>
                <p:cNvPr id="108" name="Elipse 29">
                  <a:extLst>
                    <a:ext uri="{FF2B5EF4-FFF2-40B4-BE49-F238E27FC236}">
                      <a16:creationId xmlns:a16="http://schemas.microsoft.com/office/drawing/2014/main" id="{F870E18E-A892-89B3-0709-B6404A41CF05}"/>
                    </a:ext>
                  </a:extLst>
                </p:cNvPr>
                <p:cNvSpPr/>
                <p:nvPr/>
              </p:nvSpPr>
              <p:spPr>
                <a:xfrm>
                  <a:off x="5396773" y="1335882"/>
                  <a:ext cx="764700" cy="764700"/>
                </a:xfrm>
                <a:prstGeom prst="ellipse">
                  <a:avLst/>
                </a:prstGeom>
                <a:solidFill>
                  <a:schemeClr val="bg1"/>
                </a:solidFill>
                <a:ln>
                  <a:noFill/>
                </a:ln>
                <a:effectLst>
                  <a:outerShdw blurRad="2032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a:ea typeface="+mn-ea"/>
                    <a:cs typeface="+mn-cs"/>
                  </a:endParaRPr>
                </a:p>
              </p:txBody>
            </p:sp>
            <p:sp>
              <p:nvSpPr>
                <p:cNvPr id="109" name="Oval 108">
                  <a:extLst>
                    <a:ext uri="{FF2B5EF4-FFF2-40B4-BE49-F238E27FC236}">
                      <a16:creationId xmlns:a16="http://schemas.microsoft.com/office/drawing/2014/main" id="{01F1272C-BC5C-B8DA-6247-11C709E1FE1B}"/>
                    </a:ext>
                  </a:extLst>
                </p:cNvPr>
                <p:cNvSpPr/>
                <p:nvPr/>
              </p:nvSpPr>
              <p:spPr>
                <a:xfrm>
                  <a:off x="5466691" y="1405801"/>
                  <a:ext cx="624860" cy="6248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Roboto"/>
                    <a:ea typeface="+mn-ea"/>
                    <a:cs typeface="+mn-cs"/>
                  </a:endParaRPr>
                </a:p>
              </p:txBody>
            </p:sp>
          </p:grpSp>
          <p:grpSp>
            <p:nvGrpSpPr>
              <p:cNvPr id="95" name="Group 94">
                <a:extLst>
                  <a:ext uri="{FF2B5EF4-FFF2-40B4-BE49-F238E27FC236}">
                    <a16:creationId xmlns:a16="http://schemas.microsoft.com/office/drawing/2014/main" id="{047A1594-82B4-F47D-692B-3AFC31A9340C}"/>
                  </a:ext>
                </a:extLst>
              </p:cNvPr>
              <p:cNvGrpSpPr/>
              <p:nvPr/>
            </p:nvGrpSpPr>
            <p:grpSpPr>
              <a:xfrm>
                <a:off x="5693878" y="1597065"/>
                <a:ext cx="360363" cy="360363"/>
                <a:chOff x="9155113" y="2168525"/>
                <a:chExt cx="360363" cy="360363"/>
              </a:xfrm>
              <a:solidFill>
                <a:schemeClr val="bg1"/>
              </a:solidFill>
            </p:grpSpPr>
            <p:sp>
              <p:nvSpPr>
                <p:cNvPr id="96" name="Freeform 91">
                  <a:extLst>
                    <a:ext uri="{FF2B5EF4-FFF2-40B4-BE49-F238E27FC236}">
                      <a16:creationId xmlns:a16="http://schemas.microsoft.com/office/drawing/2014/main" id="{D7B4AD2E-6609-80BE-DEF9-EA251D43B277}"/>
                    </a:ext>
                  </a:extLst>
                </p:cNvPr>
                <p:cNvSpPr>
                  <a:spLocks noEditPoints="1"/>
                </p:cNvSpPr>
                <p:nvPr/>
              </p:nvSpPr>
              <p:spPr bwMode="auto">
                <a:xfrm>
                  <a:off x="9336088" y="2347913"/>
                  <a:ext cx="179388" cy="180975"/>
                </a:xfrm>
                <a:custGeom>
                  <a:avLst/>
                  <a:gdLst>
                    <a:gd name="T0" fmla="*/ 33 w 794"/>
                    <a:gd name="T1" fmla="*/ 794 h 794"/>
                    <a:gd name="T2" fmla="*/ 33 w 794"/>
                    <a:gd name="T3" fmla="*/ 794 h 794"/>
                    <a:gd name="T4" fmla="*/ 27 w 794"/>
                    <a:gd name="T5" fmla="*/ 794 h 794"/>
                    <a:gd name="T6" fmla="*/ 21 w 794"/>
                    <a:gd name="T7" fmla="*/ 792 h 794"/>
                    <a:gd name="T8" fmla="*/ 15 w 794"/>
                    <a:gd name="T9" fmla="*/ 789 h 794"/>
                    <a:gd name="T10" fmla="*/ 10 w 794"/>
                    <a:gd name="T11" fmla="*/ 785 h 794"/>
                    <a:gd name="T12" fmla="*/ 10 w 794"/>
                    <a:gd name="T13" fmla="*/ 785 h 794"/>
                    <a:gd name="T14" fmla="*/ 4 w 794"/>
                    <a:gd name="T15" fmla="*/ 778 h 794"/>
                    <a:gd name="T16" fmla="*/ 1 w 794"/>
                    <a:gd name="T17" fmla="*/ 769 h 794"/>
                    <a:gd name="T18" fmla="*/ 0 w 794"/>
                    <a:gd name="T19" fmla="*/ 761 h 794"/>
                    <a:gd name="T20" fmla="*/ 1 w 794"/>
                    <a:gd name="T21" fmla="*/ 753 h 794"/>
                    <a:gd name="T22" fmla="*/ 68 w 794"/>
                    <a:gd name="T23" fmla="*/ 521 h 794"/>
                    <a:gd name="T24" fmla="*/ 68 w 794"/>
                    <a:gd name="T25" fmla="*/ 521 h 794"/>
                    <a:gd name="T26" fmla="*/ 71 w 794"/>
                    <a:gd name="T27" fmla="*/ 513 h 794"/>
                    <a:gd name="T28" fmla="*/ 76 w 794"/>
                    <a:gd name="T29" fmla="*/ 506 h 794"/>
                    <a:gd name="T30" fmla="*/ 573 w 794"/>
                    <a:gd name="T31" fmla="*/ 10 h 794"/>
                    <a:gd name="T32" fmla="*/ 573 w 794"/>
                    <a:gd name="T33" fmla="*/ 10 h 794"/>
                    <a:gd name="T34" fmla="*/ 578 w 794"/>
                    <a:gd name="T35" fmla="*/ 6 h 794"/>
                    <a:gd name="T36" fmla="*/ 583 w 794"/>
                    <a:gd name="T37" fmla="*/ 3 h 794"/>
                    <a:gd name="T38" fmla="*/ 589 w 794"/>
                    <a:gd name="T39" fmla="*/ 1 h 794"/>
                    <a:gd name="T40" fmla="*/ 595 w 794"/>
                    <a:gd name="T41" fmla="*/ 0 h 794"/>
                    <a:gd name="T42" fmla="*/ 602 w 794"/>
                    <a:gd name="T43" fmla="*/ 1 h 794"/>
                    <a:gd name="T44" fmla="*/ 608 w 794"/>
                    <a:gd name="T45" fmla="*/ 3 h 794"/>
                    <a:gd name="T46" fmla="*/ 614 w 794"/>
                    <a:gd name="T47" fmla="*/ 6 h 794"/>
                    <a:gd name="T48" fmla="*/ 619 w 794"/>
                    <a:gd name="T49" fmla="*/ 10 h 794"/>
                    <a:gd name="T50" fmla="*/ 785 w 794"/>
                    <a:gd name="T51" fmla="*/ 175 h 794"/>
                    <a:gd name="T52" fmla="*/ 785 w 794"/>
                    <a:gd name="T53" fmla="*/ 175 h 794"/>
                    <a:gd name="T54" fmla="*/ 789 w 794"/>
                    <a:gd name="T55" fmla="*/ 180 h 794"/>
                    <a:gd name="T56" fmla="*/ 792 w 794"/>
                    <a:gd name="T57" fmla="*/ 186 h 794"/>
                    <a:gd name="T58" fmla="*/ 793 w 794"/>
                    <a:gd name="T59" fmla="*/ 193 h 794"/>
                    <a:gd name="T60" fmla="*/ 794 w 794"/>
                    <a:gd name="T61" fmla="*/ 199 h 794"/>
                    <a:gd name="T62" fmla="*/ 794 w 794"/>
                    <a:gd name="T63" fmla="*/ 199 h 794"/>
                    <a:gd name="T64" fmla="*/ 793 w 794"/>
                    <a:gd name="T65" fmla="*/ 205 h 794"/>
                    <a:gd name="T66" fmla="*/ 792 w 794"/>
                    <a:gd name="T67" fmla="*/ 211 h 794"/>
                    <a:gd name="T68" fmla="*/ 789 w 794"/>
                    <a:gd name="T69" fmla="*/ 218 h 794"/>
                    <a:gd name="T70" fmla="*/ 785 w 794"/>
                    <a:gd name="T71" fmla="*/ 223 h 794"/>
                    <a:gd name="T72" fmla="*/ 288 w 794"/>
                    <a:gd name="T73" fmla="*/ 719 h 794"/>
                    <a:gd name="T74" fmla="*/ 288 w 794"/>
                    <a:gd name="T75" fmla="*/ 719 h 794"/>
                    <a:gd name="T76" fmla="*/ 282 w 794"/>
                    <a:gd name="T77" fmla="*/ 724 h 794"/>
                    <a:gd name="T78" fmla="*/ 273 w 794"/>
                    <a:gd name="T79" fmla="*/ 727 h 794"/>
                    <a:gd name="T80" fmla="*/ 43 w 794"/>
                    <a:gd name="T81" fmla="*/ 793 h 794"/>
                    <a:gd name="T82" fmla="*/ 43 w 794"/>
                    <a:gd name="T83" fmla="*/ 793 h 794"/>
                    <a:gd name="T84" fmla="*/ 38 w 794"/>
                    <a:gd name="T85" fmla="*/ 794 h 794"/>
                    <a:gd name="T86" fmla="*/ 33 w 794"/>
                    <a:gd name="T87" fmla="*/ 794 h 794"/>
                    <a:gd name="T88" fmla="*/ 33 w 794"/>
                    <a:gd name="T89" fmla="*/ 794 h 794"/>
                    <a:gd name="T90" fmla="*/ 129 w 794"/>
                    <a:gd name="T91" fmla="*/ 547 h 794"/>
                    <a:gd name="T92" fmla="*/ 81 w 794"/>
                    <a:gd name="T93" fmla="*/ 713 h 794"/>
                    <a:gd name="T94" fmla="*/ 248 w 794"/>
                    <a:gd name="T95" fmla="*/ 666 h 794"/>
                    <a:gd name="T96" fmla="*/ 714 w 794"/>
                    <a:gd name="T97" fmla="*/ 199 h 794"/>
                    <a:gd name="T98" fmla="*/ 595 w 794"/>
                    <a:gd name="T99" fmla="*/ 80 h 794"/>
                    <a:gd name="T100" fmla="*/ 129 w 794"/>
                    <a:gd name="T101" fmla="*/ 547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94" h="794">
                      <a:moveTo>
                        <a:pt x="33" y="794"/>
                      </a:moveTo>
                      <a:lnTo>
                        <a:pt x="33" y="794"/>
                      </a:lnTo>
                      <a:lnTo>
                        <a:pt x="27" y="794"/>
                      </a:lnTo>
                      <a:lnTo>
                        <a:pt x="21" y="792"/>
                      </a:lnTo>
                      <a:lnTo>
                        <a:pt x="15" y="789"/>
                      </a:lnTo>
                      <a:lnTo>
                        <a:pt x="10" y="785"/>
                      </a:lnTo>
                      <a:lnTo>
                        <a:pt x="10" y="785"/>
                      </a:lnTo>
                      <a:lnTo>
                        <a:pt x="4" y="778"/>
                      </a:lnTo>
                      <a:lnTo>
                        <a:pt x="1" y="769"/>
                      </a:lnTo>
                      <a:lnTo>
                        <a:pt x="0" y="761"/>
                      </a:lnTo>
                      <a:lnTo>
                        <a:pt x="1" y="753"/>
                      </a:lnTo>
                      <a:lnTo>
                        <a:pt x="68" y="521"/>
                      </a:lnTo>
                      <a:lnTo>
                        <a:pt x="68" y="521"/>
                      </a:lnTo>
                      <a:lnTo>
                        <a:pt x="71" y="513"/>
                      </a:lnTo>
                      <a:lnTo>
                        <a:pt x="76" y="506"/>
                      </a:lnTo>
                      <a:lnTo>
                        <a:pt x="573" y="10"/>
                      </a:lnTo>
                      <a:lnTo>
                        <a:pt x="573" y="10"/>
                      </a:lnTo>
                      <a:lnTo>
                        <a:pt x="578" y="6"/>
                      </a:lnTo>
                      <a:lnTo>
                        <a:pt x="583" y="3"/>
                      </a:lnTo>
                      <a:lnTo>
                        <a:pt x="589" y="1"/>
                      </a:lnTo>
                      <a:lnTo>
                        <a:pt x="595" y="0"/>
                      </a:lnTo>
                      <a:lnTo>
                        <a:pt x="602" y="1"/>
                      </a:lnTo>
                      <a:lnTo>
                        <a:pt x="608" y="3"/>
                      </a:lnTo>
                      <a:lnTo>
                        <a:pt x="614" y="6"/>
                      </a:lnTo>
                      <a:lnTo>
                        <a:pt x="619" y="10"/>
                      </a:lnTo>
                      <a:lnTo>
                        <a:pt x="785" y="175"/>
                      </a:lnTo>
                      <a:lnTo>
                        <a:pt x="785" y="175"/>
                      </a:lnTo>
                      <a:lnTo>
                        <a:pt x="789" y="180"/>
                      </a:lnTo>
                      <a:lnTo>
                        <a:pt x="792" y="186"/>
                      </a:lnTo>
                      <a:lnTo>
                        <a:pt x="793" y="193"/>
                      </a:lnTo>
                      <a:lnTo>
                        <a:pt x="794" y="199"/>
                      </a:lnTo>
                      <a:lnTo>
                        <a:pt x="794" y="199"/>
                      </a:lnTo>
                      <a:lnTo>
                        <a:pt x="793" y="205"/>
                      </a:lnTo>
                      <a:lnTo>
                        <a:pt x="792" y="211"/>
                      </a:lnTo>
                      <a:lnTo>
                        <a:pt x="789" y="218"/>
                      </a:lnTo>
                      <a:lnTo>
                        <a:pt x="785" y="223"/>
                      </a:lnTo>
                      <a:lnTo>
                        <a:pt x="288" y="719"/>
                      </a:lnTo>
                      <a:lnTo>
                        <a:pt x="288" y="719"/>
                      </a:lnTo>
                      <a:lnTo>
                        <a:pt x="282" y="724"/>
                      </a:lnTo>
                      <a:lnTo>
                        <a:pt x="273" y="727"/>
                      </a:lnTo>
                      <a:lnTo>
                        <a:pt x="43" y="793"/>
                      </a:lnTo>
                      <a:lnTo>
                        <a:pt x="43" y="793"/>
                      </a:lnTo>
                      <a:lnTo>
                        <a:pt x="38" y="794"/>
                      </a:lnTo>
                      <a:lnTo>
                        <a:pt x="33" y="794"/>
                      </a:lnTo>
                      <a:lnTo>
                        <a:pt x="33" y="794"/>
                      </a:lnTo>
                      <a:close/>
                      <a:moveTo>
                        <a:pt x="129" y="547"/>
                      </a:moveTo>
                      <a:lnTo>
                        <a:pt x="81" y="713"/>
                      </a:lnTo>
                      <a:lnTo>
                        <a:pt x="248" y="666"/>
                      </a:lnTo>
                      <a:lnTo>
                        <a:pt x="714" y="199"/>
                      </a:lnTo>
                      <a:lnTo>
                        <a:pt x="595" y="80"/>
                      </a:lnTo>
                      <a:lnTo>
                        <a:pt x="129" y="5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97" name="Freeform 92">
                  <a:extLst>
                    <a:ext uri="{FF2B5EF4-FFF2-40B4-BE49-F238E27FC236}">
                      <a16:creationId xmlns:a16="http://schemas.microsoft.com/office/drawing/2014/main" id="{ACA34D49-7A7B-7DEA-49E7-05D978451EDA}"/>
                    </a:ext>
                  </a:extLst>
                </p:cNvPr>
                <p:cNvSpPr>
                  <a:spLocks/>
                </p:cNvSpPr>
                <p:nvPr/>
              </p:nvSpPr>
              <p:spPr bwMode="auto">
                <a:xfrm>
                  <a:off x="9434513" y="2381250"/>
                  <a:ext cx="49213" cy="47625"/>
                </a:xfrm>
                <a:custGeom>
                  <a:avLst/>
                  <a:gdLst>
                    <a:gd name="T0" fmla="*/ 166 w 212"/>
                    <a:gd name="T1" fmla="*/ 211 h 211"/>
                    <a:gd name="T2" fmla="*/ 0 w 212"/>
                    <a:gd name="T3" fmla="*/ 47 h 211"/>
                    <a:gd name="T4" fmla="*/ 47 w 212"/>
                    <a:gd name="T5" fmla="*/ 0 h 211"/>
                    <a:gd name="T6" fmla="*/ 212 w 212"/>
                    <a:gd name="T7" fmla="*/ 165 h 211"/>
                    <a:gd name="T8" fmla="*/ 166 w 212"/>
                    <a:gd name="T9" fmla="*/ 211 h 211"/>
                  </a:gdLst>
                  <a:ahLst/>
                  <a:cxnLst>
                    <a:cxn ang="0">
                      <a:pos x="T0" y="T1"/>
                    </a:cxn>
                    <a:cxn ang="0">
                      <a:pos x="T2" y="T3"/>
                    </a:cxn>
                    <a:cxn ang="0">
                      <a:pos x="T4" y="T5"/>
                    </a:cxn>
                    <a:cxn ang="0">
                      <a:pos x="T6" y="T7"/>
                    </a:cxn>
                    <a:cxn ang="0">
                      <a:pos x="T8" y="T9"/>
                    </a:cxn>
                  </a:cxnLst>
                  <a:rect l="0" t="0" r="r" b="b"/>
                  <a:pathLst>
                    <a:path w="212" h="211">
                      <a:moveTo>
                        <a:pt x="166" y="211"/>
                      </a:moveTo>
                      <a:lnTo>
                        <a:pt x="0" y="47"/>
                      </a:lnTo>
                      <a:lnTo>
                        <a:pt x="47" y="0"/>
                      </a:lnTo>
                      <a:lnTo>
                        <a:pt x="212" y="165"/>
                      </a:lnTo>
                      <a:lnTo>
                        <a:pt x="1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98" name="Freeform 93">
                  <a:extLst>
                    <a:ext uri="{FF2B5EF4-FFF2-40B4-BE49-F238E27FC236}">
                      <a16:creationId xmlns:a16="http://schemas.microsoft.com/office/drawing/2014/main" id="{4B99DCCD-D8A0-7F18-03C7-FE08444631AB}"/>
                    </a:ext>
                  </a:extLst>
                </p:cNvPr>
                <p:cNvSpPr>
                  <a:spLocks/>
                </p:cNvSpPr>
                <p:nvPr/>
              </p:nvSpPr>
              <p:spPr bwMode="auto">
                <a:xfrm>
                  <a:off x="9350375" y="2460625"/>
                  <a:ext cx="52388" cy="52388"/>
                </a:xfrm>
                <a:custGeom>
                  <a:avLst/>
                  <a:gdLst>
                    <a:gd name="T0" fmla="*/ 199 w 232"/>
                    <a:gd name="T1" fmla="*/ 231 h 231"/>
                    <a:gd name="T2" fmla="*/ 199 w 232"/>
                    <a:gd name="T3" fmla="*/ 231 h 231"/>
                    <a:gd name="T4" fmla="*/ 193 w 232"/>
                    <a:gd name="T5" fmla="*/ 231 h 231"/>
                    <a:gd name="T6" fmla="*/ 187 w 232"/>
                    <a:gd name="T7" fmla="*/ 229 h 231"/>
                    <a:gd name="T8" fmla="*/ 181 w 232"/>
                    <a:gd name="T9" fmla="*/ 226 h 231"/>
                    <a:gd name="T10" fmla="*/ 175 w 232"/>
                    <a:gd name="T11" fmla="*/ 222 h 231"/>
                    <a:gd name="T12" fmla="*/ 10 w 232"/>
                    <a:gd name="T13" fmla="*/ 56 h 231"/>
                    <a:gd name="T14" fmla="*/ 10 w 232"/>
                    <a:gd name="T15" fmla="*/ 56 h 231"/>
                    <a:gd name="T16" fmla="*/ 6 w 232"/>
                    <a:gd name="T17" fmla="*/ 51 h 231"/>
                    <a:gd name="T18" fmla="*/ 3 w 232"/>
                    <a:gd name="T19" fmla="*/ 46 h 231"/>
                    <a:gd name="T20" fmla="*/ 2 w 232"/>
                    <a:gd name="T21" fmla="*/ 39 h 231"/>
                    <a:gd name="T22" fmla="*/ 0 w 232"/>
                    <a:gd name="T23" fmla="*/ 33 h 231"/>
                    <a:gd name="T24" fmla="*/ 2 w 232"/>
                    <a:gd name="T25" fmla="*/ 27 h 231"/>
                    <a:gd name="T26" fmla="*/ 3 w 232"/>
                    <a:gd name="T27" fmla="*/ 21 h 231"/>
                    <a:gd name="T28" fmla="*/ 6 w 232"/>
                    <a:gd name="T29" fmla="*/ 15 h 231"/>
                    <a:gd name="T30" fmla="*/ 10 w 232"/>
                    <a:gd name="T31" fmla="*/ 9 h 231"/>
                    <a:gd name="T32" fmla="*/ 10 w 232"/>
                    <a:gd name="T33" fmla="*/ 9 h 231"/>
                    <a:gd name="T34" fmla="*/ 15 w 232"/>
                    <a:gd name="T35" fmla="*/ 5 h 231"/>
                    <a:gd name="T36" fmla="*/ 21 w 232"/>
                    <a:gd name="T37" fmla="*/ 2 h 231"/>
                    <a:gd name="T38" fmla="*/ 27 w 232"/>
                    <a:gd name="T39" fmla="*/ 0 h 231"/>
                    <a:gd name="T40" fmla="*/ 34 w 232"/>
                    <a:gd name="T41" fmla="*/ 0 h 231"/>
                    <a:gd name="T42" fmla="*/ 40 w 232"/>
                    <a:gd name="T43" fmla="*/ 0 h 231"/>
                    <a:gd name="T44" fmla="*/ 46 w 232"/>
                    <a:gd name="T45" fmla="*/ 2 h 231"/>
                    <a:gd name="T46" fmla="*/ 51 w 232"/>
                    <a:gd name="T47" fmla="*/ 5 h 231"/>
                    <a:gd name="T48" fmla="*/ 56 w 232"/>
                    <a:gd name="T49" fmla="*/ 9 h 231"/>
                    <a:gd name="T50" fmla="*/ 222 w 232"/>
                    <a:gd name="T51" fmla="*/ 175 h 231"/>
                    <a:gd name="T52" fmla="*/ 222 w 232"/>
                    <a:gd name="T53" fmla="*/ 175 h 231"/>
                    <a:gd name="T54" fmla="*/ 226 w 232"/>
                    <a:gd name="T55" fmla="*/ 180 h 231"/>
                    <a:gd name="T56" fmla="*/ 229 w 232"/>
                    <a:gd name="T57" fmla="*/ 185 h 231"/>
                    <a:gd name="T58" fmla="*/ 231 w 232"/>
                    <a:gd name="T59" fmla="*/ 192 h 231"/>
                    <a:gd name="T60" fmla="*/ 232 w 232"/>
                    <a:gd name="T61" fmla="*/ 198 h 231"/>
                    <a:gd name="T62" fmla="*/ 231 w 232"/>
                    <a:gd name="T63" fmla="*/ 205 h 231"/>
                    <a:gd name="T64" fmla="*/ 229 w 232"/>
                    <a:gd name="T65" fmla="*/ 210 h 231"/>
                    <a:gd name="T66" fmla="*/ 226 w 232"/>
                    <a:gd name="T67" fmla="*/ 216 h 231"/>
                    <a:gd name="T68" fmla="*/ 222 w 232"/>
                    <a:gd name="T69" fmla="*/ 222 h 231"/>
                    <a:gd name="T70" fmla="*/ 222 w 232"/>
                    <a:gd name="T71" fmla="*/ 222 h 231"/>
                    <a:gd name="T72" fmla="*/ 217 w 232"/>
                    <a:gd name="T73" fmla="*/ 226 h 231"/>
                    <a:gd name="T74" fmla="*/ 212 w 232"/>
                    <a:gd name="T75" fmla="*/ 229 h 231"/>
                    <a:gd name="T76" fmla="*/ 205 w 232"/>
                    <a:gd name="T77" fmla="*/ 231 h 231"/>
                    <a:gd name="T78" fmla="*/ 199 w 232"/>
                    <a:gd name="T79" fmla="*/ 231 h 231"/>
                    <a:gd name="T80" fmla="*/ 199 w 232"/>
                    <a:gd name="T81"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2" h="231">
                      <a:moveTo>
                        <a:pt x="199" y="231"/>
                      </a:moveTo>
                      <a:lnTo>
                        <a:pt x="199" y="231"/>
                      </a:lnTo>
                      <a:lnTo>
                        <a:pt x="193" y="231"/>
                      </a:lnTo>
                      <a:lnTo>
                        <a:pt x="187" y="229"/>
                      </a:lnTo>
                      <a:lnTo>
                        <a:pt x="181" y="226"/>
                      </a:lnTo>
                      <a:lnTo>
                        <a:pt x="175" y="222"/>
                      </a:lnTo>
                      <a:lnTo>
                        <a:pt x="10" y="56"/>
                      </a:lnTo>
                      <a:lnTo>
                        <a:pt x="10" y="56"/>
                      </a:lnTo>
                      <a:lnTo>
                        <a:pt x="6" y="51"/>
                      </a:lnTo>
                      <a:lnTo>
                        <a:pt x="3" y="46"/>
                      </a:lnTo>
                      <a:lnTo>
                        <a:pt x="2" y="39"/>
                      </a:lnTo>
                      <a:lnTo>
                        <a:pt x="0" y="33"/>
                      </a:lnTo>
                      <a:lnTo>
                        <a:pt x="2" y="27"/>
                      </a:lnTo>
                      <a:lnTo>
                        <a:pt x="3" y="21"/>
                      </a:lnTo>
                      <a:lnTo>
                        <a:pt x="6" y="15"/>
                      </a:lnTo>
                      <a:lnTo>
                        <a:pt x="10" y="9"/>
                      </a:lnTo>
                      <a:lnTo>
                        <a:pt x="10" y="9"/>
                      </a:lnTo>
                      <a:lnTo>
                        <a:pt x="15" y="5"/>
                      </a:lnTo>
                      <a:lnTo>
                        <a:pt x="21" y="2"/>
                      </a:lnTo>
                      <a:lnTo>
                        <a:pt x="27" y="0"/>
                      </a:lnTo>
                      <a:lnTo>
                        <a:pt x="34" y="0"/>
                      </a:lnTo>
                      <a:lnTo>
                        <a:pt x="40" y="0"/>
                      </a:lnTo>
                      <a:lnTo>
                        <a:pt x="46" y="2"/>
                      </a:lnTo>
                      <a:lnTo>
                        <a:pt x="51" y="5"/>
                      </a:lnTo>
                      <a:lnTo>
                        <a:pt x="56" y="9"/>
                      </a:lnTo>
                      <a:lnTo>
                        <a:pt x="222" y="175"/>
                      </a:lnTo>
                      <a:lnTo>
                        <a:pt x="222" y="175"/>
                      </a:lnTo>
                      <a:lnTo>
                        <a:pt x="226" y="180"/>
                      </a:lnTo>
                      <a:lnTo>
                        <a:pt x="229" y="185"/>
                      </a:lnTo>
                      <a:lnTo>
                        <a:pt x="231" y="192"/>
                      </a:lnTo>
                      <a:lnTo>
                        <a:pt x="232" y="198"/>
                      </a:lnTo>
                      <a:lnTo>
                        <a:pt x="231" y="205"/>
                      </a:lnTo>
                      <a:lnTo>
                        <a:pt x="229" y="210"/>
                      </a:lnTo>
                      <a:lnTo>
                        <a:pt x="226" y="216"/>
                      </a:lnTo>
                      <a:lnTo>
                        <a:pt x="222" y="222"/>
                      </a:lnTo>
                      <a:lnTo>
                        <a:pt x="222" y="222"/>
                      </a:lnTo>
                      <a:lnTo>
                        <a:pt x="217" y="226"/>
                      </a:lnTo>
                      <a:lnTo>
                        <a:pt x="212" y="229"/>
                      </a:lnTo>
                      <a:lnTo>
                        <a:pt x="205" y="231"/>
                      </a:lnTo>
                      <a:lnTo>
                        <a:pt x="199" y="231"/>
                      </a:lnTo>
                      <a:lnTo>
                        <a:pt x="199"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99" name="Freeform 94">
                  <a:extLst>
                    <a:ext uri="{FF2B5EF4-FFF2-40B4-BE49-F238E27FC236}">
                      <a16:creationId xmlns:a16="http://schemas.microsoft.com/office/drawing/2014/main" id="{3883A7D4-47B8-2DA8-FEE9-69B7E714057F}"/>
                    </a:ext>
                  </a:extLst>
                </p:cNvPr>
                <p:cNvSpPr>
                  <a:spLocks/>
                </p:cNvSpPr>
                <p:nvPr/>
              </p:nvSpPr>
              <p:spPr bwMode="auto">
                <a:xfrm>
                  <a:off x="9155113" y="2212975"/>
                  <a:ext cx="157163" cy="285750"/>
                </a:xfrm>
                <a:custGeom>
                  <a:avLst/>
                  <a:gdLst>
                    <a:gd name="T0" fmla="*/ 165 w 694"/>
                    <a:gd name="T1" fmla="*/ 1257 h 1257"/>
                    <a:gd name="T2" fmla="*/ 149 w 694"/>
                    <a:gd name="T3" fmla="*/ 1257 h 1257"/>
                    <a:gd name="T4" fmla="*/ 116 w 694"/>
                    <a:gd name="T5" fmla="*/ 1249 h 1257"/>
                    <a:gd name="T6" fmla="*/ 86 w 694"/>
                    <a:gd name="T7" fmla="*/ 1237 h 1257"/>
                    <a:gd name="T8" fmla="*/ 60 w 694"/>
                    <a:gd name="T9" fmla="*/ 1219 h 1257"/>
                    <a:gd name="T10" fmla="*/ 38 w 694"/>
                    <a:gd name="T11" fmla="*/ 1197 h 1257"/>
                    <a:gd name="T12" fmla="*/ 20 w 694"/>
                    <a:gd name="T13" fmla="*/ 1171 h 1257"/>
                    <a:gd name="T14" fmla="*/ 8 w 694"/>
                    <a:gd name="T15" fmla="*/ 1141 h 1257"/>
                    <a:gd name="T16" fmla="*/ 1 w 694"/>
                    <a:gd name="T17" fmla="*/ 1109 h 1257"/>
                    <a:gd name="T18" fmla="*/ 0 w 694"/>
                    <a:gd name="T19" fmla="*/ 33 h 1257"/>
                    <a:gd name="T20" fmla="*/ 1 w 694"/>
                    <a:gd name="T21" fmla="*/ 27 h 1257"/>
                    <a:gd name="T22" fmla="*/ 6 w 694"/>
                    <a:gd name="T23" fmla="*/ 14 h 1257"/>
                    <a:gd name="T24" fmla="*/ 14 w 694"/>
                    <a:gd name="T25" fmla="*/ 6 h 1257"/>
                    <a:gd name="T26" fmla="*/ 26 w 694"/>
                    <a:gd name="T27" fmla="*/ 1 h 1257"/>
                    <a:gd name="T28" fmla="*/ 298 w 694"/>
                    <a:gd name="T29" fmla="*/ 0 h 1257"/>
                    <a:gd name="T30" fmla="*/ 304 w 694"/>
                    <a:gd name="T31" fmla="*/ 1 h 1257"/>
                    <a:gd name="T32" fmla="*/ 316 w 694"/>
                    <a:gd name="T33" fmla="*/ 6 h 1257"/>
                    <a:gd name="T34" fmla="*/ 324 w 694"/>
                    <a:gd name="T35" fmla="*/ 14 h 1257"/>
                    <a:gd name="T36" fmla="*/ 330 w 694"/>
                    <a:gd name="T37" fmla="*/ 27 h 1257"/>
                    <a:gd name="T38" fmla="*/ 331 w 694"/>
                    <a:gd name="T39" fmla="*/ 33 h 1257"/>
                    <a:gd name="T40" fmla="*/ 328 w 694"/>
                    <a:gd name="T41" fmla="*/ 46 h 1257"/>
                    <a:gd name="T42" fmla="*/ 320 w 694"/>
                    <a:gd name="T43" fmla="*/ 57 h 1257"/>
                    <a:gd name="T44" fmla="*/ 310 w 694"/>
                    <a:gd name="T45" fmla="*/ 64 h 1257"/>
                    <a:gd name="T46" fmla="*/ 298 w 694"/>
                    <a:gd name="T47" fmla="*/ 66 h 1257"/>
                    <a:gd name="T48" fmla="*/ 66 w 694"/>
                    <a:gd name="T49" fmla="*/ 1092 h 1257"/>
                    <a:gd name="T50" fmla="*/ 67 w 694"/>
                    <a:gd name="T51" fmla="*/ 1101 h 1257"/>
                    <a:gd name="T52" fmla="*/ 71 w 694"/>
                    <a:gd name="T53" fmla="*/ 1121 h 1257"/>
                    <a:gd name="T54" fmla="*/ 78 w 694"/>
                    <a:gd name="T55" fmla="*/ 1139 h 1257"/>
                    <a:gd name="T56" fmla="*/ 89 w 694"/>
                    <a:gd name="T57" fmla="*/ 1155 h 1257"/>
                    <a:gd name="T58" fmla="*/ 102 w 694"/>
                    <a:gd name="T59" fmla="*/ 1169 h 1257"/>
                    <a:gd name="T60" fmla="*/ 117 w 694"/>
                    <a:gd name="T61" fmla="*/ 1179 h 1257"/>
                    <a:gd name="T62" fmla="*/ 136 w 694"/>
                    <a:gd name="T63" fmla="*/ 1186 h 1257"/>
                    <a:gd name="T64" fmla="*/ 155 w 694"/>
                    <a:gd name="T65" fmla="*/ 1190 h 1257"/>
                    <a:gd name="T66" fmla="*/ 661 w 694"/>
                    <a:gd name="T67" fmla="*/ 1192 h 1257"/>
                    <a:gd name="T68" fmla="*/ 668 w 694"/>
                    <a:gd name="T69" fmla="*/ 1192 h 1257"/>
                    <a:gd name="T70" fmla="*/ 679 w 694"/>
                    <a:gd name="T71" fmla="*/ 1197 h 1257"/>
                    <a:gd name="T72" fmla="*/ 689 w 694"/>
                    <a:gd name="T73" fmla="*/ 1206 h 1257"/>
                    <a:gd name="T74" fmla="*/ 694 w 694"/>
                    <a:gd name="T75" fmla="*/ 1217 h 1257"/>
                    <a:gd name="T76" fmla="*/ 694 w 694"/>
                    <a:gd name="T77" fmla="*/ 1225 h 1257"/>
                    <a:gd name="T78" fmla="*/ 692 w 694"/>
                    <a:gd name="T79" fmla="*/ 1237 h 1257"/>
                    <a:gd name="T80" fmla="*/ 685 w 694"/>
                    <a:gd name="T81" fmla="*/ 1247 h 1257"/>
                    <a:gd name="T82" fmla="*/ 674 w 694"/>
                    <a:gd name="T83" fmla="*/ 1255 h 1257"/>
                    <a:gd name="T84" fmla="*/ 661 w 694"/>
                    <a:gd name="T85" fmla="*/ 1257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4" h="1257">
                      <a:moveTo>
                        <a:pt x="661" y="1257"/>
                      </a:moveTo>
                      <a:lnTo>
                        <a:pt x="165" y="1257"/>
                      </a:lnTo>
                      <a:lnTo>
                        <a:pt x="165" y="1257"/>
                      </a:lnTo>
                      <a:lnTo>
                        <a:pt x="149" y="1257"/>
                      </a:lnTo>
                      <a:lnTo>
                        <a:pt x="132" y="1254"/>
                      </a:lnTo>
                      <a:lnTo>
                        <a:pt x="116" y="1249"/>
                      </a:lnTo>
                      <a:lnTo>
                        <a:pt x="101" y="1244"/>
                      </a:lnTo>
                      <a:lnTo>
                        <a:pt x="86" y="1237"/>
                      </a:lnTo>
                      <a:lnTo>
                        <a:pt x="73" y="1229"/>
                      </a:lnTo>
                      <a:lnTo>
                        <a:pt x="60" y="1219"/>
                      </a:lnTo>
                      <a:lnTo>
                        <a:pt x="48" y="1209"/>
                      </a:lnTo>
                      <a:lnTo>
                        <a:pt x="38" y="1197"/>
                      </a:lnTo>
                      <a:lnTo>
                        <a:pt x="28" y="1184"/>
                      </a:lnTo>
                      <a:lnTo>
                        <a:pt x="20" y="1171"/>
                      </a:lnTo>
                      <a:lnTo>
                        <a:pt x="13" y="1156"/>
                      </a:lnTo>
                      <a:lnTo>
                        <a:pt x="8" y="1141"/>
                      </a:lnTo>
                      <a:lnTo>
                        <a:pt x="4" y="1125"/>
                      </a:lnTo>
                      <a:lnTo>
                        <a:pt x="1" y="1109"/>
                      </a:lnTo>
                      <a:lnTo>
                        <a:pt x="0" y="1092"/>
                      </a:lnTo>
                      <a:lnTo>
                        <a:pt x="0" y="33"/>
                      </a:lnTo>
                      <a:lnTo>
                        <a:pt x="0" y="33"/>
                      </a:lnTo>
                      <a:lnTo>
                        <a:pt x="1" y="27"/>
                      </a:lnTo>
                      <a:lnTo>
                        <a:pt x="3" y="20"/>
                      </a:lnTo>
                      <a:lnTo>
                        <a:pt x="6" y="14"/>
                      </a:lnTo>
                      <a:lnTo>
                        <a:pt x="10" y="10"/>
                      </a:lnTo>
                      <a:lnTo>
                        <a:pt x="14" y="6"/>
                      </a:lnTo>
                      <a:lnTo>
                        <a:pt x="20" y="3"/>
                      </a:lnTo>
                      <a:lnTo>
                        <a:pt x="26" y="1"/>
                      </a:lnTo>
                      <a:lnTo>
                        <a:pt x="33" y="0"/>
                      </a:lnTo>
                      <a:lnTo>
                        <a:pt x="298" y="0"/>
                      </a:lnTo>
                      <a:lnTo>
                        <a:pt x="298" y="0"/>
                      </a:lnTo>
                      <a:lnTo>
                        <a:pt x="304" y="1"/>
                      </a:lnTo>
                      <a:lnTo>
                        <a:pt x="310" y="3"/>
                      </a:lnTo>
                      <a:lnTo>
                        <a:pt x="316" y="6"/>
                      </a:lnTo>
                      <a:lnTo>
                        <a:pt x="320" y="10"/>
                      </a:lnTo>
                      <a:lnTo>
                        <a:pt x="324" y="14"/>
                      </a:lnTo>
                      <a:lnTo>
                        <a:pt x="328" y="20"/>
                      </a:lnTo>
                      <a:lnTo>
                        <a:pt x="330" y="27"/>
                      </a:lnTo>
                      <a:lnTo>
                        <a:pt x="331" y="33"/>
                      </a:lnTo>
                      <a:lnTo>
                        <a:pt x="331" y="33"/>
                      </a:lnTo>
                      <a:lnTo>
                        <a:pt x="330" y="40"/>
                      </a:lnTo>
                      <a:lnTo>
                        <a:pt x="328" y="46"/>
                      </a:lnTo>
                      <a:lnTo>
                        <a:pt x="324" y="52"/>
                      </a:lnTo>
                      <a:lnTo>
                        <a:pt x="320" y="57"/>
                      </a:lnTo>
                      <a:lnTo>
                        <a:pt x="316" y="61"/>
                      </a:lnTo>
                      <a:lnTo>
                        <a:pt x="310" y="64"/>
                      </a:lnTo>
                      <a:lnTo>
                        <a:pt x="304" y="66"/>
                      </a:lnTo>
                      <a:lnTo>
                        <a:pt x="298" y="66"/>
                      </a:lnTo>
                      <a:lnTo>
                        <a:pt x="66" y="66"/>
                      </a:lnTo>
                      <a:lnTo>
                        <a:pt x="66" y="1092"/>
                      </a:lnTo>
                      <a:lnTo>
                        <a:pt x="66" y="1092"/>
                      </a:lnTo>
                      <a:lnTo>
                        <a:pt x="67" y="1101"/>
                      </a:lnTo>
                      <a:lnTo>
                        <a:pt x="68" y="1112"/>
                      </a:lnTo>
                      <a:lnTo>
                        <a:pt x="71" y="1121"/>
                      </a:lnTo>
                      <a:lnTo>
                        <a:pt x="74" y="1130"/>
                      </a:lnTo>
                      <a:lnTo>
                        <a:pt x="78" y="1139"/>
                      </a:lnTo>
                      <a:lnTo>
                        <a:pt x="83" y="1147"/>
                      </a:lnTo>
                      <a:lnTo>
                        <a:pt x="89" y="1155"/>
                      </a:lnTo>
                      <a:lnTo>
                        <a:pt x="95" y="1161"/>
                      </a:lnTo>
                      <a:lnTo>
                        <a:pt x="102" y="1169"/>
                      </a:lnTo>
                      <a:lnTo>
                        <a:pt x="110" y="1174"/>
                      </a:lnTo>
                      <a:lnTo>
                        <a:pt x="117" y="1179"/>
                      </a:lnTo>
                      <a:lnTo>
                        <a:pt x="127" y="1183"/>
                      </a:lnTo>
                      <a:lnTo>
                        <a:pt x="136" y="1186"/>
                      </a:lnTo>
                      <a:lnTo>
                        <a:pt x="145" y="1189"/>
                      </a:lnTo>
                      <a:lnTo>
                        <a:pt x="155" y="1190"/>
                      </a:lnTo>
                      <a:lnTo>
                        <a:pt x="165" y="1192"/>
                      </a:lnTo>
                      <a:lnTo>
                        <a:pt x="661" y="1192"/>
                      </a:lnTo>
                      <a:lnTo>
                        <a:pt x="661" y="1192"/>
                      </a:lnTo>
                      <a:lnTo>
                        <a:pt x="668" y="1192"/>
                      </a:lnTo>
                      <a:lnTo>
                        <a:pt x="674" y="1194"/>
                      </a:lnTo>
                      <a:lnTo>
                        <a:pt x="679" y="1197"/>
                      </a:lnTo>
                      <a:lnTo>
                        <a:pt x="685" y="1201"/>
                      </a:lnTo>
                      <a:lnTo>
                        <a:pt x="689" y="1206"/>
                      </a:lnTo>
                      <a:lnTo>
                        <a:pt x="692" y="1211"/>
                      </a:lnTo>
                      <a:lnTo>
                        <a:pt x="694" y="1217"/>
                      </a:lnTo>
                      <a:lnTo>
                        <a:pt x="694" y="1225"/>
                      </a:lnTo>
                      <a:lnTo>
                        <a:pt x="694" y="1225"/>
                      </a:lnTo>
                      <a:lnTo>
                        <a:pt x="694" y="1231"/>
                      </a:lnTo>
                      <a:lnTo>
                        <a:pt x="692" y="1237"/>
                      </a:lnTo>
                      <a:lnTo>
                        <a:pt x="689" y="1242"/>
                      </a:lnTo>
                      <a:lnTo>
                        <a:pt x="685" y="1247"/>
                      </a:lnTo>
                      <a:lnTo>
                        <a:pt x="679" y="1252"/>
                      </a:lnTo>
                      <a:lnTo>
                        <a:pt x="674" y="1255"/>
                      </a:lnTo>
                      <a:lnTo>
                        <a:pt x="668" y="1257"/>
                      </a:lnTo>
                      <a:lnTo>
                        <a:pt x="661" y="1257"/>
                      </a:lnTo>
                      <a:lnTo>
                        <a:pt x="661" y="1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00" name="Freeform 95">
                  <a:extLst>
                    <a:ext uri="{FF2B5EF4-FFF2-40B4-BE49-F238E27FC236}">
                      <a16:creationId xmlns:a16="http://schemas.microsoft.com/office/drawing/2014/main" id="{CC609AE8-B4CC-8D7C-3B6B-298E8B2D3162}"/>
                    </a:ext>
                  </a:extLst>
                </p:cNvPr>
                <p:cNvSpPr>
                  <a:spLocks/>
                </p:cNvSpPr>
                <p:nvPr/>
              </p:nvSpPr>
              <p:spPr bwMode="auto">
                <a:xfrm>
                  <a:off x="9185275" y="2243138"/>
                  <a:ext cx="120650" cy="225425"/>
                </a:xfrm>
                <a:custGeom>
                  <a:avLst/>
                  <a:gdLst>
                    <a:gd name="T0" fmla="*/ 496 w 529"/>
                    <a:gd name="T1" fmla="*/ 993 h 993"/>
                    <a:gd name="T2" fmla="*/ 33 w 529"/>
                    <a:gd name="T3" fmla="*/ 993 h 993"/>
                    <a:gd name="T4" fmla="*/ 33 w 529"/>
                    <a:gd name="T5" fmla="*/ 993 h 993"/>
                    <a:gd name="T6" fmla="*/ 27 w 529"/>
                    <a:gd name="T7" fmla="*/ 992 h 993"/>
                    <a:gd name="T8" fmla="*/ 21 w 529"/>
                    <a:gd name="T9" fmla="*/ 990 h 993"/>
                    <a:gd name="T10" fmla="*/ 14 w 529"/>
                    <a:gd name="T11" fmla="*/ 987 h 993"/>
                    <a:gd name="T12" fmla="*/ 9 w 529"/>
                    <a:gd name="T13" fmla="*/ 983 h 993"/>
                    <a:gd name="T14" fmla="*/ 6 w 529"/>
                    <a:gd name="T15" fmla="*/ 979 h 993"/>
                    <a:gd name="T16" fmla="*/ 3 w 529"/>
                    <a:gd name="T17" fmla="*/ 973 h 993"/>
                    <a:gd name="T18" fmla="*/ 1 w 529"/>
                    <a:gd name="T19" fmla="*/ 966 h 993"/>
                    <a:gd name="T20" fmla="*/ 0 w 529"/>
                    <a:gd name="T21" fmla="*/ 960 h 993"/>
                    <a:gd name="T22" fmla="*/ 0 w 529"/>
                    <a:gd name="T23" fmla="*/ 33 h 993"/>
                    <a:gd name="T24" fmla="*/ 0 w 529"/>
                    <a:gd name="T25" fmla="*/ 33 h 993"/>
                    <a:gd name="T26" fmla="*/ 1 w 529"/>
                    <a:gd name="T27" fmla="*/ 27 h 993"/>
                    <a:gd name="T28" fmla="*/ 3 w 529"/>
                    <a:gd name="T29" fmla="*/ 21 h 993"/>
                    <a:gd name="T30" fmla="*/ 6 w 529"/>
                    <a:gd name="T31" fmla="*/ 15 h 993"/>
                    <a:gd name="T32" fmla="*/ 9 w 529"/>
                    <a:gd name="T33" fmla="*/ 10 h 993"/>
                    <a:gd name="T34" fmla="*/ 14 w 529"/>
                    <a:gd name="T35" fmla="*/ 7 h 993"/>
                    <a:gd name="T36" fmla="*/ 21 w 529"/>
                    <a:gd name="T37" fmla="*/ 3 h 993"/>
                    <a:gd name="T38" fmla="*/ 27 w 529"/>
                    <a:gd name="T39" fmla="*/ 1 h 993"/>
                    <a:gd name="T40" fmla="*/ 33 w 529"/>
                    <a:gd name="T41" fmla="*/ 0 h 993"/>
                    <a:gd name="T42" fmla="*/ 166 w 529"/>
                    <a:gd name="T43" fmla="*/ 0 h 993"/>
                    <a:gd name="T44" fmla="*/ 166 w 529"/>
                    <a:gd name="T45" fmla="*/ 0 h 993"/>
                    <a:gd name="T46" fmla="*/ 172 w 529"/>
                    <a:gd name="T47" fmla="*/ 1 h 993"/>
                    <a:gd name="T48" fmla="*/ 178 w 529"/>
                    <a:gd name="T49" fmla="*/ 3 h 993"/>
                    <a:gd name="T50" fmla="*/ 184 w 529"/>
                    <a:gd name="T51" fmla="*/ 7 h 993"/>
                    <a:gd name="T52" fmla="*/ 188 w 529"/>
                    <a:gd name="T53" fmla="*/ 10 h 993"/>
                    <a:gd name="T54" fmla="*/ 192 w 529"/>
                    <a:gd name="T55" fmla="*/ 15 h 993"/>
                    <a:gd name="T56" fmla="*/ 196 w 529"/>
                    <a:gd name="T57" fmla="*/ 21 h 993"/>
                    <a:gd name="T58" fmla="*/ 198 w 529"/>
                    <a:gd name="T59" fmla="*/ 27 h 993"/>
                    <a:gd name="T60" fmla="*/ 199 w 529"/>
                    <a:gd name="T61" fmla="*/ 33 h 993"/>
                    <a:gd name="T62" fmla="*/ 199 w 529"/>
                    <a:gd name="T63" fmla="*/ 33 h 993"/>
                    <a:gd name="T64" fmla="*/ 198 w 529"/>
                    <a:gd name="T65" fmla="*/ 40 h 993"/>
                    <a:gd name="T66" fmla="*/ 196 w 529"/>
                    <a:gd name="T67" fmla="*/ 46 h 993"/>
                    <a:gd name="T68" fmla="*/ 192 w 529"/>
                    <a:gd name="T69" fmla="*/ 52 h 993"/>
                    <a:gd name="T70" fmla="*/ 188 w 529"/>
                    <a:gd name="T71" fmla="*/ 57 h 993"/>
                    <a:gd name="T72" fmla="*/ 184 w 529"/>
                    <a:gd name="T73" fmla="*/ 61 h 993"/>
                    <a:gd name="T74" fmla="*/ 178 w 529"/>
                    <a:gd name="T75" fmla="*/ 63 h 993"/>
                    <a:gd name="T76" fmla="*/ 172 w 529"/>
                    <a:gd name="T77" fmla="*/ 66 h 993"/>
                    <a:gd name="T78" fmla="*/ 166 w 529"/>
                    <a:gd name="T79" fmla="*/ 67 h 993"/>
                    <a:gd name="T80" fmla="*/ 66 w 529"/>
                    <a:gd name="T81" fmla="*/ 67 h 993"/>
                    <a:gd name="T82" fmla="*/ 66 w 529"/>
                    <a:gd name="T83" fmla="*/ 927 h 993"/>
                    <a:gd name="T84" fmla="*/ 496 w 529"/>
                    <a:gd name="T85" fmla="*/ 927 h 993"/>
                    <a:gd name="T86" fmla="*/ 496 w 529"/>
                    <a:gd name="T87" fmla="*/ 927 h 993"/>
                    <a:gd name="T88" fmla="*/ 503 w 529"/>
                    <a:gd name="T89" fmla="*/ 927 h 993"/>
                    <a:gd name="T90" fmla="*/ 509 w 529"/>
                    <a:gd name="T91" fmla="*/ 929 h 993"/>
                    <a:gd name="T92" fmla="*/ 514 w 529"/>
                    <a:gd name="T93" fmla="*/ 932 h 993"/>
                    <a:gd name="T94" fmla="*/ 519 w 529"/>
                    <a:gd name="T95" fmla="*/ 936 h 993"/>
                    <a:gd name="T96" fmla="*/ 524 w 529"/>
                    <a:gd name="T97" fmla="*/ 941 h 993"/>
                    <a:gd name="T98" fmla="*/ 527 w 529"/>
                    <a:gd name="T99" fmla="*/ 947 h 993"/>
                    <a:gd name="T100" fmla="*/ 529 w 529"/>
                    <a:gd name="T101" fmla="*/ 953 h 993"/>
                    <a:gd name="T102" fmla="*/ 529 w 529"/>
                    <a:gd name="T103" fmla="*/ 960 h 993"/>
                    <a:gd name="T104" fmla="*/ 529 w 529"/>
                    <a:gd name="T105" fmla="*/ 960 h 993"/>
                    <a:gd name="T106" fmla="*/ 529 w 529"/>
                    <a:gd name="T107" fmla="*/ 966 h 993"/>
                    <a:gd name="T108" fmla="*/ 527 w 529"/>
                    <a:gd name="T109" fmla="*/ 973 h 993"/>
                    <a:gd name="T110" fmla="*/ 524 w 529"/>
                    <a:gd name="T111" fmla="*/ 979 h 993"/>
                    <a:gd name="T112" fmla="*/ 519 w 529"/>
                    <a:gd name="T113" fmla="*/ 983 h 993"/>
                    <a:gd name="T114" fmla="*/ 514 w 529"/>
                    <a:gd name="T115" fmla="*/ 987 h 993"/>
                    <a:gd name="T116" fmla="*/ 509 w 529"/>
                    <a:gd name="T117" fmla="*/ 990 h 993"/>
                    <a:gd name="T118" fmla="*/ 503 w 529"/>
                    <a:gd name="T119" fmla="*/ 992 h 993"/>
                    <a:gd name="T120" fmla="*/ 496 w 529"/>
                    <a:gd name="T121" fmla="*/ 993 h 993"/>
                    <a:gd name="T122" fmla="*/ 496 w 529"/>
                    <a:gd name="T123" fmla="*/ 993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9" h="993">
                      <a:moveTo>
                        <a:pt x="496" y="993"/>
                      </a:moveTo>
                      <a:lnTo>
                        <a:pt x="33" y="993"/>
                      </a:lnTo>
                      <a:lnTo>
                        <a:pt x="33" y="993"/>
                      </a:lnTo>
                      <a:lnTo>
                        <a:pt x="27" y="992"/>
                      </a:lnTo>
                      <a:lnTo>
                        <a:pt x="21" y="990"/>
                      </a:lnTo>
                      <a:lnTo>
                        <a:pt x="14" y="987"/>
                      </a:lnTo>
                      <a:lnTo>
                        <a:pt x="9" y="983"/>
                      </a:lnTo>
                      <a:lnTo>
                        <a:pt x="6" y="979"/>
                      </a:lnTo>
                      <a:lnTo>
                        <a:pt x="3" y="973"/>
                      </a:lnTo>
                      <a:lnTo>
                        <a:pt x="1" y="966"/>
                      </a:lnTo>
                      <a:lnTo>
                        <a:pt x="0" y="960"/>
                      </a:lnTo>
                      <a:lnTo>
                        <a:pt x="0" y="33"/>
                      </a:lnTo>
                      <a:lnTo>
                        <a:pt x="0" y="33"/>
                      </a:lnTo>
                      <a:lnTo>
                        <a:pt x="1" y="27"/>
                      </a:lnTo>
                      <a:lnTo>
                        <a:pt x="3" y="21"/>
                      </a:lnTo>
                      <a:lnTo>
                        <a:pt x="6" y="15"/>
                      </a:lnTo>
                      <a:lnTo>
                        <a:pt x="9" y="10"/>
                      </a:lnTo>
                      <a:lnTo>
                        <a:pt x="14" y="7"/>
                      </a:lnTo>
                      <a:lnTo>
                        <a:pt x="21" y="3"/>
                      </a:lnTo>
                      <a:lnTo>
                        <a:pt x="27" y="1"/>
                      </a:lnTo>
                      <a:lnTo>
                        <a:pt x="33" y="0"/>
                      </a:lnTo>
                      <a:lnTo>
                        <a:pt x="166" y="0"/>
                      </a:lnTo>
                      <a:lnTo>
                        <a:pt x="166" y="0"/>
                      </a:lnTo>
                      <a:lnTo>
                        <a:pt x="172" y="1"/>
                      </a:lnTo>
                      <a:lnTo>
                        <a:pt x="178" y="3"/>
                      </a:lnTo>
                      <a:lnTo>
                        <a:pt x="184" y="7"/>
                      </a:lnTo>
                      <a:lnTo>
                        <a:pt x="188" y="10"/>
                      </a:lnTo>
                      <a:lnTo>
                        <a:pt x="192" y="15"/>
                      </a:lnTo>
                      <a:lnTo>
                        <a:pt x="196" y="21"/>
                      </a:lnTo>
                      <a:lnTo>
                        <a:pt x="198" y="27"/>
                      </a:lnTo>
                      <a:lnTo>
                        <a:pt x="199" y="33"/>
                      </a:lnTo>
                      <a:lnTo>
                        <a:pt x="199" y="33"/>
                      </a:lnTo>
                      <a:lnTo>
                        <a:pt x="198" y="40"/>
                      </a:lnTo>
                      <a:lnTo>
                        <a:pt x="196" y="46"/>
                      </a:lnTo>
                      <a:lnTo>
                        <a:pt x="192" y="52"/>
                      </a:lnTo>
                      <a:lnTo>
                        <a:pt x="188" y="57"/>
                      </a:lnTo>
                      <a:lnTo>
                        <a:pt x="184" y="61"/>
                      </a:lnTo>
                      <a:lnTo>
                        <a:pt x="178" y="63"/>
                      </a:lnTo>
                      <a:lnTo>
                        <a:pt x="172" y="66"/>
                      </a:lnTo>
                      <a:lnTo>
                        <a:pt x="166" y="67"/>
                      </a:lnTo>
                      <a:lnTo>
                        <a:pt x="66" y="67"/>
                      </a:lnTo>
                      <a:lnTo>
                        <a:pt x="66" y="927"/>
                      </a:lnTo>
                      <a:lnTo>
                        <a:pt x="496" y="927"/>
                      </a:lnTo>
                      <a:lnTo>
                        <a:pt x="496" y="927"/>
                      </a:lnTo>
                      <a:lnTo>
                        <a:pt x="503" y="927"/>
                      </a:lnTo>
                      <a:lnTo>
                        <a:pt x="509" y="929"/>
                      </a:lnTo>
                      <a:lnTo>
                        <a:pt x="514" y="932"/>
                      </a:lnTo>
                      <a:lnTo>
                        <a:pt x="519" y="936"/>
                      </a:lnTo>
                      <a:lnTo>
                        <a:pt x="524" y="941"/>
                      </a:lnTo>
                      <a:lnTo>
                        <a:pt x="527" y="947"/>
                      </a:lnTo>
                      <a:lnTo>
                        <a:pt x="529" y="953"/>
                      </a:lnTo>
                      <a:lnTo>
                        <a:pt x="529" y="960"/>
                      </a:lnTo>
                      <a:lnTo>
                        <a:pt x="529" y="960"/>
                      </a:lnTo>
                      <a:lnTo>
                        <a:pt x="529" y="966"/>
                      </a:lnTo>
                      <a:lnTo>
                        <a:pt x="527" y="973"/>
                      </a:lnTo>
                      <a:lnTo>
                        <a:pt x="524" y="979"/>
                      </a:lnTo>
                      <a:lnTo>
                        <a:pt x="519" y="983"/>
                      </a:lnTo>
                      <a:lnTo>
                        <a:pt x="514" y="987"/>
                      </a:lnTo>
                      <a:lnTo>
                        <a:pt x="509" y="990"/>
                      </a:lnTo>
                      <a:lnTo>
                        <a:pt x="503" y="992"/>
                      </a:lnTo>
                      <a:lnTo>
                        <a:pt x="496" y="993"/>
                      </a:lnTo>
                      <a:lnTo>
                        <a:pt x="496"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01" name="Freeform 96">
                  <a:extLst>
                    <a:ext uri="{FF2B5EF4-FFF2-40B4-BE49-F238E27FC236}">
                      <a16:creationId xmlns:a16="http://schemas.microsoft.com/office/drawing/2014/main" id="{DBCD674B-684F-DF90-7B58-8576C35A63D5}"/>
                    </a:ext>
                  </a:extLst>
                </p:cNvPr>
                <p:cNvSpPr>
                  <a:spLocks/>
                </p:cNvSpPr>
                <p:nvPr/>
              </p:nvSpPr>
              <p:spPr bwMode="auto">
                <a:xfrm>
                  <a:off x="9336088" y="2212975"/>
                  <a:ext cx="74613" cy="112713"/>
                </a:xfrm>
                <a:custGeom>
                  <a:avLst/>
                  <a:gdLst>
                    <a:gd name="T0" fmla="*/ 298 w 331"/>
                    <a:gd name="T1" fmla="*/ 497 h 497"/>
                    <a:gd name="T2" fmla="*/ 298 w 331"/>
                    <a:gd name="T3" fmla="*/ 497 h 497"/>
                    <a:gd name="T4" fmla="*/ 291 w 331"/>
                    <a:gd name="T5" fmla="*/ 496 h 497"/>
                    <a:gd name="T6" fmla="*/ 285 w 331"/>
                    <a:gd name="T7" fmla="*/ 494 h 497"/>
                    <a:gd name="T8" fmla="*/ 280 w 331"/>
                    <a:gd name="T9" fmla="*/ 491 h 497"/>
                    <a:gd name="T10" fmla="*/ 274 w 331"/>
                    <a:gd name="T11" fmla="*/ 486 h 497"/>
                    <a:gd name="T12" fmla="*/ 270 w 331"/>
                    <a:gd name="T13" fmla="*/ 481 h 497"/>
                    <a:gd name="T14" fmla="*/ 267 w 331"/>
                    <a:gd name="T15" fmla="*/ 476 h 497"/>
                    <a:gd name="T16" fmla="*/ 265 w 331"/>
                    <a:gd name="T17" fmla="*/ 470 h 497"/>
                    <a:gd name="T18" fmla="*/ 265 w 331"/>
                    <a:gd name="T19" fmla="*/ 464 h 497"/>
                    <a:gd name="T20" fmla="*/ 265 w 331"/>
                    <a:gd name="T21" fmla="*/ 66 h 497"/>
                    <a:gd name="T22" fmla="*/ 33 w 331"/>
                    <a:gd name="T23" fmla="*/ 66 h 497"/>
                    <a:gd name="T24" fmla="*/ 33 w 331"/>
                    <a:gd name="T25" fmla="*/ 66 h 497"/>
                    <a:gd name="T26" fmla="*/ 27 w 331"/>
                    <a:gd name="T27" fmla="*/ 66 h 497"/>
                    <a:gd name="T28" fmla="*/ 21 w 331"/>
                    <a:gd name="T29" fmla="*/ 64 h 497"/>
                    <a:gd name="T30" fmla="*/ 15 w 331"/>
                    <a:gd name="T31" fmla="*/ 61 h 497"/>
                    <a:gd name="T32" fmla="*/ 11 w 331"/>
                    <a:gd name="T33" fmla="*/ 57 h 497"/>
                    <a:gd name="T34" fmla="*/ 6 w 331"/>
                    <a:gd name="T35" fmla="*/ 52 h 497"/>
                    <a:gd name="T36" fmla="*/ 3 w 331"/>
                    <a:gd name="T37" fmla="*/ 46 h 497"/>
                    <a:gd name="T38" fmla="*/ 1 w 331"/>
                    <a:gd name="T39" fmla="*/ 40 h 497"/>
                    <a:gd name="T40" fmla="*/ 0 w 331"/>
                    <a:gd name="T41" fmla="*/ 33 h 497"/>
                    <a:gd name="T42" fmla="*/ 0 w 331"/>
                    <a:gd name="T43" fmla="*/ 33 h 497"/>
                    <a:gd name="T44" fmla="*/ 1 w 331"/>
                    <a:gd name="T45" fmla="*/ 27 h 497"/>
                    <a:gd name="T46" fmla="*/ 3 w 331"/>
                    <a:gd name="T47" fmla="*/ 20 h 497"/>
                    <a:gd name="T48" fmla="*/ 6 w 331"/>
                    <a:gd name="T49" fmla="*/ 14 h 497"/>
                    <a:gd name="T50" fmla="*/ 11 w 331"/>
                    <a:gd name="T51" fmla="*/ 10 h 497"/>
                    <a:gd name="T52" fmla="*/ 15 w 331"/>
                    <a:gd name="T53" fmla="*/ 6 h 497"/>
                    <a:gd name="T54" fmla="*/ 21 w 331"/>
                    <a:gd name="T55" fmla="*/ 3 h 497"/>
                    <a:gd name="T56" fmla="*/ 27 w 331"/>
                    <a:gd name="T57" fmla="*/ 1 h 497"/>
                    <a:gd name="T58" fmla="*/ 33 w 331"/>
                    <a:gd name="T59" fmla="*/ 0 h 497"/>
                    <a:gd name="T60" fmla="*/ 298 w 331"/>
                    <a:gd name="T61" fmla="*/ 0 h 497"/>
                    <a:gd name="T62" fmla="*/ 298 w 331"/>
                    <a:gd name="T63" fmla="*/ 0 h 497"/>
                    <a:gd name="T64" fmla="*/ 305 w 331"/>
                    <a:gd name="T65" fmla="*/ 1 h 497"/>
                    <a:gd name="T66" fmla="*/ 311 w 331"/>
                    <a:gd name="T67" fmla="*/ 3 h 497"/>
                    <a:gd name="T68" fmla="*/ 317 w 331"/>
                    <a:gd name="T69" fmla="*/ 6 h 497"/>
                    <a:gd name="T70" fmla="*/ 321 w 331"/>
                    <a:gd name="T71" fmla="*/ 10 h 497"/>
                    <a:gd name="T72" fmla="*/ 325 w 331"/>
                    <a:gd name="T73" fmla="*/ 14 h 497"/>
                    <a:gd name="T74" fmla="*/ 328 w 331"/>
                    <a:gd name="T75" fmla="*/ 20 h 497"/>
                    <a:gd name="T76" fmla="*/ 330 w 331"/>
                    <a:gd name="T77" fmla="*/ 27 h 497"/>
                    <a:gd name="T78" fmla="*/ 331 w 331"/>
                    <a:gd name="T79" fmla="*/ 33 h 497"/>
                    <a:gd name="T80" fmla="*/ 331 w 331"/>
                    <a:gd name="T81" fmla="*/ 464 h 497"/>
                    <a:gd name="T82" fmla="*/ 331 w 331"/>
                    <a:gd name="T83" fmla="*/ 464 h 497"/>
                    <a:gd name="T84" fmla="*/ 330 w 331"/>
                    <a:gd name="T85" fmla="*/ 470 h 497"/>
                    <a:gd name="T86" fmla="*/ 328 w 331"/>
                    <a:gd name="T87" fmla="*/ 476 h 497"/>
                    <a:gd name="T88" fmla="*/ 325 w 331"/>
                    <a:gd name="T89" fmla="*/ 481 h 497"/>
                    <a:gd name="T90" fmla="*/ 321 w 331"/>
                    <a:gd name="T91" fmla="*/ 486 h 497"/>
                    <a:gd name="T92" fmla="*/ 317 w 331"/>
                    <a:gd name="T93" fmla="*/ 491 h 497"/>
                    <a:gd name="T94" fmla="*/ 311 w 331"/>
                    <a:gd name="T95" fmla="*/ 494 h 497"/>
                    <a:gd name="T96" fmla="*/ 305 w 331"/>
                    <a:gd name="T97" fmla="*/ 496 h 497"/>
                    <a:gd name="T98" fmla="*/ 298 w 331"/>
                    <a:gd name="T99" fmla="*/ 497 h 497"/>
                    <a:gd name="T100" fmla="*/ 298 w 331"/>
                    <a:gd name="T101" fmla="*/ 49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1" h="497">
                      <a:moveTo>
                        <a:pt x="298" y="497"/>
                      </a:moveTo>
                      <a:lnTo>
                        <a:pt x="298" y="497"/>
                      </a:lnTo>
                      <a:lnTo>
                        <a:pt x="291" y="496"/>
                      </a:lnTo>
                      <a:lnTo>
                        <a:pt x="285" y="494"/>
                      </a:lnTo>
                      <a:lnTo>
                        <a:pt x="280" y="491"/>
                      </a:lnTo>
                      <a:lnTo>
                        <a:pt x="274" y="486"/>
                      </a:lnTo>
                      <a:lnTo>
                        <a:pt x="270" y="481"/>
                      </a:lnTo>
                      <a:lnTo>
                        <a:pt x="267" y="476"/>
                      </a:lnTo>
                      <a:lnTo>
                        <a:pt x="265" y="470"/>
                      </a:lnTo>
                      <a:lnTo>
                        <a:pt x="265" y="464"/>
                      </a:lnTo>
                      <a:lnTo>
                        <a:pt x="265" y="66"/>
                      </a:lnTo>
                      <a:lnTo>
                        <a:pt x="33" y="66"/>
                      </a:lnTo>
                      <a:lnTo>
                        <a:pt x="33" y="66"/>
                      </a:lnTo>
                      <a:lnTo>
                        <a:pt x="27" y="66"/>
                      </a:lnTo>
                      <a:lnTo>
                        <a:pt x="21" y="64"/>
                      </a:lnTo>
                      <a:lnTo>
                        <a:pt x="15" y="61"/>
                      </a:lnTo>
                      <a:lnTo>
                        <a:pt x="11" y="57"/>
                      </a:lnTo>
                      <a:lnTo>
                        <a:pt x="6" y="52"/>
                      </a:lnTo>
                      <a:lnTo>
                        <a:pt x="3" y="46"/>
                      </a:lnTo>
                      <a:lnTo>
                        <a:pt x="1" y="40"/>
                      </a:lnTo>
                      <a:lnTo>
                        <a:pt x="0" y="33"/>
                      </a:lnTo>
                      <a:lnTo>
                        <a:pt x="0" y="33"/>
                      </a:lnTo>
                      <a:lnTo>
                        <a:pt x="1" y="27"/>
                      </a:lnTo>
                      <a:lnTo>
                        <a:pt x="3" y="20"/>
                      </a:lnTo>
                      <a:lnTo>
                        <a:pt x="6" y="14"/>
                      </a:lnTo>
                      <a:lnTo>
                        <a:pt x="11" y="10"/>
                      </a:lnTo>
                      <a:lnTo>
                        <a:pt x="15" y="6"/>
                      </a:lnTo>
                      <a:lnTo>
                        <a:pt x="21" y="3"/>
                      </a:lnTo>
                      <a:lnTo>
                        <a:pt x="27" y="1"/>
                      </a:lnTo>
                      <a:lnTo>
                        <a:pt x="33" y="0"/>
                      </a:lnTo>
                      <a:lnTo>
                        <a:pt x="298" y="0"/>
                      </a:lnTo>
                      <a:lnTo>
                        <a:pt x="298" y="0"/>
                      </a:lnTo>
                      <a:lnTo>
                        <a:pt x="305" y="1"/>
                      </a:lnTo>
                      <a:lnTo>
                        <a:pt x="311" y="3"/>
                      </a:lnTo>
                      <a:lnTo>
                        <a:pt x="317" y="6"/>
                      </a:lnTo>
                      <a:lnTo>
                        <a:pt x="321" y="10"/>
                      </a:lnTo>
                      <a:lnTo>
                        <a:pt x="325" y="14"/>
                      </a:lnTo>
                      <a:lnTo>
                        <a:pt x="328" y="20"/>
                      </a:lnTo>
                      <a:lnTo>
                        <a:pt x="330" y="27"/>
                      </a:lnTo>
                      <a:lnTo>
                        <a:pt x="331" y="33"/>
                      </a:lnTo>
                      <a:lnTo>
                        <a:pt x="331" y="464"/>
                      </a:lnTo>
                      <a:lnTo>
                        <a:pt x="331" y="464"/>
                      </a:lnTo>
                      <a:lnTo>
                        <a:pt x="330" y="470"/>
                      </a:lnTo>
                      <a:lnTo>
                        <a:pt x="328" y="476"/>
                      </a:lnTo>
                      <a:lnTo>
                        <a:pt x="325" y="481"/>
                      </a:lnTo>
                      <a:lnTo>
                        <a:pt x="321" y="486"/>
                      </a:lnTo>
                      <a:lnTo>
                        <a:pt x="317" y="491"/>
                      </a:lnTo>
                      <a:lnTo>
                        <a:pt x="311" y="494"/>
                      </a:lnTo>
                      <a:lnTo>
                        <a:pt x="305" y="496"/>
                      </a:lnTo>
                      <a:lnTo>
                        <a:pt x="298" y="497"/>
                      </a:lnTo>
                      <a:lnTo>
                        <a:pt x="298" y="4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02" name="Freeform 97">
                  <a:extLst>
                    <a:ext uri="{FF2B5EF4-FFF2-40B4-BE49-F238E27FC236}">
                      <a16:creationId xmlns:a16="http://schemas.microsoft.com/office/drawing/2014/main" id="{F566A275-4725-2CB3-1AB3-741E7174A3FF}"/>
                    </a:ext>
                  </a:extLst>
                </p:cNvPr>
                <p:cNvSpPr>
                  <a:spLocks noEditPoints="1"/>
                </p:cNvSpPr>
                <p:nvPr/>
              </p:nvSpPr>
              <p:spPr bwMode="auto">
                <a:xfrm>
                  <a:off x="9215438" y="2168525"/>
                  <a:ext cx="134938" cy="104775"/>
                </a:xfrm>
                <a:custGeom>
                  <a:avLst/>
                  <a:gdLst>
                    <a:gd name="T0" fmla="*/ 34 w 595"/>
                    <a:gd name="T1" fmla="*/ 463 h 463"/>
                    <a:gd name="T2" fmla="*/ 15 w 595"/>
                    <a:gd name="T3" fmla="*/ 457 h 463"/>
                    <a:gd name="T4" fmla="*/ 3 w 595"/>
                    <a:gd name="T5" fmla="*/ 442 h 463"/>
                    <a:gd name="T6" fmla="*/ 0 w 595"/>
                    <a:gd name="T7" fmla="*/ 165 h 463"/>
                    <a:gd name="T8" fmla="*/ 3 w 595"/>
                    <a:gd name="T9" fmla="*/ 152 h 463"/>
                    <a:gd name="T10" fmla="*/ 15 w 595"/>
                    <a:gd name="T11" fmla="*/ 138 h 463"/>
                    <a:gd name="T12" fmla="*/ 34 w 595"/>
                    <a:gd name="T13" fmla="*/ 131 h 463"/>
                    <a:gd name="T14" fmla="*/ 138 w 595"/>
                    <a:gd name="T15" fmla="*/ 119 h 463"/>
                    <a:gd name="T16" fmla="*/ 153 w 595"/>
                    <a:gd name="T17" fmla="*/ 82 h 463"/>
                    <a:gd name="T18" fmla="*/ 175 w 595"/>
                    <a:gd name="T19" fmla="*/ 50 h 463"/>
                    <a:gd name="T20" fmla="*/ 206 w 595"/>
                    <a:gd name="T21" fmla="*/ 24 h 463"/>
                    <a:gd name="T22" fmla="*/ 248 w 595"/>
                    <a:gd name="T23" fmla="*/ 6 h 463"/>
                    <a:gd name="T24" fmla="*/ 297 w 595"/>
                    <a:gd name="T25" fmla="*/ 0 h 463"/>
                    <a:gd name="T26" fmla="*/ 333 w 595"/>
                    <a:gd name="T27" fmla="*/ 2 h 463"/>
                    <a:gd name="T28" fmla="*/ 376 w 595"/>
                    <a:gd name="T29" fmla="*/ 17 h 463"/>
                    <a:gd name="T30" fmla="*/ 411 w 595"/>
                    <a:gd name="T31" fmla="*/ 40 h 463"/>
                    <a:gd name="T32" fmla="*/ 437 w 595"/>
                    <a:gd name="T33" fmla="*/ 70 h 463"/>
                    <a:gd name="T34" fmla="*/ 454 w 595"/>
                    <a:gd name="T35" fmla="*/ 107 h 463"/>
                    <a:gd name="T36" fmla="*/ 562 w 595"/>
                    <a:gd name="T37" fmla="*/ 131 h 463"/>
                    <a:gd name="T38" fmla="*/ 576 w 595"/>
                    <a:gd name="T39" fmla="*/ 135 h 463"/>
                    <a:gd name="T40" fmla="*/ 590 w 595"/>
                    <a:gd name="T41" fmla="*/ 146 h 463"/>
                    <a:gd name="T42" fmla="*/ 595 w 595"/>
                    <a:gd name="T43" fmla="*/ 165 h 463"/>
                    <a:gd name="T44" fmla="*/ 594 w 595"/>
                    <a:gd name="T45" fmla="*/ 436 h 463"/>
                    <a:gd name="T46" fmla="*/ 586 w 595"/>
                    <a:gd name="T47" fmla="*/ 454 h 463"/>
                    <a:gd name="T48" fmla="*/ 570 w 595"/>
                    <a:gd name="T49" fmla="*/ 462 h 463"/>
                    <a:gd name="T50" fmla="*/ 67 w 595"/>
                    <a:gd name="T51" fmla="*/ 397 h 463"/>
                    <a:gd name="T52" fmla="*/ 430 w 595"/>
                    <a:gd name="T53" fmla="*/ 198 h 463"/>
                    <a:gd name="T54" fmla="*/ 417 w 595"/>
                    <a:gd name="T55" fmla="*/ 196 h 463"/>
                    <a:gd name="T56" fmla="*/ 403 w 595"/>
                    <a:gd name="T57" fmla="*/ 183 h 463"/>
                    <a:gd name="T58" fmla="*/ 397 w 595"/>
                    <a:gd name="T59" fmla="*/ 165 h 463"/>
                    <a:gd name="T60" fmla="*/ 395 w 595"/>
                    <a:gd name="T61" fmla="*/ 145 h 463"/>
                    <a:gd name="T62" fmla="*/ 387 w 595"/>
                    <a:gd name="T63" fmla="*/ 120 h 463"/>
                    <a:gd name="T64" fmla="*/ 372 w 595"/>
                    <a:gd name="T65" fmla="*/ 94 h 463"/>
                    <a:gd name="T66" fmla="*/ 343 w 595"/>
                    <a:gd name="T67" fmla="*/ 74 h 463"/>
                    <a:gd name="T68" fmla="*/ 297 w 595"/>
                    <a:gd name="T69" fmla="*/ 65 h 463"/>
                    <a:gd name="T70" fmla="*/ 266 w 595"/>
                    <a:gd name="T71" fmla="*/ 69 h 463"/>
                    <a:gd name="T72" fmla="*/ 232 w 595"/>
                    <a:gd name="T73" fmla="*/ 87 h 463"/>
                    <a:gd name="T74" fmla="*/ 213 w 595"/>
                    <a:gd name="T75" fmla="*/ 112 h 463"/>
                    <a:gd name="T76" fmla="*/ 202 w 595"/>
                    <a:gd name="T77" fmla="*/ 138 h 463"/>
                    <a:gd name="T78" fmla="*/ 199 w 595"/>
                    <a:gd name="T79" fmla="*/ 165 h 463"/>
                    <a:gd name="T80" fmla="*/ 196 w 595"/>
                    <a:gd name="T81" fmla="*/ 178 h 463"/>
                    <a:gd name="T82" fmla="*/ 185 w 595"/>
                    <a:gd name="T83" fmla="*/ 193 h 463"/>
                    <a:gd name="T84" fmla="*/ 166 w 595"/>
                    <a:gd name="T85" fmla="*/ 198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95" h="463">
                      <a:moveTo>
                        <a:pt x="562" y="463"/>
                      </a:moveTo>
                      <a:lnTo>
                        <a:pt x="34" y="463"/>
                      </a:lnTo>
                      <a:lnTo>
                        <a:pt x="34" y="463"/>
                      </a:lnTo>
                      <a:lnTo>
                        <a:pt x="26" y="462"/>
                      </a:lnTo>
                      <a:lnTo>
                        <a:pt x="20" y="460"/>
                      </a:lnTo>
                      <a:lnTo>
                        <a:pt x="15" y="457"/>
                      </a:lnTo>
                      <a:lnTo>
                        <a:pt x="10" y="454"/>
                      </a:lnTo>
                      <a:lnTo>
                        <a:pt x="6" y="448"/>
                      </a:lnTo>
                      <a:lnTo>
                        <a:pt x="3" y="442"/>
                      </a:lnTo>
                      <a:lnTo>
                        <a:pt x="1" y="436"/>
                      </a:lnTo>
                      <a:lnTo>
                        <a:pt x="0" y="430"/>
                      </a:lnTo>
                      <a:lnTo>
                        <a:pt x="0" y="165"/>
                      </a:lnTo>
                      <a:lnTo>
                        <a:pt x="0" y="165"/>
                      </a:lnTo>
                      <a:lnTo>
                        <a:pt x="1" y="158"/>
                      </a:lnTo>
                      <a:lnTo>
                        <a:pt x="3" y="152"/>
                      </a:lnTo>
                      <a:lnTo>
                        <a:pt x="6" y="146"/>
                      </a:lnTo>
                      <a:lnTo>
                        <a:pt x="10" y="142"/>
                      </a:lnTo>
                      <a:lnTo>
                        <a:pt x="15" y="138"/>
                      </a:lnTo>
                      <a:lnTo>
                        <a:pt x="20" y="135"/>
                      </a:lnTo>
                      <a:lnTo>
                        <a:pt x="26" y="133"/>
                      </a:lnTo>
                      <a:lnTo>
                        <a:pt x="34" y="131"/>
                      </a:lnTo>
                      <a:lnTo>
                        <a:pt x="136" y="131"/>
                      </a:lnTo>
                      <a:lnTo>
                        <a:pt x="136" y="131"/>
                      </a:lnTo>
                      <a:lnTo>
                        <a:pt x="138" y="119"/>
                      </a:lnTo>
                      <a:lnTo>
                        <a:pt x="142" y="107"/>
                      </a:lnTo>
                      <a:lnTo>
                        <a:pt x="146" y="94"/>
                      </a:lnTo>
                      <a:lnTo>
                        <a:pt x="153" y="82"/>
                      </a:lnTo>
                      <a:lnTo>
                        <a:pt x="159" y="70"/>
                      </a:lnTo>
                      <a:lnTo>
                        <a:pt x="167" y="60"/>
                      </a:lnTo>
                      <a:lnTo>
                        <a:pt x="175" y="50"/>
                      </a:lnTo>
                      <a:lnTo>
                        <a:pt x="185" y="40"/>
                      </a:lnTo>
                      <a:lnTo>
                        <a:pt x="195" y="31"/>
                      </a:lnTo>
                      <a:lnTo>
                        <a:pt x="206" y="24"/>
                      </a:lnTo>
                      <a:lnTo>
                        <a:pt x="220" y="17"/>
                      </a:lnTo>
                      <a:lnTo>
                        <a:pt x="233" y="10"/>
                      </a:lnTo>
                      <a:lnTo>
                        <a:pt x="248" y="6"/>
                      </a:lnTo>
                      <a:lnTo>
                        <a:pt x="263" y="2"/>
                      </a:lnTo>
                      <a:lnTo>
                        <a:pt x="280" y="0"/>
                      </a:lnTo>
                      <a:lnTo>
                        <a:pt x="297" y="0"/>
                      </a:lnTo>
                      <a:lnTo>
                        <a:pt x="297" y="0"/>
                      </a:lnTo>
                      <a:lnTo>
                        <a:pt x="316" y="0"/>
                      </a:lnTo>
                      <a:lnTo>
                        <a:pt x="333" y="2"/>
                      </a:lnTo>
                      <a:lnTo>
                        <a:pt x="348" y="6"/>
                      </a:lnTo>
                      <a:lnTo>
                        <a:pt x="363" y="10"/>
                      </a:lnTo>
                      <a:lnTo>
                        <a:pt x="376" y="17"/>
                      </a:lnTo>
                      <a:lnTo>
                        <a:pt x="390" y="24"/>
                      </a:lnTo>
                      <a:lnTo>
                        <a:pt x="401" y="31"/>
                      </a:lnTo>
                      <a:lnTo>
                        <a:pt x="411" y="40"/>
                      </a:lnTo>
                      <a:lnTo>
                        <a:pt x="421" y="50"/>
                      </a:lnTo>
                      <a:lnTo>
                        <a:pt x="429" y="60"/>
                      </a:lnTo>
                      <a:lnTo>
                        <a:pt x="437" y="70"/>
                      </a:lnTo>
                      <a:lnTo>
                        <a:pt x="443" y="82"/>
                      </a:lnTo>
                      <a:lnTo>
                        <a:pt x="450" y="94"/>
                      </a:lnTo>
                      <a:lnTo>
                        <a:pt x="454" y="107"/>
                      </a:lnTo>
                      <a:lnTo>
                        <a:pt x="458" y="119"/>
                      </a:lnTo>
                      <a:lnTo>
                        <a:pt x="460" y="131"/>
                      </a:lnTo>
                      <a:lnTo>
                        <a:pt x="562" y="131"/>
                      </a:lnTo>
                      <a:lnTo>
                        <a:pt x="562" y="131"/>
                      </a:lnTo>
                      <a:lnTo>
                        <a:pt x="570" y="133"/>
                      </a:lnTo>
                      <a:lnTo>
                        <a:pt x="576" y="135"/>
                      </a:lnTo>
                      <a:lnTo>
                        <a:pt x="581" y="138"/>
                      </a:lnTo>
                      <a:lnTo>
                        <a:pt x="586" y="142"/>
                      </a:lnTo>
                      <a:lnTo>
                        <a:pt x="590" y="146"/>
                      </a:lnTo>
                      <a:lnTo>
                        <a:pt x="593" y="152"/>
                      </a:lnTo>
                      <a:lnTo>
                        <a:pt x="594" y="158"/>
                      </a:lnTo>
                      <a:lnTo>
                        <a:pt x="595" y="165"/>
                      </a:lnTo>
                      <a:lnTo>
                        <a:pt x="595" y="430"/>
                      </a:lnTo>
                      <a:lnTo>
                        <a:pt x="595" y="430"/>
                      </a:lnTo>
                      <a:lnTo>
                        <a:pt x="594" y="436"/>
                      </a:lnTo>
                      <a:lnTo>
                        <a:pt x="593" y="442"/>
                      </a:lnTo>
                      <a:lnTo>
                        <a:pt x="590" y="448"/>
                      </a:lnTo>
                      <a:lnTo>
                        <a:pt x="586" y="454"/>
                      </a:lnTo>
                      <a:lnTo>
                        <a:pt x="581" y="457"/>
                      </a:lnTo>
                      <a:lnTo>
                        <a:pt x="576" y="460"/>
                      </a:lnTo>
                      <a:lnTo>
                        <a:pt x="570" y="462"/>
                      </a:lnTo>
                      <a:lnTo>
                        <a:pt x="562" y="463"/>
                      </a:lnTo>
                      <a:lnTo>
                        <a:pt x="562" y="463"/>
                      </a:lnTo>
                      <a:close/>
                      <a:moveTo>
                        <a:pt x="67" y="397"/>
                      </a:moveTo>
                      <a:lnTo>
                        <a:pt x="529" y="397"/>
                      </a:lnTo>
                      <a:lnTo>
                        <a:pt x="529" y="198"/>
                      </a:lnTo>
                      <a:lnTo>
                        <a:pt x="430" y="198"/>
                      </a:lnTo>
                      <a:lnTo>
                        <a:pt x="430" y="198"/>
                      </a:lnTo>
                      <a:lnTo>
                        <a:pt x="424" y="198"/>
                      </a:lnTo>
                      <a:lnTo>
                        <a:pt x="417" y="196"/>
                      </a:lnTo>
                      <a:lnTo>
                        <a:pt x="411" y="193"/>
                      </a:lnTo>
                      <a:lnTo>
                        <a:pt x="407" y="188"/>
                      </a:lnTo>
                      <a:lnTo>
                        <a:pt x="403" y="183"/>
                      </a:lnTo>
                      <a:lnTo>
                        <a:pt x="400" y="178"/>
                      </a:lnTo>
                      <a:lnTo>
                        <a:pt x="398" y="172"/>
                      </a:lnTo>
                      <a:lnTo>
                        <a:pt x="397" y="165"/>
                      </a:lnTo>
                      <a:lnTo>
                        <a:pt x="397" y="165"/>
                      </a:lnTo>
                      <a:lnTo>
                        <a:pt x="397" y="157"/>
                      </a:lnTo>
                      <a:lnTo>
                        <a:pt x="395" y="145"/>
                      </a:lnTo>
                      <a:lnTo>
                        <a:pt x="394" y="138"/>
                      </a:lnTo>
                      <a:lnTo>
                        <a:pt x="392" y="129"/>
                      </a:lnTo>
                      <a:lnTo>
                        <a:pt x="387" y="120"/>
                      </a:lnTo>
                      <a:lnTo>
                        <a:pt x="383" y="112"/>
                      </a:lnTo>
                      <a:lnTo>
                        <a:pt x="378" y="103"/>
                      </a:lnTo>
                      <a:lnTo>
                        <a:pt x="372" y="94"/>
                      </a:lnTo>
                      <a:lnTo>
                        <a:pt x="364" y="87"/>
                      </a:lnTo>
                      <a:lnTo>
                        <a:pt x="354" y="80"/>
                      </a:lnTo>
                      <a:lnTo>
                        <a:pt x="343" y="74"/>
                      </a:lnTo>
                      <a:lnTo>
                        <a:pt x="330" y="69"/>
                      </a:lnTo>
                      <a:lnTo>
                        <a:pt x="315" y="66"/>
                      </a:lnTo>
                      <a:lnTo>
                        <a:pt x="297" y="65"/>
                      </a:lnTo>
                      <a:lnTo>
                        <a:pt x="297" y="65"/>
                      </a:lnTo>
                      <a:lnTo>
                        <a:pt x="281" y="66"/>
                      </a:lnTo>
                      <a:lnTo>
                        <a:pt x="266" y="69"/>
                      </a:lnTo>
                      <a:lnTo>
                        <a:pt x="253" y="74"/>
                      </a:lnTo>
                      <a:lnTo>
                        <a:pt x="242" y="80"/>
                      </a:lnTo>
                      <a:lnTo>
                        <a:pt x="232" y="87"/>
                      </a:lnTo>
                      <a:lnTo>
                        <a:pt x="224" y="94"/>
                      </a:lnTo>
                      <a:lnTo>
                        <a:pt x="218" y="103"/>
                      </a:lnTo>
                      <a:lnTo>
                        <a:pt x="213" y="112"/>
                      </a:lnTo>
                      <a:lnTo>
                        <a:pt x="208" y="120"/>
                      </a:lnTo>
                      <a:lnTo>
                        <a:pt x="204" y="129"/>
                      </a:lnTo>
                      <a:lnTo>
                        <a:pt x="202" y="138"/>
                      </a:lnTo>
                      <a:lnTo>
                        <a:pt x="201" y="145"/>
                      </a:lnTo>
                      <a:lnTo>
                        <a:pt x="199" y="157"/>
                      </a:lnTo>
                      <a:lnTo>
                        <a:pt x="199" y="165"/>
                      </a:lnTo>
                      <a:lnTo>
                        <a:pt x="199" y="165"/>
                      </a:lnTo>
                      <a:lnTo>
                        <a:pt x="198" y="172"/>
                      </a:lnTo>
                      <a:lnTo>
                        <a:pt x="196" y="178"/>
                      </a:lnTo>
                      <a:lnTo>
                        <a:pt x="193" y="183"/>
                      </a:lnTo>
                      <a:lnTo>
                        <a:pt x="189" y="188"/>
                      </a:lnTo>
                      <a:lnTo>
                        <a:pt x="185" y="193"/>
                      </a:lnTo>
                      <a:lnTo>
                        <a:pt x="178" y="196"/>
                      </a:lnTo>
                      <a:lnTo>
                        <a:pt x="172" y="198"/>
                      </a:lnTo>
                      <a:lnTo>
                        <a:pt x="166" y="198"/>
                      </a:lnTo>
                      <a:lnTo>
                        <a:pt x="67" y="198"/>
                      </a:lnTo>
                      <a:lnTo>
                        <a:pt x="67" y="3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03" name="Freeform 98">
                  <a:extLst>
                    <a:ext uri="{FF2B5EF4-FFF2-40B4-BE49-F238E27FC236}">
                      <a16:creationId xmlns:a16="http://schemas.microsoft.com/office/drawing/2014/main" id="{1949BB31-A3D8-940A-AB0C-15AF9D139A47}"/>
                    </a:ext>
                  </a:extLst>
                </p:cNvPr>
                <p:cNvSpPr>
                  <a:spLocks/>
                </p:cNvSpPr>
                <p:nvPr/>
              </p:nvSpPr>
              <p:spPr bwMode="auto">
                <a:xfrm>
                  <a:off x="9336088" y="2243138"/>
                  <a:ext cx="44450" cy="82550"/>
                </a:xfrm>
                <a:custGeom>
                  <a:avLst/>
                  <a:gdLst>
                    <a:gd name="T0" fmla="*/ 166 w 199"/>
                    <a:gd name="T1" fmla="*/ 365 h 365"/>
                    <a:gd name="T2" fmla="*/ 166 w 199"/>
                    <a:gd name="T3" fmla="*/ 365 h 365"/>
                    <a:gd name="T4" fmla="*/ 159 w 199"/>
                    <a:gd name="T5" fmla="*/ 364 h 365"/>
                    <a:gd name="T6" fmla="*/ 152 w 199"/>
                    <a:gd name="T7" fmla="*/ 362 h 365"/>
                    <a:gd name="T8" fmla="*/ 147 w 199"/>
                    <a:gd name="T9" fmla="*/ 359 h 365"/>
                    <a:gd name="T10" fmla="*/ 142 w 199"/>
                    <a:gd name="T11" fmla="*/ 354 h 365"/>
                    <a:gd name="T12" fmla="*/ 138 w 199"/>
                    <a:gd name="T13" fmla="*/ 349 h 365"/>
                    <a:gd name="T14" fmla="*/ 135 w 199"/>
                    <a:gd name="T15" fmla="*/ 344 h 365"/>
                    <a:gd name="T16" fmla="*/ 134 w 199"/>
                    <a:gd name="T17" fmla="*/ 338 h 365"/>
                    <a:gd name="T18" fmla="*/ 133 w 199"/>
                    <a:gd name="T19" fmla="*/ 332 h 365"/>
                    <a:gd name="T20" fmla="*/ 133 w 199"/>
                    <a:gd name="T21" fmla="*/ 67 h 365"/>
                    <a:gd name="T22" fmla="*/ 33 w 199"/>
                    <a:gd name="T23" fmla="*/ 67 h 365"/>
                    <a:gd name="T24" fmla="*/ 33 w 199"/>
                    <a:gd name="T25" fmla="*/ 67 h 365"/>
                    <a:gd name="T26" fmla="*/ 27 w 199"/>
                    <a:gd name="T27" fmla="*/ 66 h 365"/>
                    <a:gd name="T28" fmla="*/ 21 w 199"/>
                    <a:gd name="T29" fmla="*/ 63 h 365"/>
                    <a:gd name="T30" fmla="*/ 15 w 199"/>
                    <a:gd name="T31" fmla="*/ 61 h 365"/>
                    <a:gd name="T32" fmla="*/ 11 w 199"/>
                    <a:gd name="T33" fmla="*/ 57 h 365"/>
                    <a:gd name="T34" fmla="*/ 6 w 199"/>
                    <a:gd name="T35" fmla="*/ 52 h 365"/>
                    <a:gd name="T36" fmla="*/ 3 w 199"/>
                    <a:gd name="T37" fmla="*/ 46 h 365"/>
                    <a:gd name="T38" fmla="*/ 1 w 199"/>
                    <a:gd name="T39" fmla="*/ 40 h 365"/>
                    <a:gd name="T40" fmla="*/ 0 w 199"/>
                    <a:gd name="T41" fmla="*/ 33 h 365"/>
                    <a:gd name="T42" fmla="*/ 0 w 199"/>
                    <a:gd name="T43" fmla="*/ 33 h 365"/>
                    <a:gd name="T44" fmla="*/ 1 w 199"/>
                    <a:gd name="T45" fmla="*/ 27 h 365"/>
                    <a:gd name="T46" fmla="*/ 3 w 199"/>
                    <a:gd name="T47" fmla="*/ 21 h 365"/>
                    <a:gd name="T48" fmla="*/ 6 w 199"/>
                    <a:gd name="T49" fmla="*/ 15 h 365"/>
                    <a:gd name="T50" fmla="*/ 11 w 199"/>
                    <a:gd name="T51" fmla="*/ 10 h 365"/>
                    <a:gd name="T52" fmla="*/ 15 w 199"/>
                    <a:gd name="T53" fmla="*/ 7 h 365"/>
                    <a:gd name="T54" fmla="*/ 21 w 199"/>
                    <a:gd name="T55" fmla="*/ 3 h 365"/>
                    <a:gd name="T56" fmla="*/ 27 w 199"/>
                    <a:gd name="T57" fmla="*/ 1 h 365"/>
                    <a:gd name="T58" fmla="*/ 33 w 199"/>
                    <a:gd name="T59" fmla="*/ 0 h 365"/>
                    <a:gd name="T60" fmla="*/ 166 w 199"/>
                    <a:gd name="T61" fmla="*/ 0 h 365"/>
                    <a:gd name="T62" fmla="*/ 166 w 199"/>
                    <a:gd name="T63" fmla="*/ 0 h 365"/>
                    <a:gd name="T64" fmla="*/ 172 w 199"/>
                    <a:gd name="T65" fmla="*/ 1 h 365"/>
                    <a:gd name="T66" fmla="*/ 178 w 199"/>
                    <a:gd name="T67" fmla="*/ 3 h 365"/>
                    <a:gd name="T68" fmla="*/ 184 w 199"/>
                    <a:gd name="T69" fmla="*/ 7 h 365"/>
                    <a:gd name="T70" fmla="*/ 190 w 199"/>
                    <a:gd name="T71" fmla="*/ 10 h 365"/>
                    <a:gd name="T72" fmla="*/ 193 w 199"/>
                    <a:gd name="T73" fmla="*/ 15 h 365"/>
                    <a:gd name="T74" fmla="*/ 196 w 199"/>
                    <a:gd name="T75" fmla="*/ 21 h 365"/>
                    <a:gd name="T76" fmla="*/ 198 w 199"/>
                    <a:gd name="T77" fmla="*/ 27 h 365"/>
                    <a:gd name="T78" fmla="*/ 199 w 199"/>
                    <a:gd name="T79" fmla="*/ 33 h 365"/>
                    <a:gd name="T80" fmla="*/ 199 w 199"/>
                    <a:gd name="T81" fmla="*/ 332 h 365"/>
                    <a:gd name="T82" fmla="*/ 199 w 199"/>
                    <a:gd name="T83" fmla="*/ 332 h 365"/>
                    <a:gd name="T84" fmla="*/ 198 w 199"/>
                    <a:gd name="T85" fmla="*/ 338 h 365"/>
                    <a:gd name="T86" fmla="*/ 196 w 199"/>
                    <a:gd name="T87" fmla="*/ 344 h 365"/>
                    <a:gd name="T88" fmla="*/ 193 w 199"/>
                    <a:gd name="T89" fmla="*/ 349 h 365"/>
                    <a:gd name="T90" fmla="*/ 190 w 199"/>
                    <a:gd name="T91" fmla="*/ 354 h 365"/>
                    <a:gd name="T92" fmla="*/ 184 w 199"/>
                    <a:gd name="T93" fmla="*/ 359 h 365"/>
                    <a:gd name="T94" fmla="*/ 178 w 199"/>
                    <a:gd name="T95" fmla="*/ 362 h 365"/>
                    <a:gd name="T96" fmla="*/ 172 w 199"/>
                    <a:gd name="T97" fmla="*/ 364 h 365"/>
                    <a:gd name="T98" fmla="*/ 166 w 199"/>
                    <a:gd name="T99" fmla="*/ 365 h 365"/>
                    <a:gd name="T100" fmla="*/ 166 w 199"/>
                    <a:gd name="T101" fmla="*/ 36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9" h="365">
                      <a:moveTo>
                        <a:pt x="166" y="365"/>
                      </a:moveTo>
                      <a:lnTo>
                        <a:pt x="166" y="365"/>
                      </a:lnTo>
                      <a:lnTo>
                        <a:pt x="159" y="364"/>
                      </a:lnTo>
                      <a:lnTo>
                        <a:pt x="152" y="362"/>
                      </a:lnTo>
                      <a:lnTo>
                        <a:pt x="147" y="359"/>
                      </a:lnTo>
                      <a:lnTo>
                        <a:pt x="142" y="354"/>
                      </a:lnTo>
                      <a:lnTo>
                        <a:pt x="138" y="349"/>
                      </a:lnTo>
                      <a:lnTo>
                        <a:pt x="135" y="344"/>
                      </a:lnTo>
                      <a:lnTo>
                        <a:pt x="134" y="338"/>
                      </a:lnTo>
                      <a:lnTo>
                        <a:pt x="133" y="332"/>
                      </a:lnTo>
                      <a:lnTo>
                        <a:pt x="133" y="67"/>
                      </a:lnTo>
                      <a:lnTo>
                        <a:pt x="33" y="67"/>
                      </a:lnTo>
                      <a:lnTo>
                        <a:pt x="33" y="67"/>
                      </a:lnTo>
                      <a:lnTo>
                        <a:pt x="27" y="66"/>
                      </a:lnTo>
                      <a:lnTo>
                        <a:pt x="21" y="63"/>
                      </a:lnTo>
                      <a:lnTo>
                        <a:pt x="15" y="61"/>
                      </a:lnTo>
                      <a:lnTo>
                        <a:pt x="11" y="57"/>
                      </a:lnTo>
                      <a:lnTo>
                        <a:pt x="6" y="52"/>
                      </a:lnTo>
                      <a:lnTo>
                        <a:pt x="3" y="46"/>
                      </a:lnTo>
                      <a:lnTo>
                        <a:pt x="1" y="40"/>
                      </a:lnTo>
                      <a:lnTo>
                        <a:pt x="0" y="33"/>
                      </a:lnTo>
                      <a:lnTo>
                        <a:pt x="0" y="33"/>
                      </a:lnTo>
                      <a:lnTo>
                        <a:pt x="1" y="27"/>
                      </a:lnTo>
                      <a:lnTo>
                        <a:pt x="3" y="21"/>
                      </a:lnTo>
                      <a:lnTo>
                        <a:pt x="6" y="15"/>
                      </a:lnTo>
                      <a:lnTo>
                        <a:pt x="11" y="10"/>
                      </a:lnTo>
                      <a:lnTo>
                        <a:pt x="15" y="7"/>
                      </a:lnTo>
                      <a:lnTo>
                        <a:pt x="21" y="3"/>
                      </a:lnTo>
                      <a:lnTo>
                        <a:pt x="27" y="1"/>
                      </a:lnTo>
                      <a:lnTo>
                        <a:pt x="33" y="0"/>
                      </a:lnTo>
                      <a:lnTo>
                        <a:pt x="166" y="0"/>
                      </a:lnTo>
                      <a:lnTo>
                        <a:pt x="166" y="0"/>
                      </a:lnTo>
                      <a:lnTo>
                        <a:pt x="172" y="1"/>
                      </a:lnTo>
                      <a:lnTo>
                        <a:pt x="178" y="3"/>
                      </a:lnTo>
                      <a:lnTo>
                        <a:pt x="184" y="7"/>
                      </a:lnTo>
                      <a:lnTo>
                        <a:pt x="190" y="10"/>
                      </a:lnTo>
                      <a:lnTo>
                        <a:pt x="193" y="15"/>
                      </a:lnTo>
                      <a:lnTo>
                        <a:pt x="196" y="21"/>
                      </a:lnTo>
                      <a:lnTo>
                        <a:pt x="198" y="27"/>
                      </a:lnTo>
                      <a:lnTo>
                        <a:pt x="199" y="33"/>
                      </a:lnTo>
                      <a:lnTo>
                        <a:pt x="199" y="332"/>
                      </a:lnTo>
                      <a:lnTo>
                        <a:pt x="199" y="332"/>
                      </a:lnTo>
                      <a:lnTo>
                        <a:pt x="198" y="338"/>
                      </a:lnTo>
                      <a:lnTo>
                        <a:pt x="196" y="344"/>
                      </a:lnTo>
                      <a:lnTo>
                        <a:pt x="193" y="349"/>
                      </a:lnTo>
                      <a:lnTo>
                        <a:pt x="190" y="354"/>
                      </a:lnTo>
                      <a:lnTo>
                        <a:pt x="184" y="359"/>
                      </a:lnTo>
                      <a:lnTo>
                        <a:pt x="178" y="362"/>
                      </a:lnTo>
                      <a:lnTo>
                        <a:pt x="172" y="364"/>
                      </a:lnTo>
                      <a:lnTo>
                        <a:pt x="166" y="365"/>
                      </a:lnTo>
                      <a:lnTo>
                        <a:pt x="166" y="3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04" name="Freeform 99">
                  <a:extLst>
                    <a:ext uri="{FF2B5EF4-FFF2-40B4-BE49-F238E27FC236}">
                      <a16:creationId xmlns:a16="http://schemas.microsoft.com/office/drawing/2014/main" id="{C86A16BA-A9CA-D49A-0514-B6097FA11289}"/>
                    </a:ext>
                  </a:extLst>
                </p:cNvPr>
                <p:cNvSpPr>
                  <a:spLocks/>
                </p:cNvSpPr>
                <p:nvPr/>
              </p:nvSpPr>
              <p:spPr bwMode="auto">
                <a:xfrm>
                  <a:off x="9231313" y="2303463"/>
                  <a:ext cx="88900" cy="15875"/>
                </a:xfrm>
                <a:custGeom>
                  <a:avLst/>
                  <a:gdLst>
                    <a:gd name="T0" fmla="*/ 363 w 396"/>
                    <a:gd name="T1" fmla="*/ 67 h 67"/>
                    <a:gd name="T2" fmla="*/ 33 w 396"/>
                    <a:gd name="T3" fmla="*/ 67 h 67"/>
                    <a:gd name="T4" fmla="*/ 33 w 396"/>
                    <a:gd name="T5" fmla="*/ 67 h 67"/>
                    <a:gd name="T6" fmla="*/ 26 w 396"/>
                    <a:gd name="T7" fmla="*/ 66 h 67"/>
                    <a:gd name="T8" fmla="*/ 19 w 396"/>
                    <a:gd name="T9" fmla="*/ 64 h 67"/>
                    <a:gd name="T10" fmla="*/ 14 w 396"/>
                    <a:gd name="T11" fmla="*/ 60 h 67"/>
                    <a:gd name="T12" fmla="*/ 9 w 396"/>
                    <a:gd name="T13" fmla="*/ 56 h 67"/>
                    <a:gd name="T14" fmla="*/ 5 w 396"/>
                    <a:gd name="T15" fmla="*/ 52 h 67"/>
                    <a:gd name="T16" fmla="*/ 2 w 396"/>
                    <a:gd name="T17" fmla="*/ 46 h 67"/>
                    <a:gd name="T18" fmla="*/ 0 w 396"/>
                    <a:gd name="T19" fmla="*/ 40 h 67"/>
                    <a:gd name="T20" fmla="*/ 0 w 396"/>
                    <a:gd name="T21" fmla="*/ 33 h 67"/>
                    <a:gd name="T22" fmla="*/ 0 w 396"/>
                    <a:gd name="T23" fmla="*/ 33 h 67"/>
                    <a:gd name="T24" fmla="*/ 0 w 396"/>
                    <a:gd name="T25" fmla="*/ 26 h 67"/>
                    <a:gd name="T26" fmla="*/ 2 w 396"/>
                    <a:gd name="T27" fmla="*/ 20 h 67"/>
                    <a:gd name="T28" fmla="*/ 5 w 396"/>
                    <a:gd name="T29" fmla="*/ 15 h 67"/>
                    <a:gd name="T30" fmla="*/ 9 w 396"/>
                    <a:gd name="T31" fmla="*/ 10 h 67"/>
                    <a:gd name="T32" fmla="*/ 14 w 396"/>
                    <a:gd name="T33" fmla="*/ 6 h 67"/>
                    <a:gd name="T34" fmla="*/ 19 w 396"/>
                    <a:gd name="T35" fmla="*/ 2 h 67"/>
                    <a:gd name="T36" fmla="*/ 26 w 396"/>
                    <a:gd name="T37" fmla="*/ 0 h 67"/>
                    <a:gd name="T38" fmla="*/ 33 w 396"/>
                    <a:gd name="T39" fmla="*/ 0 h 67"/>
                    <a:gd name="T40" fmla="*/ 363 w 396"/>
                    <a:gd name="T41" fmla="*/ 0 h 67"/>
                    <a:gd name="T42" fmla="*/ 363 w 396"/>
                    <a:gd name="T43" fmla="*/ 0 h 67"/>
                    <a:gd name="T44" fmla="*/ 370 w 396"/>
                    <a:gd name="T45" fmla="*/ 0 h 67"/>
                    <a:gd name="T46" fmla="*/ 376 w 396"/>
                    <a:gd name="T47" fmla="*/ 2 h 67"/>
                    <a:gd name="T48" fmla="*/ 382 w 396"/>
                    <a:gd name="T49" fmla="*/ 6 h 67"/>
                    <a:gd name="T50" fmla="*/ 387 w 396"/>
                    <a:gd name="T51" fmla="*/ 10 h 67"/>
                    <a:gd name="T52" fmla="*/ 391 w 396"/>
                    <a:gd name="T53" fmla="*/ 15 h 67"/>
                    <a:gd name="T54" fmla="*/ 394 w 396"/>
                    <a:gd name="T55" fmla="*/ 20 h 67"/>
                    <a:gd name="T56" fmla="*/ 396 w 396"/>
                    <a:gd name="T57" fmla="*/ 26 h 67"/>
                    <a:gd name="T58" fmla="*/ 396 w 396"/>
                    <a:gd name="T59" fmla="*/ 33 h 67"/>
                    <a:gd name="T60" fmla="*/ 396 w 396"/>
                    <a:gd name="T61" fmla="*/ 33 h 67"/>
                    <a:gd name="T62" fmla="*/ 396 w 396"/>
                    <a:gd name="T63" fmla="*/ 40 h 67"/>
                    <a:gd name="T64" fmla="*/ 394 w 396"/>
                    <a:gd name="T65" fmla="*/ 46 h 67"/>
                    <a:gd name="T66" fmla="*/ 391 w 396"/>
                    <a:gd name="T67" fmla="*/ 52 h 67"/>
                    <a:gd name="T68" fmla="*/ 387 w 396"/>
                    <a:gd name="T69" fmla="*/ 56 h 67"/>
                    <a:gd name="T70" fmla="*/ 382 w 396"/>
                    <a:gd name="T71" fmla="*/ 60 h 67"/>
                    <a:gd name="T72" fmla="*/ 376 w 396"/>
                    <a:gd name="T73" fmla="*/ 64 h 67"/>
                    <a:gd name="T74" fmla="*/ 370 w 396"/>
                    <a:gd name="T75" fmla="*/ 66 h 67"/>
                    <a:gd name="T76" fmla="*/ 363 w 396"/>
                    <a:gd name="T77" fmla="*/ 67 h 67"/>
                    <a:gd name="T78" fmla="*/ 363 w 396"/>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7">
                      <a:moveTo>
                        <a:pt x="363" y="67"/>
                      </a:moveTo>
                      <a:lnTo>
                        <a:pt x="33" y="67"/>
                      </a:lnTo>
                      <a:lnTo>
                        <a:pt x="33" y="67"/>
                      </a:lnTo>
                      <a:lnTo>
                        <a:pt x="26" y="66"/>
                      </a:lnTo>
                      <a:lnTo>
                        <a:pt x="19" y="64"/>
                      </a:lnTo>
                      <a:lnTo>
                        <a:pt x="14" y="60"/>
                      </a:lnTo>
                      <a:lnTo>
                        <a:pt x="9" y="56"/>
                      </a:lnTo>
                      <a:lnTo>
                        <a:pt x="5" y="52"/>
                      </a:lnTo>
                      <a:lnTo>
                        <a:pt x="2" y="46"/>
                      </a:lnTo>
                      <a:lnTo>
                        <a:pt x="0" y="40"/>
                      </a:lnTo>
                      <a:lnTo>
                        <a:pt x="0" y="33"/>
                      </a:lnTo>
                      <a:lnTo>
                        <a:pt x="0" y="33"/>
                      </a:lnTo>
                      <a:lnTo>
                        <a:pt x="0" y="26"/>
                      </a:lnTo>
                      <a:lnTo>
                        <a:pt x="2" y="20"/>
                      </a:lnTo>
                      <a:lnTo>
                        <a:pt x="5" y="15"/>
                      </a:lnTo>
                      <a:lnTo>
                        <a:pt x="9" y="10"/>
                      </a:lnTo>
                      <a:lnTo>
                        <a:pt x="14" y="6"/>
                      </a:lnTo>
                      <a:lnTo>
                        <a:pt x="19" y="2"/>
                      </a:lnTo>
                      <a:lnTo>
                        <a:pt x="26" y="0"/>
                      </a:lnTo>
                      <a:lnTo>
                        <a:pt x="33" y="0"/>
                      </a:lnTo>
                      <a:lnTo>
                        <a:pt x="363" y="0"/>
                      </a:lnTo>
                      <a:lnTo>
                        <a:pt x="363" y="0"/>
                      </a:lnTo>
                      <a:lnTo>
                        <a:pt x="370" y="0"/>
                      </a:lnTo>
                      <a:lnTo>
                        <a:pt x="376" y="2"/>
                      </a:lnTo>
                      <a:lnTo>
                        <a:pt x="382" y="6"/>
                      </a:lnTo>
                      <a:lnTo>
                        <a:pt x="387" y="10"/>
                      </a:lnTo>
                      <a:lnTo>
                        <a:pt x="391" y="15"/>
                      </a:lnTo>
                      <a:lnTo>
                        <a:pt x="394" y="20"/>
                      </a:lnTo>
                      <a:lnTo>
                        <a:pt x="396" y="26"/>
                      </a:lnTo>
                      <a:lnTo>
                        <a:pt x="396" y="33"/>
                      </a:lnTo>
                      <a:lnTo>
                        <a:pt x="396" y="33"/>
                      </a:lnTo>
                      <a:lnTo>
                        <a:pt x="396" y="40"/>
                      </a:lnTo>
                      <a:lnTo>
                        <a:pt x="394" y="46"/>
                      </a:lnTo>
                      <a:lnTo>
                        <a:pt x="391" y="52"/>
                      </a:lnTo>
                      <a:lnTo>
                        <a:pt x="387" y="56"/>
                      </a:lnTo>
                      <a:lnTo>
                        <a:pt x="382" y="60"/>
                      </a:lnTo>
                      <a:lnTo>
                        <a:pt x="376" y="64"/>
                      </a:lnTo>
                      <a:lnTo>
                        <a:pt x="370" y="66"/>
                      </a:lnTo>
                      <a:lnTo>
                        <a:pt x="363" y="67"/>
                      </a:lnTo>
                      <a:lnTo>
                        <a:pt x="36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05" name="Freeform 100">
                  <a:extLst>
                    <a:ext uri="{FF2B5EF4-FFF2-40B4-BE49-F238E27FC236}">
                      <a16:creationId xmlns:a16="http://schemas.microsoft.com/office/drawing/2014/main" id="{85C84C0A-D4F6-C2C0-492F-36AF2E37C4BD}"/>
                    </a:ext>
                  </a:extLst>
                </p:cNvPr>
                <p:cNvSpPr>
                  <a:spLocks/>
                </p:cNvSpPr>
                <p:nvPr/>
              </p:nvSpPr>
              <p:spPr bwMode="auto">
                <a:xfrm>
                  <a:off x="9231313" y="2333625"/>
                  <a:ext cx="88900" cy="14288"/>
                </a:xfrm>
                <a:custGeom>
                  <a:avLst/>
                  <a:gdLst>
                    <a:gd name="T0" fmla="*/ 363 w 396"/>
                    <a:gd name="T1" fmla="*/ 65 h 65"/>
                    <a:gd name="T2" fmla="*/ 33 w 396"/>
                    <a:gd name="T3" fmla="*/ 65 h 65"/>
                    <a:gd name="T4" fmla="*/ 33 w 396"/>
                    <a:gd name="T5" fmla="*/ 65 h 65"/>
                    <a:gd name="T6" fmla="*/ 26 w 396"/>
                    <a:gd name="T7" fmla="*/ 65 h 65"/>
                    <a:gd name="T8" fmla="*/ 19 w 396"/>
                    <a:gd name="T9" fmla="*/ 63 h 65"/>
                    <a:gd name="T10" fmla="*/ 14 w 396"/>
                    <a:gd name="T11" fmla="*/ 60 h 65"/>
                    <a:gd name="T12" fmla="*/ 9 w 396"/>
                    <a:gd name="T13" fmla="*/ 56 h 65"/>
                    <a:gd name="T14" fmla="*/ 5 w 396"/>
                    <a:gd name="T15" fmla="*/ 51 h 65"/>
                    <a:gd name="T16" fmla="*/ 2 w 396"/>
                    <a:gd name="T17" fmla="*/ 45 h 65"/>
                    <a:gd name="T18" fmla="*/ 0 w 396"/>
                    <a:gd name="T19" fmla="*/ 39 h 65"/>
                    <a:gd name="T20" fmla="*/ 0 w 396"/>
                    <a:gd name="T21" fmla="*/ 32 h 65"/>
                    <a:gd name="T22" fmla="*/ 0 w 396"/>
                    <a:gd name="T23" fmla="*/ 32 h 65"/>
                    <a:gd name="T24" fmla="*/ 0 w 396"/>
                    <a:gd name="T25" fmla="*/ 26 h 65"/>
                    <a:gd name="T26" fmla="*/ 2 w 396"/>
                    <a:gd name="T27" fmla="*/ 20 h 65"/>
                    <a:gd name="T28" fmla="*/ 5 w 396"/>
                    <a:gd name="T29" fmla="*/ 14 h 65"/>
                    <a:gd name="T30" fmla="*/ 9 w 396"/>
                    <a:gd name="T31" fmla="*/ 9 h 65"/>
                    <a:gd name="T32" fmla="*/ 14 w 396"/>
                    <a:gd name="T33" fmla="*/ 5 h 65"/>
                    <a:gd name="T34" fmla="*/ 19 w 396"/>
                    <a:gd name="T35" fmla="*/ 2 h 65"/>
                    <a:gd name="T36" fmla="*/ 26 w 396"/>
                    <a:gd name="T37" fmla="*/ 0 h 65"/>
                    <a:gd name="T38" fmla="*/ 33 w 396"/>
                    <a:gd name="T39" fmla="*/ 0 h 65"/>
                    <a:gd name="T40" fmla="*/ 363 w 396"/>
                    <a:gd name="T41" fmla="*/ 0 h 65"/>
                    <a:gd name="T42" fmla="*/ 363 w 396"/>
                    <a:gd name="T43" fmla="*/ 0 h 65"/>
                    <a:gd name="T44" fmla="*/ 370 w 396"/>
                    <a:gd name="T45" fmla="*/ 0 h 65"/>
                    <a:gd name="T46" fmla="*/ 376 w 396"/>
                    <a:gd name="T47" fmla="*/ 2 h 65"/>
                    <a:gd name="T48" fmla="*/ 382 w 396"/>
                    <a:gd name="T49" fmla="*/ 5 h 65"/>
                    <a:gd name="T50" fmla="*/ 387 w 396"/>
                    <a:gd name="T51" fmla="*/ 9 h 65"/>
                    <a:gd name="T52" fmla="*/ 391 w 396"/>
                    <a:gd name="T53" fmla="*/ 14 h 65"/>
                    <a:gd name="T54" fmla="*/ 394 w 396"/>
                    <a:gd name="T55" fmla="*/ 20 h 65"/>
                    <a:gd name="T56" fmla="*/ 396 w 396"/>
                    <a:gd name="T57" fmla="*/ 26 h 65"/>
                    <a:gd name="T58" fmla="*/ 396 w 396"/>
                    <a:gd name="T59" fmla="*/ 32 h 65"/>
                    <a:gd name="T60" fmla="*/ 396 w 396"/>
                    <a:gd name="T61" fmla="*/ 32 h 65"/>
                    <a:gd name="T62" fmla="*/ 396 w 396"/>
                    <a:gd name="T63" fmla="*/ 39 h 65"/>
                    <a:gd name="T64" fmla="*/ 394 w 396"/>
                    <a:gd name="T65" fmla="*/ 45 h 65"/>
                    <a:gd name="T66" fmla="*/ 391 w 396"/>
                    <a:gd name="T67" fmla="*/ 51 h 65"/>
                    <a:gd name="T68" fmla="*/ 387 w 396"/>
                    <a:gd name="T69" fmla="*/ 56 h 65"/>
                    <a:gd name="T70" fmla="*/ 382 w 396"/>
                    <a:gd name="T71" fmla="*/ 60 h 65"/>
                    <a:gd name="T72" fmla="*/ 376 w 396"/>
                    <a:gd name="T73" fmla="*/ 63 h 65"/>
                    <a:gd name="T74" fmla="*/ 370 w 396"/>
                    <a:gd name="T75" fmla="*/ 65 h 65"/>
                    <a:gd name="T76" fmla="*/ 363 w 396"/>
                    <a:gd name="T77" fmla="*/ 65 h 65"/>
                    <a:gd name="T78" fmla="*/ 363 w 396"/>
                    <a:gd name="T7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5">
                      <a:moveTo>
                        <a:pt x="363" y="65"/>
                      </a:moveTo>
                      <a:lnTo>
                        <a:pt x="33" y="65"/>
                      </a:lnTo>
                      <a:lnTo>
                        <a:pt x="33" y="65"/>
                      </a:lnTo>
                      <a:lnTo>
                        <a:pt x="26" y="65"/>
                      </a:lnTo>
                      <a:lnTo>
                        <a:pt x="19" y="63"/>
                      </a:lnTo>
                      <a:lnTo>
                        <a:pt x="14" y="60"/>
                      </a:lnTo>
                      <a:lnTo>
                        <a:pt x="9" y="56"/>
                      </a:lnTo>
                      <a:lnTo>
                        <a:pt x="5" y="51"/>
                      </a:lnTo>
                      <a:lnTo>
                        <a:pt x="2" y="45"/>
                      </a:lnTo>
                      <a:lnTo>
                        <a:pt x="0" y="39"/>
                      </a:lnTo>
                      <a:lnTo>
                        <a:pt x="0" y="32"/>
                      </a:lnTo>
                      <a:lnTo>
                        <a:pt x="0" y="32"/>
                      </a:lnTo>
                      <a:lnTo>
                        <a:pt x="0" y="26"/>
                      </a:lnTo>
                      <a:lnTo>
                        <a:pt x="2" y="20"/>
                      </a:lnTo>
                      <a:lnTo>
                        <a:pt x="5" y="14"/>
                      </a:lnTo>
                      <a:lnTo>
                        <a:pt x="9" y="9"/>
                      </a:lnTo>
                      <a:lnTo>
                        <a:pt x="14" y="5"/>
                      </a:lnTo>
                      <a:lnTo>
                        <a:pt x="19" y="2"/>
                      </a:lnTo>
                      <a:lnTo>
                        <a:pt x="26" y="0"/>
                      </a:lnTo>
                      <a:lnTo>
                        <a:pt x="33" y="0"/>
                      </a:lnTo>
                      <a:lnTo>
                        <a:pt x="363" y="0"/>
                      </a:lnTo>
                      <a:lnTo>
                        <a:pt x="363" y="0"/>
                      </a:lnTo>
                      <a:lnTo>
                        <a:pt x="370" y="0"/>
                      </a:lnTo>
                      <a:lnTo>
                        <a:pt x="376" y="2"/>
                      </a:lnTo>
                      <a:lnTo>
                        <a:pt x="382" y="5"/>
                      </a:lnTo>
                      <a:lnTo>
                        <a:pt x="387" y="9"/>
                      </a:lnTo>
                      <a:lnTo>
                        <a:pt x="391" y="14"/>
                      </a:lnTo>
                      <a:lnTo>
                        <a:pt x="394" y="20"/>
                      </a:lnTo>
                      <a:lnTo>
                        <a:pt x="396" y="26"/>
                      </a:lnTo>
                      <a:lnTo>
                        <a:pt x="396" y="32"/>
                      </a:lnTo>
                      <a:lnTo>
                        <a:pt x="396" y="32"/>
                      </a:lnTo>
                      <a:lnTo>
                        <a:pt x="396" y="39"/>
                      </a:lnTo>
                      <a:lnTo>
                        <a:pt x="394" y="45"/>
                      </a:lnTo>
                      <a:lnTo>
                        <a:pt x="391" y="51"/>
                      </a:lnTo>
                      <a:lnTo>
                        <a:pt x="387" y="56"/>
                      </a:lnTo>
                      <a:lnTo>
                        <a:pt x="382" y="60"/>
                      </a:lnTo>
                      <a:lnTo>
                        <a:pt x="376" y="63"/>
                      </a:lnTo>
                      <a:lnTo>
                        <a:pt x="370" y="65"/>
                      </a:lnTo>
                      <a:lnTo>
                        <a:pt x="363" y="65"/>
                      </a:lnTo>
                      <a:lnTo>
                        <a:pt x="363"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06" name="Freeform 101">
                  <a:extLst>
                    <a:ext uri="{FF2B5EF4-FFF2-40B4-BE49-F238E27FC236}">
                      <a16:creationId xmlns:a16="http://schemas.microsoft.com/office/drawing/2014/main" id="{32ABDC8B-19E6-87BC-B434-2EDD4BC4F417}"/>
                    </a:ext>
                  </a:extLst>
                </p:cNvPr>
                <p:cNvSpPr>
                  <a:spLocks/>
                </p:cNvSpPr>
                <p:nvPr/>
              </p:nvSpPr>
              <p:spPr bwMode="auto">
                <a:xfrm>
                  <a:off x="9231313" y="2363788"/>
                  <a:ext cx="88900" cy="14288"/>
                </a:xfrm>
                <a:custGeom>
                  <a:avLst/>
                  <a:gdLst>
                    <a:gd name="T0" fmla="*/ 363 w 396"/>
                    <a:gd name="T1" fmla="*/ 67 h 67"/>
                    <a:gd name="T2" fmla="*/ 33 w 396"/>
                    <a:gd name="T3" fmla="*/ 67 h 67"/>
                    <a:gd name="T4" fmla="*/ 33 w 396"/>
                    <a:gd name="T5" fmla="*/ 67 h 67"/>
                    <a:gd name="T6" fmla="*/ 26 w 396"/>
                    <a:gd name="T7" fmla="*/ 67 h 67"/>
                    <a:gd name="T8" fmla="*/ 19 w 396"/>
                    <a:gd name="T9" fmla="*/ 65 h 67"/>
                    <a:gd name="T10" fmla="*/ 14 w 396"/>
                    <a:gd name="T11" fmla="*/ 61 h 67"/>
                    <a:gd name="T12" fmla="*/ 9 w 396"/>
                    <a:gd name="T13" fmla="*/ 57 h 67"/>
                    <a:gd name="T14" fmla="*/ 5 w 396"/>
                    <a:gd name="T15" fmla="*/ 52 h 67"/>
                    <a:gd name="T16" fmla="*/ 2 w 396"/>
                    <a:gd name="T17" fmla="*/ 47 h 67"/>
                    <a:gd name="T18" fmla="*/ 0 w 396"/>
                    <a:gd name="T19" fmla="*/ 41 h 67"/>
                    <a:gd name="T20" fmla="*/ 0 w 396"/>
                    <a:gd name="T21" fmla="*/ 34 h 67"/>
                    <a:gd name="T22" fmla="*/ 0 w 396"/>
                    <a:gd name="T23" fmla="*/ 34 h 67"/>
                    <a:gd name="T24" fmla="*/ 0 w 396"/>
                    <a:gd name="T25" fmla="*/ 27 h 67"/>
                    <a:gd name="T26" fmla="*/ 2 w 396"/>
                    <a:gd name="T27" fmla="*/ 21 h 67"/>
                    <a:gd name="T28" fmla="*/ 5 w 396"/>
                    <a:gd name="T29" fmla="*/ 15 h 67"/>
                    <a:gd name="T30" fmla="*/ 9 w 396"/>
                    <a:gd name="T31" fmla="*/ 11 h 67"/>
                    <a:gd name="T32" fmla="*/ 14 w 396"/>
                    <a:gd name="T33" fmla="*/ 7 h 67"/>
                    <a:gd name="T34" fmla="*/ 19 w 396"/>
                    <a:gd name="T35" fmla="*/ 3 h 67"/>
                    <a:gd name="T36" fmla="*/ 26 w 396"/>
                    <a:gd name="T37" fmla="*/ 1 h 67"/>
                    <a:gd name="T38" fmla="*/ 33 w 396"/>
                    <a:gd name="T39" fmla="*/ 0 h 67"/>
                    <a:gd name="T40" fmla="*/ 363 w 396"/>
                    <a:gd name="T41" fmla="*/ 0 h 67"/>
                    <a:gd name="T42" fmla="*/ 363 w 396"/>
                    <a:gd name="T43" fmla="*/ 0 h 67"/>
                    <a:gd name="T44" fmla="*/ 370 w 396"/>
                    <a:gd name="T45" fmla="*/ 1 h 67"/>
                    <a:gd name="T46" fmla="*/ 376 w 396"/>
                    <a:gd name="T47" fmla="*/ 3 h 67"/>
                    <a:gd name="T48" fmla="*/ 382 w 396"/>
                    <a:gd name="T49" fmla="*/ 7 h 67"/>
                    <a:gd name="T50" fmla="*/ 387 w 396"/>
                    <a:gd name="T51" fmla="*/ 11 h 67"/>
                    <a:gd name="T52" fmla="*/ 391 w 396"/>
                    <a:gd name="T53" fmla="*/ 15 h 67"/>
                    <a:gd name="T54" fmla="*/ 394 w 396"/>
                    <a:gd name="T55" fmla="*/ 21 h 67"/>
                    <a:gd name="T56" fmla="*/ 396 w 396"/>
                    <a:gd name="T57" fmla="*/ 27 h 67"/>
                    <a:gd name="T58" fmla="*/ 396 w 396"/>
                    <a:gd name="T59" fmla="*/ 34 h 67"/>
                    <a:gd name="T60" fmla="*/ 396 w 396"/>
                    <a:gd name="T61" fmla="*/ 34 h 67"/>
                    <a:gd name="T62" fmla="*/ 396 w 396"/>
                    <a:gd name="T63" fmla="*/ 41 h 67"/>
                    <a:gd name="T64" fmla="*/ 394 w 396"/>
                    <a:gd name="T65" fmla="*/ 47 h 67"/>
                    <a:gd name="T66" fmla="*/ 391 w 396"/>
                    <a:gd name="T67" fmla="*/ 52 h 67"/>
                    <a:gd name="T68" fmla="*/ 387 w 396"/>
                    <a:gd name="T69" fmla="*/ 57 h 67"/>
                    <a:gd name="T70" fmla="*/ 382 w 396"/>
                    <a:gd name="T71" fmla="*/ 61 h 67"/>
                    <a:gd name="T72" fmla="*/ 376 w 396"/>
                    <a:gd name="T73" fmla="*/ 65 h 67"/>
                    <a:gd name="T74" fmla="*/ 370 w 396"/>
                    <a:gd name="T75" fmla="*/ 67 h 67"/>
                    <a:gd name="T76" fmla="*/ 363 w 396"/>
                    <a:gd name="T77" fmla="*/ 67 h 67"/>
                    <a:gd name="T78" fmla="*/ 363 w 396"/>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7">
                      <a:moveTo>
                        <a:pt x="363" y="67"/>
                      </a:moveTo>
                      <a:lnTo>
                        <a:pt x="33" y="67"/>
                      </a:lnTo>
                      <a:lnTo>
                        <a:pt x="33" y="67"/>
                      </a:lnTo>
                      <a:lnTo>
                        <a:pt x="26" y="67"/>
                      </a:lnTo>
                      <a:lnTo>
                        <a:pt x="19" y="65"/>
                      </a:lnTo>
                      <a:lnTo>
                        <a:pt x="14" y="61"/>
                      </a:lnTo>
                      <a:lnTo>
                        <a:pt x="9" y="57"/>
                      </a:lnTo>
                      <a:lnTo>
                        <a:pt x="5" y="52"/>
                      </a:lnTo>
                      <a:lnTo>
                        <a:pt x="2" y="47"/>
                      </a:lnTo>
                      <a:lnTo>
                        <a:pt x="0" y="41"/>
                      </a:lnTo>
                      <a:lnTo>
                        <a:pt x="0" y="34"/>
                      </a:lnTo>
                      <a:lnTo>
                        <a:pt x="0" y="34"/>
                      </a:lnTo>
                      <a:lnTo>
                        <a:pt x="0" y="27"/>
                      </a:lnTo>
                      <a:lnTo>
                        <a:pt x="2" y="21"/>
                      </a:lnTo>
                      <a:lnTo>
                        <a:pt x="5" y="15"/>
                      </a:lnTo>
                      <a:lnTo>
                        <a:pt x="9" y="11"/>
                      </a:lnTo>
                      <a:lnTo>
                        <a:pt x="14" y="7"/>
                      </a:lnTo>
                      <a:lnTo>
                        <a:pt x="19" y="3"/>
                      </a:lnTo>
                      <a:lnTo>
                        <a:pt x="26" y="1"/>
                      </a:lnTo>
                      <a:lnTo>
                        <a:pt x="33" y="0"/>
                      </a:lnTo>
                      <a:lnTo>
                        <a:pt x="363" y="0"/>
                      </a:lnTo>
                      <a:lnTo>
                        <a:pt x="363" y="0"/>
                      </a:lnTo>
                      <a:lnTo>
                        <a:pt x="370" y="1"/>
                      </a:lnTo>
                      <a:lnTo>
                        <a:pt x="376" y="3"/>
                      </a:lnTo>
                      <a:lnTo>
                        <a:pt x="382" y="7"/>
                      </a:lnTo>
                      <a:lnTo>
                        <a:pt x="387" y="11"/>
                      </a:lnTo>
                      <a:lnTo>
                        <a:pt x="391" y="15"/>
                      </a:lnTo>
                      <a:lnTo>
                        <a:pt x="394" y="21"/>
                      </a:lnTo>
                      <a:lnTo>
                        <a:pt x="396" y="27"/>
                      </a:lnTo>
                      <a:lnTo>
                        <a:pt x="396" y="34"/>
                      </a:lnTo>
                      <a:lnTo>
                        <a:pt x="396" y="34"/>
                      </a:lnTo>
                      <a:lnTo>
                        <a:pt x="396" y="41"/>
                      </a:lnTo>
                      <a:lnTo>
                        <a:pt x="394" y="47"/>
                      </a:lnTo>
                      <a:lnTo>
                        <a:pt x="391" y="52"/>
                      </a:lnTo>
                      <a:lnTo>
                        <a:pt x="387" y="57"/>
                      </a:lnTo>
                      <a:lnTo>
                        <a:pt x="382" y="61"/>
                      </a:lnTo>
                      <a:lnTo>
                        <a:pt x="376" y="65"/>
                      </a:lnTo>
                      <a:lnTo>
                        <a:pt x="370" y="67"/>
                      </a:lnTo>
                      <a:lnTo>
                        <a:pt x="363" y="67"/>
                      </a:lnTo>
                      <a:lnTo>
                        <a:pt x="36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07" name="Freeform 102">
                  <a:extLst>
                    <a:ext uri="{FF2B5EF4-FFF2-40B4-BE49-F238E27FC236}">
                      <a16:creationId xmlns:a16="http://schemas.microsoft.com/office/drawing/2014/main" id="{99EB5DD0-1E2D-EB08-C804-227DEB358746}"/>
                    </a:ext>
                  </a:extLst>
                </p:cNvPr>
                <p:cNvSpPr>
                  <a:spLocks/>
                </p:cNvSpPr>
                <p:nvPr/>
              </p:nvSpPr>
              <p:spPr bwMode="auto">
                <a:xfrm>
                  <a:off x="9231313" y="2393950"/>
                  <a:ext cx="58738" cy="14288"/>
                </a:xfrm>
                <a:custGeom>
                  <a:avLst/>
                  <a:gdLst>
                    <a:gd name="T0" fmla="*/ 230 w 264"/>
                    <a:gd name="T1" fmla="*/ 66 h 66"/>
                    <a:gd name="T2" fmla="*/ 33 w 264"/>
                    <a:gd name="T3" fmla="*/ 66 h 66"/>
                    <a:gd name="T4" fmla="*/ 33 w 264"/>
                    <a:gd name="T5" fmla="*/ 66 h 66"/>
                    <a:gd name="T6" fmla="*/ 26 w 264"/>
                    <a:gd name="T7" fmla="*/ 65 h 66"/>
                    <a:gd name="T8" fmla="*/ 19 w 264"/>
                    <a:gd name="T9" fmla="*/ 64 h 66"/>
                    <a:gd name="T10" fmla="*/ 14 w 264"/>
                    <a:gd name="T11" fmla="*/ 61 h 66"/>
                    <a:gd name="T12" fmla="*/ 9 w 264"/>
                    <a:gd name="T13" fmla="*/ 57 h 66"/>
                    <a:gd name="T14" fmla="*/ 5 w 264"/>
                    <a:gd name="T15" fmla="*/ 52 h 66"/>
                    <a:gd name="T16" fmla="*/ 2 w 264"/>
                    <a:gd name="T17" fmla="*/ 47 h 66"/>
                    <a:gd name="T18" fmla="*/ 0 w 264"/>
                    <a:gd name="T19" fmla="*/ 40 h 66"/>
                    <a:gd name="T20" fmla="*/ 0 w 264"/>
                    <a:gd name="T21" fmla="*/ 33 h 66"/>
                    <a:gd name="T22" fmla="*/ 0 w 264"/>
                    <a:gd name="T23" fmla="*/ 33 h 66"/>
                    <a:gd name="T24" fmla="*/ 0 w 264"/>
                    <a:gd name="T25" fmla="*/ 27 h 66"/>
                    <a:gd name="T26" fmla="*/ 2 w 264"/>
                    <a:gd name="T27" fmla="*/ 21 h 66"/>
                    <a:gd name="T28" fmla="*/ 5 w 264"/>
                    <a:gd name="T29" fmla="*/ 14 h 66"/>
                    <a:gd name="T30" fmla="*/ 9 w 264"/>
                    <a:gd name="T31" fmla="*/ 9 h 66"/>
                    <a:gd name="T32" fmla="*/ 14 w 264"/>
                    <a:gd name="T33" fmla="*/ 6 h 66"/>
                    <a:gd name="T34" fmla="*/ 19 w 264"/>
                    <a:gd name="T35" fmla="*/ 3 h 66"/>
                    <a:gd name="T36" fmla="*/ 26 w 264"/>
                    <a:gd name="T37" fmla="*/ 1 h 66"/>
                    <a:gd name="T38" fmla="*/ 33 w 264"/>
                    <a:gd name="T39" fmla="*/ 0 h 66"/>
                    <a:gd name="T40" fmla="*/ 230 w 264"/>
                    <a:gd name="T41" fmla="*/ 0 h 66"/>
                    <a:gd name="T42" fmla="*/ 230 w 264"/>
                    <a:gd name="T43" fmla="*/ 0 h 66"/>
                    <a:gd name="T44" fmla="*/ 238 w 264"/>
                    <a:gd name="T45" fmla="*/ 1 h 66"/>
                    <a:gd name="T46" fmla="*/ 244 w 264"/>
                    <a:gd name="T47" fmla="*/ 3 h 66"/>
                    <a:gd name="T48" fmla="*/ 249 w 264"/>
                    <a:gd name="T49" fmla="*/ 6 h 66"/>
                    <a:gd name="T50" fmla="*/ 254 w 264"/>
                    <a:gd name="T51" fmla="*/ 9 h 66"/>
                    <a:gd name="T52" fmla="*/ 258 w 264"/>
                    <a:gd name="T53" fmla="*/ 14 h 66"/>
                    <a:gd name="T54" fmla="*/ 261 w 264"/>
                    <a:gd name="T55" fmla="*/ 21 h 66"/>
                    <a:gd name="T56" fmla="*/ 264 w 264"/>
                    <a:gd name="T57" fmla="*/ 27 h 66"/>
                    <a:gd name="T58" fmla="*/ 264 w 264"/>
                    <a:gd name="T59" fmla="*/ 33 h 66"/>
                    <a:gd name="T60" fmla="*/ 264 w 264"/>
                    <a:gd name="T61" fmla="*/ 33 h 66"/>
                    <a:gd name="T62" fmla="*/ 264 w 264"/>
                    <a:gd name="T63" fmla="*/ 40 h 66"/>
                    <a:gd name="T64" fmla="*/ 261 w 264"/>
                    <a:gd name="T65" fmla="*/ 47 h 66"/>
                    <a:gd name="T66" fmla="*/ 258 w 264"/>
                    <a:gd name="T67" fmla="*/ 52 h 66"/>
                    <a:gd name="T68" fmla="*/ 254 w 264"/>
                    <a:gd name="T69" fmla="*/ 57 h 66"/>
                    <a:gd name="T70" fmla="*/ 249 w 264"/>
                    <a:gd name="T71" fmla="*/ 61 h 66"/>
                    <a:gd name="T72" fmla="*/ 244 w 264"/>
                    <a:gd name="T73" fmla="*/ 64 h 66"/>
                    <a:gd name="T74" fmla="*/ 238 w 264"/>
                    <a:gd name="T75" fmla="*/ 65 h 66"/>
                    <a:gd name="T76" fmla="*/ 230 w 264"/>
                    <a:gd name="T77" fmla="*/ 66 h 66"/>
                    <a:gd name="T78" fmla="*/ 230 w 264"/>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4" h="66">
                      <a:moveTo>
                        <a:pt x="230" y="66"/>
                      </a:moveTo>
                      <a:lnTo>
                        <a:pt x="33" y="66"/>
                      </a:lnTo>
                      <a:lnTo>
                        <a:pt x="33" y="66"/>
                      </a:lnTo>
                      <a:lnTo>
                        <a:pt x="26" y="65"/>
                      </a:lnTo>
                      <a:lnTo>
                        <a:pt x="19" y="64"/>
                      </a:lnTo>
                      <a:lnTo>
                        <a:pt x="14" y="61"/>
                      </a:lnTo>
                      <a:lnTo>
                        <a:pt x="9" y="57"/>
                      </a:lnTo>
                      <a:lnTo>
                        <a:pt x="5" y="52"/>
                      </a:lnTo>
                      <a:lnTo>
                        <a:pt x="2" y="47"/>
                      </a:lnTo>
                      <a:lnTo>
                        <a:pt x="0" y="40"/>
                      </a:lnTo>
                      <a:lnTo>
                        <a:pt x="0" y="33"/>
                      </a:lnTo>
                      <a:lnTo>
                        <a:pt x="0" y="33"/>
                      </a:lnTo>
                      <a:lnTo>
                        <a:pt x="0" y="27"/>
                      </a:lnTo>
                      <a:lnTo>
                        <a:pt x="2" y="21"/>
                      </a:lnTo>
                      <a:lnTo>
                        <a:pt x="5" y="14"/>
                      </a:lnTo>
                      <a:lnTo>
                        <a:pt x="9" y="9"/>
                      </a:lnTo>
                      <a:lnTo>
                        <a:pt x="14" y="6"/>
                      </a:lnTo>
                      <a:lnTo>
                        <a:pt x="19" y="3"/>
                      </a:lnTo>
                      <a:lnTo>
                        <a:pt x="26" y="1"/>
                      </a:lnTo>
                      <a:lnTo>
                        <a:pt x="33" y="0"/>
                      </a:lnTo>
                      <a:lnTo>
                        <a:pt x="230" y="0"/>
                      </a:lnTo>
                      <a:lnTo>
                        <a:pt x="230" y="0"/>
                      </a:lnTo>
                      <a:lnTo>
                        <a:pt x="238" y="1"/>
                      </a:lnTo>
                      <a:lnTo>
                        <a:pt x="244" y="3"/>
                      </a:lnTo>
                      <a:lnTo>
                        <a:pt x="249" y="6"/>
                      </a:lnTo>
                      <a:lnTo>
                        <a:pt x="254" y="9"/>
                      </a:lnTo>
                      <a:lnTo>
                        <a:pt x="258" y="14"/>
                      </a:lnTo>
                      <a:lnTo>
                        <a:pt x="261" y="21"/>
                      </a:lnTo>
                      <a:lnTo>
                        <a:pt x="264" y="27"/>
                      </a:lnTo>
                      <a:lnTo>
                        <a:pt x="264" y="33"/>
                      </a:lnTo>
                      <a:lnTo>
                        <a:pt x="264" y="33"/>
                      </a:lnTo>
                      <a:lnTo>
                        <a:pt x="264" y="40"/>
                      </a:lnTo>
                      <a:lnTo>
                        <a:pt x="261" y="47"/>
                      </a:lnTo>
                      <a:lnTo>
                        <a:pt x="258" y="52"/>
                      </a:lnTo>
                      <a:lnTo>
                        <a:pt x="254" y="57"/>
                      </a:lnTo>
                      <a:lnTo>
                        <a:pt x="249" y="61"/>
                      </a:lnTo>
                      <a:lnTo>
                        <a:pt x="244" y="64"/>
                      </a:lnTo>
                      <a:lnTo>
                        <a:pt x="238" y="65"/>
                      </a:lnTo>
                      <a:lnTo>
                        <a:pt x="230" y="66"/>
                      </a:lnTo>
                      <a:lnTo>
                        <a:pt x="23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grpSp>
      <p:sp>
        <p:nvSpPr>
          <p:cNvPr id="112" name="TextBox 111">
            <a:extLst>
              <a:ext uri="{FF2B5EF4-FFF2-40B4-BE49-F238E27FC236}">
                <a16:creationId xmlns:a16="http://schemas.microsoft.com/office/drawing/2014/main" id="{971206EB-8A9D-8FFE-6712-1FAAA125A997}"/>
              </a:ext>
            </a:extLst>
          </p:cNvPr>
          <p:cNvSpPr txBox="1"/>
          <p:nvPr/>
        </p:nvSpPr>
        <p:spPr>
          <a:xfrm>
            <a:off x="1862484" y="3182152"/>
            <a:ext cx="1598896" cy="46166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Roboto"/>
                <a:ea typeface="Roboto"/>
                <a:cs typeface="Roboto"/>
              </a:rPr>
              <a:t>CMA 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dirty="0">
                <a:solidFill>
                  <a:prstClr val="white"/>
                </a:solidFill>
                <a:latin typeface="Roboto"/>
                <a:ea typeface="Roboto"/>
                <a:cs typeface="Roboto"/>
              </a:rPr>
              <a:t>(2023)</a:t>
            </a:r>
            <a:r>
              <a:rPr kumimoji="0" lang="en-US" sz="1500" b="1" i="0" u="none" strike="noStrike" kern="1200" cap="none" spc="0" normalizeH="0" baseline="0" noProof="0" dirty="0">
                <a:ln>
                  <a:noFill/>
                </a:ln>
                <a:solidFill>
                  <a:prstClr val="white"/>
                </a:solidFill>
                <a:effectLst/>
                <a:uLnTx/>
                <a:uFillTx/>
                <a:latin typeface="Roboto"/>
                <a:ea typeface="Roboto"/>
                <a:cs typeface="Roboto"/>
              </a:rPr>
              <a:t> </a:t>
            </a:r>
          </a:p>
        </p:txBody>
      </p:sp>
      <p:grpSp>
        <p:nvGrpSpPr>
          <p:cNvPr id="114" name="Group 113">
            <a:extLst>
              <a:ext uri="{FF2B5EF4-FFF2-40B4-BE49-F238E27FC236}">
                <a16:creationId xmlns:a16="http://schemas.microsoft.com/office/drawing/2014/main" id="{B75E8514-0D4F-CE01-4A04-292044447847}"/>
              </a:ext>
            </a:extLst>
          </p:cNvPr>
          <p:cNvGrpSpPr/>
          <p:nvPr/>
        </p:nvGrpSpPr>
        <p:grpSpPr>
          <a:xfrm>
            <a:off x="934931" y="3057648"/>
            <a:ext cx="692497" cy="692497"/>
            <a:chOff x="5396773" y="1335882"/>
            <a:chExt cx="764700" cy="764700"/>
          </a:xfrm>
        </p:grpSpPr>
        <p:sp>
          <p:nvSpPr>
            <p:cNvPr id="128" name="Elipse 29">
              <a:extLst>
                <a:ext uri="{FF2B5EF4-FFF2-40B4-BE49-F238E27FC236}">
                  <a16:creationId xmlns:a16="http://schemas.microsoft.com/office/drawing/2014/main" id="{7599913D-B7F9-B4FF-3DEE-B313DA23580A}"/>
                </a:ext>
              </a:extLst>
            </p:cNvPr>
            <p:cNvSpPr/>
            <p:nvPr/>
          </p:nvSpPr>
          <p:spPr>
            <a:xfrm>
              <a:off x="5396773" y="1335882"/>
              <a:ext cx="764700" cy="764700"/>
            </a:xfrm>
            <a:prstGeom prst="ellipse">
              <a:avLst/>
            </a:prstGeom>
            <a:solidFill>
              <a:schemeClr val="bg1"/>
            </a:solidFill>
            <a:ln>
              <a:noFill/>
            </a:ln>
            <a:effectLst>
              <a:outerShdw blurRad="2032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a:ea typeface="+mn-ea"/>
                <a:cs typeface="+mn-cs"/>
              </a:endParaRPr>
            </a:p>
          </p:txBody>
        </p:sp>
        <p:sp>
          <p:nvSpPr>
            <p:cNvPr id="129" name="Oval 128">
              <a:extLst>
                <a:ext uri="{FF2B5EF4-FFF2-40B4-BE49-F238E27FC236}">
                  <a16:creationId xmlns:a16="http://schemas.microsoft.com/office/drawing/2014/main" id="{DC8EA81E-9271-ADCA-B7C7-B30174A9ACA7}"/>
                </a:ext>
              </a:extLst>
            </p:cNvPr>
            <p:cNvSpPr/>
            <p:nvPr/>
          </p:nvSpPr>
          <p:spPr>
            <a:xfrm>
              <a:off x="5466691" y="1405801"/>
              <a:ext cx="624860" cy="6248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Roboto"/>
                <a:ea typeface="+mn-ea"/>
                <a:cs typeface="+mn-cs"/>
              </a:endParaRPr>
            </a:p>
          </p:txBody>
        </p:sp>
      </p:grpSp>
      <p:sp>
        <p:nvSpPr>
          <p:cNvPr id="132" name="TextBox 131">
            <a:extLst>
              <a:ext uri="{FF2B5EF4-FFF2-40B4-BE49-F238E27FC236}">
                <a16:creationId xmlns:a16="http://schemas.microsoft.com/office/drawing/2014/main" id="{9D422A63-6F2A-03C0-B92E-F103D1D963FA}"/>
              </a:ext>
            </a:extLst>
          </p:cNvPr>
          <p:cNvSpPr txBox="1"/>
          <p:nvPr/>
        </p:nvSpPr>
        <p:spPr>
          <a:xfrm>
            <a:off x="1862484" y="4370963"/>
            <a:ext cx="1598896" cy="46166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Roboto"/>
                <a:ea typeface="Roboto"/>
                <a:cs typeface="Roboto"/>
              </a:rPr>
              <a:t>CMA 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dirty="0">
                <a:solidFill>
                  <a:prstClr val="white"/>
                </a:solidFill>
                <a:latin typeface="Roboto"/>
                <a:ea typeface="Roboto"/>
                <a:cs typeface="Roboto"/>
              </a:rPr>
              <a:t>(2024)</a:t>
            </a:r>
            <a:r>
              <a:rPr kumimoji="0" lang="en-US" sz="1500" b="1" i="0" u="none" strike="noStrike" kern="1200" cap="none" spc="0" normalizeH="0" baseline="0" noProof="0" dirty="0">
                <a:ln>
                  <a:noFill/>
                </a:ln>
                <a:solidFill>
                  <a:prstClr val="white"/>
                </a:solidFill>
                <a:effectLst/>
                <a:uLnTx/>
                <a:uFillTx/>
                <a:latin typeface="Roboto"/>
                <a:ea typeface="Roboto"/>
                <a:cs typeface="Roboto"/>
              </a:rPr>
              <a:t> </a:t>
            </a:r>
          </a:p>
        </p:txBody>
      </p:sp>
      <p:grpSp>
        <p:nvGrpSpPr>
          <p:cNvPr id="134" name="Group 133">
            <a:extLst>
              <a:ext uri="{FF2B5EF4-FFF2-40B4-BE49-F238E27FC236}">
                <a16:creationId xmlns:a16="http://schemas.microsoft.com/office/drawing/2014/main" id="{E726E611-7C6C-E707-0BFB-25099F1468F8}"/>
              </a:ext>
            </a:extLst>
          </p:cNvPr>
          <p:cNvGrpSpPr/>
          <p:nvPr/>
        </p:nvGrpSpPr>
        <p:grpSpPr>
          <a:xfrm>
            <a:off x="934931" y="4246462"/>
            <a:ext cx="692497" cy="692497"/>
            <a:chOff x="5396773" y="1335882"/>
            <a:chExt cx="764700" cy="764700"/>
          </a:xfrm>
        </p:grpSpPr>
        <p:sp>
          <p:nvSpPr>
            <p:cNvPr id="148" name="Elipse 29">
              <a:extLst>
                <a:ext uri="{FF2B5EF4-FFF2-40B4-BE49-F238E27FC236}">
                  <a16:creationId xmlns:a16="http://schemas.microsoft.com/office/drawing/2014/main" id="{9702F86A-98AD-0971-D6C6-D026E5A00F81}"/>
                </a:ext>
              </a:extLst>
            </p:cNvPr>
            <p:cNvSpPr/>
            <p:nvPr/>
          </p:nvSpPr>
          <p:spPr>
            <a:xfrm>
              <a:off x="5396773" y="1335882"/>
              <a:ext cx="764700" cy="764700"/>
            </a:xfrm>
            <a:prstGeom prst="ellipse">
              <a:avLst/>
            </a:prstGeom>
            <a:solidFill>
              <a:schemeClr val="bg1"/>
            </a:solidFill>
            <a:ln>
              <a:noFill/>
            </a:ln>
            <a:effectLst>
              <a:outerShdw blurRad="2032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a:ea typeface="+mn-ea"/>
                <a:cs typeface="+mn-cs"/>
              </a:endParaRPr>
            </a:p>
          </p:txBody>
        </p:sp>
        <p:sp>
          <p:nvSpPr>
            <p:cNvPr id="149" name="Oval 148">
              <a:extLst>
                <a:ext uri="{FF2B5EF4-FFF2-40B4-BE49-F238E27FC236}">
                  <a16:creationId xmlns:a16="http://schemas.microsoft.com/office/drawing/2014/main" id="{DC68B6DF-FF0F-5566-BF95-DB8F303BE118}"/>
                </a:ext>
              </a:extLst>
            </p:cNvPr>
            <p:cNvSpPr/>
            <p:nvPr/>
          </p:nvSpPr>
          <p:spPr>
            <a:xfrm>
              <a:off x="5466691" y="1405801"/>
              <a:ext cx="624860" cy="6248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Roboto"/>
                <a:ea typeface="+mn-ea"/>
                <a:cs typeface="+mn-cs"/>
              </a:endParaRPr>
            </a:p>
          </p:txBody>
        </p:sp>
      </p:grpSp>
      <p:sp>
        <p:nvSpPr>
          <p:cNvPr id="151" name="TextBox 150">
            <a:extLst>
              <a:ext uri="{FF2B5EF4-FFF2-40B4-BE49-F238E27FC236}">
                <a16:creationId xmlns:a16="http://schemas.microsoft.com/office/drawing/2014/main" id="{14AA13C5-2F1E-1C27-443F-2B1EB362E88A}"/>
              </a:ext>
            </a:extLst>
          </p:cNvPr>
          <p:cNvSpPr txBox="1"/>
          <p:nvPr/>
        </p:nvSpPr>
        <p:spPr>
          <a:xfrm>
            <a:off x="1862484" y="5559776"/>
            <a:ext cx="1598896" cy="46166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Roboto"/>
                <a:ea typeface="Roboto"/>
                <a:cs typeface="Roboto"/>
              </a:rPr>
              <a:t>CMA 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dirty="0">
                <a:solidFill>
                  <a:prstClr val="white"/>
                </a:solidFill>
                <a:latin typeface="Roboto"/>
                <a:ea typeface="Roboto"/>
                <a:cs typeface="Roboto"/>
              </a:rPr>
              <a:t>(2025)</a:t>
            </a:r>
            <a:r>
              <a:rPr kumimoji="0" lang="en-US" sz="1500" b="1" i="0" u="none" strike="noStrike" kern="1200" cap="none" spc="0" normalizeH="0" baseline="0" noProof="0" dirty="0">
                <a:ln>
                  <a:noFill/>
                </a:ln>
                <a:solidFill>
                  <a:prstClr val="white"/>
                </a:solidFill>
                <a:effectLst/>
                <a:uLnTx/>
                <a:uFillTx/>
                <a:latin typeface="Roboto"/>
                <a:ea typeface="Roboto"/>
                <a:cs typeface="Roboto"/>
              </a:rPr>
              <a:t> </a:t>
            </a:r>
          </a:p>
        </p:txBody>
      </p:sp>
      <p:grpSp>
        <p:nvGrpSpPr>
          <p:cNvPr id="153" name="Group 152">
            <a:extLst>
              <a:ext uri="{FF2B5EF4-FFF2-40B4-BE49-F238E27FC236}">
                <a16:creationId xmlns:a16="http://schemas.microsoft.com/office/drawing/2014/main" id="{7F0A331E-D1C9-35EE-ED2C-9C7FB37909A9}"/>
              </a:ext>
            </a:extLst>
          </p:cNvPr>
          <p:cNvGrpSpPr/>
          <p:nvPr/>
        </p:nvGrpSpPr>
        <p:grpSpPr>
          <a:xfrm>
            <a:off x="934931" y="5435272"/>
            <a:ext cx="692497" cy="692497"/>
            <a:chOff x="5396773" y="1335882"/>
            <a:chExt cx="764700" cy="764700"/>
          </a:xfrm>
        </p:grpSpPr>
        <p:sp>
          <p:nvSpPr>
            <p:cNvPr id="167" name="Elipse 29">
              <a:extLst>
                <a:ext uri="{FF2B5EF4-FFF2-40B4-BE49-F238E27FC236}">
                  <a16:creationId xmlns:a16="http://schemas.microsoft.com/office/drawing/2014/main" id="{2E2562D3-6E0F-3EAA-3B31-EB610D837A5E}"/>
                </a:ext>
              </a:extLst>
            </p:cNvPr>
            <p:cNvSpPr/>
            <p:nvPr/>
          </p:nvSpPr>
          <p:spPr>
            <a:xfrm>
              <a:off x="5396773" y="1335882"/>
              <a:ext cx="764700" cy="764700"/>
            </a:xfrm>
            <a:prstGeom prst="ellipse">
              <a:avLst/>
            </a:prstGeom>
            <a:solidFill>
              <a:schemeClr val="bg1"/>
            </a:solidFill>
            <a:ln>
              <a:noFill/>
            </a:ln>
            <a:effectLst>
              <a:outerShdw blurRad="2032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a:ea typeface="+mn-ea"/>
                <a:cs typeface="+mn-cs"/>
              </a:endParaRPr>
            </a:p>
          </p:txBody>
        </p:sp>
        <p:sp>
          <p:nvSpPr>
            <p:cNvPr id="168" name="Oval 167">
              <a:extLst>
                <a:ext uri="{FF2B5EF4-FFF2-40B4-BE49-F238E27FC236}">
                  <a16:creationId xmlns:a16="http://schemas.microsoft.com/office/drawing/2014/main" id="{741E7C47-3673-00D8-7D68-ECC678F9B0D8}"/>
                </a:ext>
              </a:extLst>
            </p:cNvPr>
            <p:cNvSpPr/>
            <p:nvPr/>
          </p:nvSpPr>
          <p:spPr>
            <a:xfrm>
              <a:off x="5466691" y="1405801"/>
              <a:ext cx="624860" cy="6248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Roboto"/>
                <a:ea typeface="+mn-ea"/>
                <a:cs typeface="+mn-cs"/>
              </a:endParaRPr>
            </a:p>
          </p:txBody>
        </p:sp>
      </p:grpSp>
      <p:cxnSp>
        <p:nvCxnSpPr>
          <p:cNvPr id="175" name="Straight Connector 174">
            <a:extLst>
              <a:ext uri="{FF2B5EF4-FFF2-40B4-BE49-F238E27FC236}">
                <a16:creationId xmlns:a16="http://schemas.microsoft.com/office/drawing/2014/main" id="{A5C0D489-EAB4-1074-08F4-618BF8C84BB7}"/>
              </a:ext>
            </a:extLst>
          </p:cNvPr>
          <p:cNvCxnSpPr>
            <a:cxnSpLocks/>
          </p:cNvCxnSpPr>
          <p:nvPr/>
        </p:nvCxnSpPr>
        <p:spPr>
          <a:xfrm flipH="1" flipV="1">
            <a:off x="1862483" y="2821031"/>
            <a:ext cx="1462073" cy="1"/>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0337F944-8598-6EF1-F6CB-952A5A2EE0DE}"/>
              </a:ext>
            </a:extLst>
          </p:cNvPr>
          <p:cNvCxnSpPr>
            <a:cxnSpLocks/>
          </p:cNvCxnSpPr>
          <p:nvPr/>
        </p:nvCxnSpPr>
        <p:spPr>
          <a:xfrm flipH="1" flipV="1">
            <a:off x="1862483" y="3986761"/>
            <a:ext cx="1462073" cy="1"/>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E75245C2-1770-38F9-1059-E6FA9E616913}"/>
              </a:ext>
            </a:extLst>
          </p:cNvPr>
          <p:cNvSpPr txBox="1"/>
          <p:nvPr/>
        </p:nvSpPr>
        <p:spPr>
          <a:xfrm>
            <a:off x="3944800" y="1599530"/>
            <a:ext cx="7913521" cy="98488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118530" algn="l"/>
                <a:tab pos="270927" algn="l"/>
              </a:tabLst>
              <a:defRPr/>
            </a:pPr>
            <a:r>
              <a:rPr kumimoji="0" lang="en-US" altLang="zh-CN" sz="1600" b="0" i="0" u="none" strike="noStrike" kern="0" cap="none" spc="0" normalizeH="0" baseline="0" noProof="0" dirty="0">
                <a:ln>
                  <a:noFill/>
                </a:ln>
                <a:solidFill>
                  <a:prstClr val="black"/>
                </a:solidFill>
                <a:effectLst/>
                <a:uLnTx/>
                <a:uFillTx/>
                <a:latin typeface="Roboto"/>
                <a:ea typeface="+mn-ea"/>
                <a:cs typeface="Times New Roman" pitchFamily="18" charset="0"/>
              </a:rPr>
              <a:t>Establishes the </a:t>
            </a:r>
            <a:r>
              <a:rPr kumimoji="0" lang="en-US" altLang="zh-CN" sz="1600" b="1" i="0" u="none" strike="noStrike" kern="0" cap="none" spc="0" normalizeH="0" baseline="0" noProof="0" dirty="0">
                <a:ln>
                  <a:noFill/>
                </a:ln>
                <a:solidFill>
                  <a:prstClr val="black"/>
                </a:solidFill>
                <a:effectLst/>
                <a:uLnTx/>
                <a:uFillTx/>
                <a:latin typeface="Roboto"/>
                <a:ea typeface="+mn-ea"/>
                <a:cs typeface="Times New Roman" pitchFamily="18" charset="0"/>
              </a:rPr>
              <a:t>Global Goal on Adaptation </a:t>
            </a:r>
            <a:r>
              <a:rPr kumimoji="0" lang="en-US" altLang="zh-CN" sz="1600" b="0" i="0" u="none" strike="noStrike" kern="0" cap="none" spc="0" normalizeH="0" baseline="0" noProof="0" dirty="0">
                <a:ln>
                  <a:noFill/>
                </a:ln>
                <a:solidFill>
                  <a:prstClr val="black"/>
                </a:solidFill>
                <a:effectLst/>
                <a:uLnTx/>
                <a:uFillTx/>
                <a:latin typeface="Roboto"/>
                <a:ea typeface="+mn-ea"/>
                <a:cs typeface="Times New Roman" pitchFamily="18" charset="0"/>
              </a:rPr>
              <a:t>of </a:t>
            </a:r>
            <a:r>
              <a:rPr kumimoji="0" lang="en-US" altLang="zh-CN" sz="1600" b="0" i="0" u="none" strike="noStrike" kern="0" cap="none" spc="0" normalizeH="0" baseline="0" noProof="0" dirty="0">
                <a:ln>
                  <a:noFill/>
                </a:ln>
                <a:solidFill>
                  <a:srgbClr val="0070C0"/>
                </a:solidFill>
                <a:effectLst/>
                <a:uLnTx/>
                <a:uFillTx/>
                <a:latin typeface="Roboto"/>
                <a:ea typeface="+mn-ea"/>
                <a:cs typeface="Times New Roman" pitchFamily="18" charset="0"/>
              </a:rPr>
              <a:t>enhancing adaptive capacity</a:t>
            </a:r>
            <a:r>
              <a:rPr kumimoji="0" lang="en-US" altLang="zh-CN" sz="1600" b="0" i="0" u="none" strike="noStrike" kern="0" cap="none" spc="0" normalizeH="0" baseline="0" noProof="0" dirty="0">
                <a:ln>
                  <a:noFill/>
                </a:ln>
                <a:solidFill>
                  <a:prstClr val="black"/>
                </a:solidFill>
                <a:effectLst/>
                <a:uLnTx/>
                <a:uFillTx/>
                <a:latin typeface="Roboto"/>
                <a:ea typeface="+mn-ea"/>
                <a:cs typeface="Times New Roman" pitchFamily="18" charset="0"/>
              </a:rPr>
              <a:t>, </a:t>
            </a:r>
            <a:r>
              <a:rPr kumimoji="0" lang="en-US" altLang="zh-CN" sz="1600" b="0" i="0" u="none" strike="noStrike" kern="0" cap="none" spc="0" normalizeH="0" baseline="0" noProof="0" dirty="0">
                <a:ln>
                  <a:noFill/>
                </a:ln>
                <a:solidFill>
                  <a:srgbClr val="0070C0"/>
                </a:solidFill>
                <a:effectLst/>
                <a:uLnTx/>
                <a:uFillTx/>
                <a:latin typeface="Roboto"/>
                <a:ea typeface="+mn-ea"/>
                <a:cs typeface="Times New Roman" pitchFamily="18" charset="0"/>
              </a:rPr>
              <a:t>strengthening resilience</a:t>
            </a:r>
            <a:r>
              <a:rPr kumimoji="0" lang="en-US" altLang="zh-CN" sz="1600" b="0" i="0" u="none" strike="noStrike" kern="0" cap="none" spc="0" normalizeH="0" baseline="0" noProof="0" dirty="0">
                <a:ln>
                  <a:noFill/>
                </a:ln>
                <a:solidFill>
                  <a:prstClr val="black"/>
                </a:solidFill>
                <a:effectLst/>
                <a:uLnTx/>
                <a:uFillTx/>
                <a:latin typeface="Roboto"/>
                <a:ea typeface="+mn-ea"/>
                <a:cs typeface="Times New Roman" pitchFamily="18" charset="0"/>
              </a:rPr>
              <a:t> and </a:t>
            </a:r>
            <a:r>
              <a:rPr kumimoji="0" lang="en-US" altLang="zh-CN" sz="1600" b="0" i="0" u="none" strike="noStrike" kern="0" cap="none" spc="0" normalizeH="0" baseline="0" noProof="0" dirty="0">
                <a:ln>
                  <a:noFill/>
                </a:ln>
                <a:solidFill>
                  <a:srgbClr val="0070C0"/>
                </a:solidFill>
                <a:effectLst/>
                <a:uLnTx/>
                <a:uFillTx/>
                <a:latin typeface="Roboto"/>
                <a:ea typeface="+mn-ea"/>
                <a:cs typeface="Times New Roman" pitchFamily="18" charset="0"/>
              </a:rPr>
              <a:t>reducing vulnerability to climate change</a:t>
            </a:r>
            <a:r>
              <a:rPr kumimoji="0" lang="en-US" altLang="zh-CN" sz="1600" b="0" i="0" u="none" strike="noStrike" kern="0" cap="none" spc="0" normalizeH="0" baseline="0" noProof="0" dirty="0">
                <a:ln>
                  <a:noFill/>
                </a:ln>
                <a:solidFill>
                  <a:prstClr val="black"/>
                </a:solidFill>
                <a:effectLst/>
                <a:uLnTx/>
                <a:uFillTx/>
                <a:latin typeface="Roboto"/>
                <a:ea typeface="+mn-ea"/>
                <a:cs typeface="Times New Roman" pitchFamily="18" charset="0"/>
              </a:rPr>
              <a:t>, with a view to contributing to sustainable development and ensuring an adequate adaptation response in the context of the temperature goal referred to in Article 2. </a:t>
            </a:r>
          </a:p>
        </p:txBody>
      </p:sp>
      <p:sp>
        <p:nvSpPr>
          <p:cNvPr id="87" name="TextBox 86">
            <a:extLst>
              <a:ext uri="{FF2B5EF4-FFF2-40B4-BE49-F238E27FC236}">
                <a16:creationId xmlns:a16="http://schemas.microsoft.com/office/drawing/2014/main" id="{886D0C57-A21C-6226-23A2-992802035AA6}"/>
              </a:ext>
            </a:extLst>
          </p:cNvPr>
          <p:cNvSpPr txBox="1"/>
          <p:nvPr/>
        </p:nvSpPr>
        <p:spPr>
          <a:xfrm>
            <a:off x="3944801" y="3002227"/>
            <a:ext cx="7913521" cy="815608"/>
          </a:xfrm>
          <a:prstGeom prst="rect">
            <a:avLst/>
          </a:prstGeom>
          <a:noFill/>
        </p:spPr>
        <p:txBody>
          <a:bodyPr wrap="square" lIns="0" tIns="0" rIns="0" bIns="0">
            <a:spAutoFit/>
          </a:bodyPr>
          <a:lstStyle/>
          <a:p>
            <a:pPr marL="285750" marR="0" lvl="0" indent="-285750" algn="l" defTabSz="914400" rtl="0" eaLnBrk="1" fontAlgn="auto" latinLnBrk="0" hangingPunct="1">
              <a:lnSpc>
                <a:spcPct val="100000"/>
              </a:lnSpc>
              <a:spcBef>
                <a:spcPts val="0"/>
              </a:spcBef>
              <a:spcAft>
                <a:spcPts val="600"/>
              </a:spcAft>
              <a:buClrTx/>
              <a:buSzTx/>
              <a:buFont typeface="Roboto" panose="02000000000000000000" pitchFamily="2" charset="0"/>
              <a:buChar char="‣"/>
              <a:tabLst>
                <a:tab pos="118530" algn="l"/>
                <a:tab pos="270927" algn="l"/>
              </a:tabLst>
              <a:defRPr/>
            </a:pPr>
            <a:r>
              <a:rPr lang="en-US" altLang="zh-CN" sz="1600" kern="0" dirty="0">
                <a:solidFill>
                  <a:prstClr val="black"/>
                </a:solidFill>
                <a:latin typeface="Roboto"/>
                <a:cs typeface="Times New Roman" pitchFamily="18" charset="0"/>
              </a:rPr>
              <a:t>Ad</a:t>
            </a:r>
            <a:r>
              <a:rPr kumimoji="0" lang="en-US" altLang="zh-CN" sz="1600" b="0" i="0" u="none" strike="noStrike" kern="0" cap="none" spc="0" normalizeH="0" baseline="0" noProof="0" dirty="0">
                <a:ln>
                  <a:noFill/>
                </a:ln>
                <a:solidFill>
                  <a:prstClr val="black"/>
                </a:solidFill>
                <a:effectLst/>
                <a:uLnTx/>
                <a:uFillTx/>
                <a:latin typeface="Roboto"/>
                <a:ea typeface="+mn-ea"/>
                <a:cs typeface="Times New Roman" pitchFamily="18" charset="0"/>
              </a:rPr>
              <a:t>opted the </a:t>
            </a:r>
            <a:r>
              <a:rPr kumimoji="0" lang="en-US" altLang="zh-CN" sz="1600" b="1" i="0" u="none" strike="noStrike" kern="0" cap="none" spc="0" normalizeH="0" baseline="0" noProof="0" dirty="0">
                <a:ln>
                  <a:noFill/>
                </a:ln>
                <a:solidFill>
                  <a:prstClr val="black"/>
                </a:solidFill>
                <a:effectLst/>
                <a:uLnTx/>
                <a:uFillTx/>
                <a:latin typeface="Roboto"/>
                <a:ea typeface="+mn-ea"/>
                <a:cs typeface="Times New Roman" pitchFamily="18" charset="0"/>
              </a:rPr>
              <a:t>UAE Framework for Global Climate Resilience</a:t>
            </a:r>
            <a:r>
              <a:rPr kumimoji="0" lang="en-US" altLang="zh-CN" sz="1600" b="0" i="0" u="none" strike="noStrike" kern="0" cap="none" spc="0" normalizeH="0" baseline="0" noProof="0" dirty="0">
                <a:ln>
                  <a:noFill/>
                </a:ln>
                <a:solidFill>
                  <a:prstClr val="black"/>
                </a:solidFill>
                <a:effectLst/>
                <a:uLnTx/>
                <a:uFillTx/>
                <a:latin typeface="Roboto"/>
                <a:ea typeface="+mn-ea"/>
                <a:cs typeface="Times New Roman" pitchFamily="18" charset="0"/>
              </a:rPr>
              <a:t> with </a:t>
            </a:r>
            <a:r>
              <a:rPr kumimoji="0" lang="en-US" altLang="zh-CN" sz="1600" b="0" i="0" u="none" strike="noStrike" kern="0" cap="none" spc="0" normalizeH="0" baseline="0" noProof="0" dirty="0">
                <a:ln>
                  <a:noFill/>
                </a:ln>
                <a:solidFill>
                  <a:srgbClr val="0070C0"/>
                </a:solidFill>
                <a:effectLst/>
                <a:uLnTx/>
                <a:uFillTx/>
                <a:latin typeface="Roboto"/>
                <a:ea typeface="+mn-ea"/>
                <a:cs typeface="Times New Roman" pitchFamily="18" charset="0"/>
              </a:rPr>
              <a:t>7 (</a:t>
            </a:r>
            <a:r>
              <a:rPr lang="en-US" altLang="zh-CN" sz="1600" kern="0">
                <a:solidFill>
                  <a:srgbClr val="0070C0"/>
                </a:solidFill>
                <a:latin typeface="Roboto"/>
                <a:cs typeface="Times New Roman" pitchFamily="18" charset="0"/>
              </a:rPr>
              <a:t>seven) </a:t>
            </a:r>
            <a:r>
              <a:rPr kumimoji="0" lang="en-US" altLang="zh-CN" sz="1600" b="0" i="0" u="none" strike="noStrike" kern="0" cap="none" spc="0" normalizeH="0" baseline="0" noProof="0">
                <a:ln>
                  <a:noFill/>
                </a:ln>
                <a:solidFill>
                  <a:srgbClr val="0070C0"/>
                </a:solidFill>
                <a:effectLst/>
                <a:uLnTx/>
                <a:uFillTx/>
                <a:latin typeface="Roboto"/>
                <a:ea typeface="+mn-ea"/>
                <a:cs typeface="Times New Roman" pitchFamily="18" charset="0"/>
              </a:rPr>
              <a:t>thematic </a:t>
            </a:r>
            <a:r>
              <a:rPr kumimoji="0" lang="en-US" altLang="zh-CN" sz="1600" b="0" i="0" u="none" strike="noStrike" kern="0" cap="none" spc="0" normalizeH="0" baseline="0" noProof="0" dirty="0">
                <a:ln>
                  <a:noFill/>
                </a:ln>
                <a:solidFill>
                  <a:srgbClr val="0070C0"/>
                </a:solidFill>
                <a:effectLst/>
                <a:uLnTx/>
                <a:uFillTx/>
                <a:latin typeface="Roboto"/>
                <a:ea typeface="+mn-ea"/>
                <a:cs typeface="Times New Roman" pitchFamily="18" charset="0"/>
              </a:rPr>
              <a:t>targets</a:t>
            </a:r>
            <a:r>
              <a:rPr kumimoji="0" lang="en-US" altLang="zh-CN" sz="1600" b="0" i="0" u="none" strike="noStrike" kern="0" cap="none" spc="0" normalizeH="0" baseline="0" noProof="0" dirty="0">
                <a:ln>
                  <a:noFill/>
                </a:ln>
                <a:solidFill>
                  <a:prstClr val="black"/>
                </a:solidFill>
                <a:effectLst/>
                <a:uLnTx/>
                <a:uFillTx/>
                <a:latin typeface="Roboto"/>
                <a:ea typeface="+mn-ea"/>
                <a:cs typeface="Times New Roman" pitchFamily="18" charset="0"/>
              </a:rPr>
              <a:t> and </a:t>
            </a:r>
            <a:r>
              <a:rPr kumimoji="0" lang="en-US" altLang="zh-CN" sz="1600" b="0" i="0" u="none" strike="noStrike" kern="0" cap="none" spc="0" normalizeH="0" baseline="0" noProof="0" dirty="0">
                <a:ln>
                  <a:noFill/>
                </a:ln>
                <a:solidFill>
                  <a:srgbClr val="0070C0"/>
                </a:solidFill>
                <a:effectLst/>
                <a:uLnTx/>
                <a:uFillTx/>
                <a:latin typeface="Roboto"/>
                <a:ea typeface="+mn-ea"/>
                <a:cs typeface="Times New Roman" pitchFamily="18" charset="0"/>
              </a:rPr>
              <a:t>4</a:t>
            </a:r>
            <a:r>
              <a:rPr kumimoji="0" lang="en-US" altLang="zh-CN" sz="1600" b="0" i="0" u="none" strike="noStrike" kern="0" cap="none" spc="0" normalizeH="0" noProof="0" dirty="0">
                <a:ln>
                  <a:noFill/>
                </a:ln>
                <a:solidFill>
                  <a:srgbClr val="0070C0"/>
                </a:solidFill>
                <a:effectLst/>
                <a:uLnTx/>
                <a:uFillTx/>
                <a:latin typeface="Roboto"/>
                <a:ea typeface="+mn-ea"/>
                <a:cs typeface="Times New Roman" pitchFamily="18" charset="0"/>
              </a:rPr>
              <a:t> (four) </a:t>
            </a:r>
            <a:r>
              <a:rPr kumimoji="0" lang="en-US" altLang="zh-CN" sz="1600" b="0" i="0" u="none" strike="noStrike" kern="0" cap="none" spc="0" normalizeH="0" baseline="0" noProof="0" dirty="0">
                <a:ln>
                  <a:noFill/>
                </a:ln>
                <a:solidFill>
                  <a:srgbClr val="0070C0"/>
                </a:solidFill>
                <a:effectLst/>
                <a:uLnTx/>
                <a:uFillTx/>
                <a:latin typeface="Roboto"/>
                <a:ea typeface="+mn-ea"/>
                <a:cs typeface="Times New Roman" pitchFamily="18" charset="0"/>
              </a:rPr>
              <a:t>dimensional targets</a:t>
            </a:r>
            <a:r>
              <a:rPr kumimoji="0" lang="en-US" altLang="zh-CN" sz="1600" b="0" i="0" u="none" strike="noStrike" kern="0" cap="none" spc="0" normalizeH="0" baseline="0" noProof="0" dirty="0">
                <a:ln>
                  <a:noFill/>
                </a:ln>
                <a:solidFill>
                  <a:prstClr val="black"/>
                </a:solidFill>
                <a:effectLst/>
                <a:uLnTx/>
                <a:uFillTx/>
                <a:latin typeface="Roboto"/>
                <a:ea typeface="+mn-ea"/>
                <a:cs typeface="Times New Roman" pitchFamily="18" charset="0"/>
              </a:rPr>
              <a:t> of the adaptation iterative cycle </a:t>
            </a:r>
          </a:p>
          <a:p>
            <a:pPr marL="285750" marR="0" lvl="0" indent="-285750" algn="l" defTabSz="914400" rtl="0" eaLnBrk="1" fontAlgn="auto" latinLnBrk="0" hangingPunct="1">
              <a:lnSpc>
                <a:spcPct val="100000"/>
              </a:lnSpc>
              <a:spcBef>
                <a:spcPts val="0"/>
              </a:spcBef>
              <a:spcAft>
                <a:spcPts val="600"/>
              </a:spcAft>
              <a:buClrTx/>
              <a:buSzTx/>
              <a:buFont typeface="Roboto" panose="02000000000000000000" pitchFamily="2" charset="0"/>
              <a:buChar char="‣"/>
              <a:tabLst>
                <a:tab pos="118530" algn="l"/>
                <a:tab pos="270927" algn="l"/>
              </a:tabLst>
              <a:defRPr/>
            </a:pPr>
            <a:r>
              <a:rPr lang="en-US" altLang="zh-CN" sz="1600" kern="0" dirty="0">
                <a:solidFill>
                  <a:prstClr val="black"/>
                </a:solidFill>
                <a:latin typeface="Roboto"/>
                <a:cs typeface="Times New Roman" pitchFamily="18" charset="0"/>
              </a:rPr>
              <a:t>Launched the </a:t>
            </a:r>
            <a:r>
              <a:rPr lang="en-US" altLang="zh-CN" sz="1600" b="1" kern="0" dirty="0">
                <a:solidFill>
                  <a:prstClr val="black"/>
                </a:solidFill>
                <a:latin typeface="Roboto"/>
                <a:cs typeface="Times New Roman" pitchFamily="18" charset="0"/>
              </a:rPr>
              <a:t>UAE-Belém work </a:t>
            </a:r>
            <a:r>
              <a:rPr lang="en-US" altLang="zh-CN" sz="1600" b="1" kern="0" dirty="0" err="1">
                <a:solidFill>
                  <a:prstClr val="black"/>
                </a:solidFill>
                <a:latin typeface="Roboto"/>
                <a:cs typeface="Times New Roman" pitchFamily="18" charset="0"/>
              </a:rPr>
              <a:t>programme</a:t>
            </a:r>
            <a:r>
              <a:rPr lang="en-US" altLang="zh-CN" sz="1600" kern="0" dirty="0">
                <a:solidFill>
                  <a:prstClr val="black"/>
                </a:solidFill>
                <a:latin typeface="Roboto"/>
                <a:cs typeface="Times New Roman" pitchFamily="18" charset="0"/>
              </a:rPr>
              <a:t> on the indicators</a:t>
            </a:r>
            <a:endParaRPr kumimoji="0" lang="en-US" altLang="zh-CN" sz="1600" b="0" i="0" u="none" strike="noStrike" kern="0" cap="none" spc="0" normalizeH="0" baseline="0" noProof="0" dirty="0">
              <a:ln>
                <a:noFill/>
              </a:ln>
              <a:solidFill>
                <a:prstClr val="black"/>
              </a:solidFill>
              <a:effectLst/>
              <a:uLnTx/>
              <a:uFillTx/>
              <a:latin typeface="Roboto"/>
              <a:ea typeface="+mn-ea"/>
              <a:cs typeface="Times New Roman" pitchFamily="18" charset="0"/>
            </a:endParaRPr>
          </a:p>
        </p:txBody>
      </p:sp>
      <p:sp>
        <p:nvSpPr>
          <p:cNvPr id="88" name="TextBox 87">
            <a:extLst>
              <a:ext uri="{FF2B5EF4-FFF2-40B4-BE49-F238E27FC236}">
                <a16:creationId xmlns:a16="http://schemas.microsoft.com/office/drawing/2014/main" id="{DC5974C3-1A45-CF79-B4C9-F5A47D747525}"/>
              </a:ext>
            </a:extLst>
          </p:cNvPr>
          <p:cNvSpPr txBox="1"/>
          <p:nvPr/>
        </p:nvSpPr>
        <p:spPr>
          <a:xfrm>
            <a:off x="3944800" y="4308442"/>
            <a:ext cx="7913521" cy="569387"/>
          </a:xfrm>
          <a:prstGeom prst="rect">
            <a:avLst/>
          </a:prstGeom>
          <a:noFill/>
        </p:spPr>
        <p:txBody>
          <a:bodyPr wrap="square" lIns="0" tIns="0" rIns="0" bIns="0">
            <a:spAutoFit/>
          </a:bodyPr>
          <a:lstStyle/>
          <a:p>
            <a:pPr marL="285750" marR="0" lvl="0" indent="-285750" algn="l" defTabSz="914400" rtl="0" eaLnBrk="1" fontAlgn="auto" latinLnBrk="0" hangingPunct="1">
              <a:lnSpc>
                <a:spcPct val="100000"/>
              </a:lnSpc>
              <a:spcBef>
                <a:spcPts val="0"/>
              </a:spcBef>
              <a:spcAft>
                <a:spcPts val="600"/>
              </a:spcAft>
              <a:buClrTx/>
              <a:buSzTx/>
              <a:buFont typeface="Roboto" panose="02000000000000000000" pitchFamily="2" charset="0"/>
              <a:buChar char="‣"/>
              <a:tabLst>
                <a:tab pos="118530" algn="l"/>
                <a:tab pos="270927" algn="l"/>
              </a:tabLst>
              <a:defRPr/>
            </a:pPr>
            <a:r>
              <a:rPr kumimoji="0" lang="en-US" altLang="zh-CN" sz="1600" b="0" i="0" u="none" strike="noStrike" kern="0" cap="none" spc="0" normalizeH="0" baseline="0" noProof="0" dirty="0">
                <a:ln>
                  <a:noFill/>
                </a:ln>
                <a:solidFill>
                  <a:prstClr val="black"/>
                </a:solidFill>
                <a:effectLst/>
                <a:uLnTx/>
                <a:uFillTx/>
                <a:latin typeface="Roboto"/>
                <a:ea typeface="+mn-ea"/>
                <a:cs typeface="Times New Roman" pitchFamily="18" charset="0"/>
              </a:rPr>
              <a:t>Launched the </a:t>
            </a:r>
            <a:r>
              <a:rPr kumimoji="0" lang="en-US" altLang="zh-CN" sz="1600" b="1" i="0" u="none" strike="noStrike" kern="0" cap="none" spc="0" normalizeH="0" baseline="0" noProof="0" dirty="0">
                <a:ln>
                  <a:noFill/>
                </a:ln>
                <a:solidFill>
                  <a:prstClr val="black"/>
                </a:solidFill>
                <a:effectLst/>
                <a:uLnTx/>
                <a:uFillTx/>
                <a:latin typeface="Roboto"/>
                <a:ea typeface="+mn-ea"/>
                <a:cs typeface="Times New Roman" pitchFamily="18" charset="0"/>
              </a:rPr>
              <a:t>Baku Adaptation Roadmap (BAR)</a:t>
            </a:r>
          </a:p>
          <a:p>
            <a:pPr marL="285750" marR="0" lvl="0" indent="-285750" algn="l" defTabSz="914400" rtl="0" eaLnBrk="1" fontAlgn="auto" latinLnBrk="0" hangingPunct="1">
              <a:lnSpc>
                <a:spcPct val="100000"/>
              </a:lnSpc>
              <a:spcBef>
                <a:spcPts val="0"/>
              </a:spcBef>
              <a:spcAft>
                <a:spcPts val="600"/>
              </a:spcAft>
              <a:buClrTx/>
              <a:buSzTx/>
              <a:buFont typeface="Roboto" panose="02000000000000000000" pitchFamily="2" charset="0"/>
              <a:buChar char="‣"/>
              <a:tabLst>
                <a:tab pos="118530" algn="l"/>
                <a:tab pos="270927" algn="l"/>
              </a:tabLst>
              <a:defRPr/>
            </a:pPr>
            <a:r>
              <a:rPr lang="en-US" altLang="zh-CN" sz="1600" kern="0" dirty="0">
                <a:solidFill>
                  <a:prstClr val="black"/>
                </a:solidFill>
                <a:latin typeface="Roboto"/>
                <a:cs typeface="Times New Roman" pitchFamily="18" charset="0"/>
              </a:rPr>
              <a:t>Provided </a:t>
            </a:r>
            <a:r>
              <a:rPr lang="en-US" altLang="zh-CN" sz="1600" b="1" kern="0" dirty="0">
                <a:solidFill>
                  <a:prstClr val="black"/>
                </a:solidFill>
                <a:latin typeface="Roboto"/>
                <a:cs typeface="Times New Roman" pitchFamily="18" charset="0"/>
              </a:rPr>
              <a:t>further guidance and criteria</a:t>
            </a:r>
            <a:r>
              <a:rPr lang="en-US" altLang="zh-CN" sz="1600" kern="0" dirty="0">
                <a:solidFill>
                  <a:prstClr val="black"/>
                </a:solidFill>
                <a:latin typeface="Roboto"/>
                <a:cs typeface="Times New Roman" pitchFamily="18" charset="0"/>
              </a:rPr>
              <a:t> relating to the indicators</a:t>
            </a:r>
            <a:endParaRPr kumimoji="0" lang="en-US" altLang="zh-CN" sz="1600" i="0" u="none" strike="noStrike" kern="0" cap="none" spc="0" normalizeH="0" baseline="0" noProof="0" dirty="0">
              <a:ln>
                <a:noFill/>
              </a:ln>
              <a:solidFill>
                <a:prstClr val="black"/>
              </a:solidFill>
              <a:effectLst/>
              <a:uLnTx/>
              <a:uFillTx/>
              <a:latin typeface="Roboto"/>
              <a:ea typeface="+mn-ea"/>
              <a:cs typeface="Times New Roman" pitchFamily="18" charset="0"/>
            </a:endParaRPr>
          </a:p>
        </p:txBody>
      </p:sp>
      <p:sp>
        <p:nvSpPr>
          <p:cNvPr id="89" name="TextBox 88">
            <a:extLst>
              <a:ext uri="{FF2B5EF4-FFF2-40B4-BE49-F238E27FC236}">
                <a16:creationId xmlns:a16="http://schemas.microsoft.com/office/drawing/2014/main" id="{46280A15-4B68-C7D4-C591-9C020C4D5880}"/>
              </a:ext>
            </a:extLst>
          </p:cNvPr>
          <p:cNvSpPr txBox="1"/>
          <p:nvPr/>
        </p:nvSpPr>
        <p:spPr>
          <a:xfrm>
            <a:off x="3944800" y="5360694"/>
            <a:ext cx="7913521" cy="892552"/>
          </a:xfrm>
          <a:prstGeom prst="rect">
            <a:avLst/>
          </a:prstGeom>
          <a:noFill/>
        </p:spPr>
        <p:txBody>
          <a:bodyPr wrap="square" lIns="0" tIns="0" rIns="0" bIns="0">
            <a:spAutoFit/>
          </a:bodyPr>
          <a:lstStyle/>
          <a:p>
            <a:pPr marL="285750" marR="0" lvl="0" indent="-285750" algn="l" defTabSz="914400" rtl="0" eaLnBrk="1" fontAlgn="auto" latinLnBrk="0" hangingPunct="1">
              <a:lnSpc>
                <a:spcPct val="100000"/>
              </a:lnSpc>
              <a:spcBef>
                <a:spcPts val="0"/>
              </a:spcBef>
              <a:spcAft>
                <a:spcPts val="600"/>
              </a:spcAft>
              <a:buClrTx/>
              <a:buSzTx/>
              <a:buFont typeface="Roboto" panose="02000000000000000000" pitchFamily="2" charset="0"/>
              <a:buChar char="‣"/>
              <a:tabLst>
                <a:tab pos="118530" algn="l"/>
                <a:tab pos="270927" algn="l"/>
              </a:tabLst>
              <a:defRPr/>
            </a:pPr>
            <a:r>
              <a:rPr kumimoji="0" lang="en-US" altLang="zh-CN" sz="1600" b="0" i="0" u="none" strike="noStrike" kern="0" cap="none" spc="0" normalizeH="0" baseline="0" noProof="0" dirty="0">
                <a:ln>
                  <a:noFill/>
                </a:ln>
                <a:solidFill>
                  <a:prstClr val="black"/>
                </a:solidFill>
                <a:effectLst/>
                <a:uLnTx/>
                <a:uFillTx/>
                <a:latin typeface="Roboto"/>
                <a:ea typeface="+mn-ea"/>
                <a:cs typeface="Times New Roman" pitchFamily="18" charset="0"/>
              </a:rPr>
              <a:t>Adopted </a:t>
            </a:r>
            <a:r>
              <a:rPr kumimoji="0" lang="en-US" altLang="zh-CN" sz="1600" b="1" i="0" u="none" strike="noStrike" kern="0" cap="none" spc="0" normalizeH="0" baseline="0" noProof="0" dirty="0">
                <a:ln>
                  <a:noFill/>
                </a:ln>
                <a:solidFill>
                  <a:prstClr val="black"/>
                </a:solidFill>
                <a:effectLst/>
                <a:uLnTx/>
                <a:uFillTx/>
                <a:latin typeface="Roboto"/>
                <a:ea typeface="+mn-ea"/>
                <a:cs typeface="Times New Roman" pitchFamily="18" charset="0"/>
              </a:rPr>
              <a:t>Belém Adaptation Indicators</a:t>
            </a:r>
            <a:r>
              <a:rPr kumimoji="0" lang="en-US" altLang="zh-CN" sz="1600" b="0" i="0" u="none" strike="noStrike" kern="0" cap="none" spc="0" normalizeH="0" baseline="0" noProof="0" dirty="0">
                <a:ln>
                  <a:noFill/>
                </a:ln>
                <a:solidFill>
                  <a:prstClr val="black"/>
                </a:solidFill>
                <a:effectLst/>
                <a:uLnTx/>
                <a:uFillTx/>
                <a:latin typeface="Roboto"/>
                <a:ea typeface="+mn-ea"/>
                <a:cs typeface="Times New Roman" pitchFamily="18" charset="0"/>
              </a:rPr>
              <a:t> (59 indicators)</a:t>
            </a:r>
          </a:p>
          <a:p>
            <a:pPr marL="285750" marR="0" lvl="0" indent="-285750" algn="l" defTabSz="914400" rtl="0" eaLnBrk="1" fontAlgn="auto" latinLnBrk="0" hangingPunct="1">
              <a:lnSpc>
                <a:spcPct val="100000"/>
              </a:lnSpc>
              <a:spcBef>
                <a:spcPts val="0"/>
              </a:spcBef>
              <a:spcAft>
                <a:spcPts val="600"/>
              </a:spcAft>
              <a:buClrTx/>
              <a:buSzTx/>
              <a:buFont typeface="Roboto" panose="02000000000000000000" pitchFamily="2" charset="0"/>
              <a:buChar char="‣"/>
              <a:tabLst>
                <a:tab pos="118530" algn="l"/>
                <a:tab pos="270927" algn="l"/>
              </a:tabLst>
              <a:defRPr/>
            </a:pPr>
            <a:r>
              <a:rPr lang="en-US" altLang="zh-CN" sz="1600" kern="0" dirty="0">
                <a:solidFill>
                  <a:prstClr val="black"/>
                </a:solidFill>
                <a:latin typeface="Roboto"/>
                <a:cs typeface="Times New Roman" pitchFamily="18" charset="0"/>
              </a:rPr>
              <a:t>Established the </a:t>
            </a:r>
            <a:r>
              <a:rPr lang="en-US" altLang="zh-CN" sz="1600" b="1" kern="0" dirty="0">
                <a:solidFill>
                  <a:prstClr val="black"/>
                </a:solidFill>
                <a:latin typeface="Roboto"/>
                <a:cs typeface="Times New Roman" pitchFamily="18" charset="0"/>
              </a:rPr>
              <a:t>Belém-Addis Vision on Adaptation (BAVA)</a:t>
            </a:r>
          </a:p>
          <a:p>
            <a:pPr marL="285750" marR="0" lvl="0" indent="-285750" algn="l" defTabSz="914400" rtl="0" eaLnBrk="1" fontAlgn="auto" latinLnBrk="0" hangingPunct="1">
              <a:lnSpc>
                <a:spcPct val="100000"/>
              </a:lnSpc>
              <a:spcBef>
                <a:spcPts val="0"/>
              </a:spcBef>
              <a:spcAft>
                <a:spcPts val="600"/>
              </a:spcAft>
              <a:buClrTx/>
              <a:buSzTx/>
              <a:buFont typeface="Roboto" panose="02000000000000000000" pitchFamily="2" charset="0"/>
              <a:buChar char="‣"/>
              <a:tabLst>
                <a:tab pos="118530" algn="l"/>
                <a:tab pos="270927" algn="l"/>
              </a:tabLst>
              <a:defRPr/>
            </a:pPr>
            <a:r>
              <a:rPr kumimoji="0" lang="en-US" altLang="zh-CN" sz="1600" b="0" i="0" u="none" strike="noStrike" kern="0" cap="none" spc="0" normalizeH="0" baseline="0" noProof="0" dirty="0">
                <a:ln>
                  <a:noFill/>
                </a:ln>
                <a:solidFill>
                  <a:prstClr val="black"/>
                </a:solidFill>
                <a:effectLst/>
                <a:uLnTx/>
                <a:uFillTx/>
                <a:latin typeface="Roboto"/>
                <a:ea typeface="+mn-ea"/>
                <a:cs typeface="Times New Roman" pitchFamily="18" charset="0"/>
              </a:rPr>
              <a:t>Adopted activities for the </a:t>
            </a:r>
            <a:r>
              <a:rPr kumimoji="0" lang="en-US" altLang="zh-CN" sz="1600" b="1" i="0" u="none" strike="noStrike" kern="0" cap="none" spc="0" normalizeH="0" baseline="0" noProof="0" dirty="0">
                <a:ln>
                  <a:noFill/>
                </a:ln>
                <a:solidFill>
                  <a:prstClr val="black"/>
                </a:solidFill>
                <a:effectLst/>
                <a:uLnTx/>
                <a:uFillTx/>
                <a:latin typeface="Roboto"/>
                <a:ea typeface="+mn-ea"/>
                <a:cs typeface="Times New Roman" pitchFamily="18" charset="0"/>
              </a:rPr>
              <a:t>1</a:t>
            </a:r>
            <a:r>
              <a:rPr kumimoji="0" lang="en-US" altLang="zh-CN" sz="1600" b="1" i="0" u="none" strike="noStrike" kern="0" cap="none" spc="0" normalizeH="0" baseline="30000" noProof="0" dirty="0">
                <a:ln>
                  <a:noFill/>
                </a:ln>
                <a:solidFill>
                  <a:prstClr val="black"/>
                </a:solidFill>
                <a:effectLst/>
                <a:uLnTx/>
                <a:uFillTx/>
                <a:latin typeface="Roboto"/>
                <a:ea typeface="+mn-ea"/>
                <a:cs typeface="Times New Roman" pitchFamily="18" charset="0"/>
              </a:rPr>
              <a:t>st</a:t>
            </a:r>
            <a:r>
              <a:rPr kumimoji="0" lang="en-US" altLang="zh-CN" sz="1600" b="1" i="0" u="none" strike="noStrike" kern="0" cap="none" spc="0" normalizeH="0" baseline="0" noProof="0" dirty="0">
                <a:ln>
                  <a:noFill/>
                </a:ln>
                <a:solidFill>
                  <a:prstClr val="black"/>
                </a:solidFill>
                <a:effectLst/>
                <a:uLnTx/>
                <a:uFillTx/>
                <a:latin typeface="Roboto"/>
                <a:ea typeface="+mn-ea"/>
                <a:cs typeface="Times New Roman" pitchFamily="18" charset="0"/>
              </a:rPr>
              <a:t> phase of the Baku Adaptation Roadmap</a:t>
            </a:r>
            <a:r>
              <a:rPr kumimoji="0" lang="en-US" altLang="zh-CN" sz="1600" b="0" i="0" u="none" strike="noStrike" kern="0" cap="none" spc="0" normalizeH="0" baseline="0" noProof="0" dirty="0">
                <a:ln>
                  <a:noFill/>
                </a:ln>
                <a:solidFill>
                  <a:prstClr val="black"/>
                </a:solidFill>
                <a:effectLst/>
                <a:uLnTx/>
                <a:uFillTx/>
                <a:latin typeface="Roboto"/>
                <a:ea typeface="+mn-ea"/>
                <a:cs typeface="Times New Roman" pitchFamily="18" charset="0"/>
              </a:rPr>
              <a:t> (2026-2028) </a:t>
            </a:r>
          </a:p>
        </p:txBody>
      </p:sp>
      <p:cxnSp>
        <p:nvCxnSpPr>
          <p:cNvPr id="172" name="Straight Connector 171">
            <a:extLst>
              <a:ext uri="{FF2B5EF4-FFF2-40B4-BE49-F238E27FC236}">
                <a16:creationId xmlns:a16="http://schemas.microsoft.com/office/drawing/2014/main" id="{81158756-3209-D8BF-00C9-7BFC10D00B94}"/>
              </a:ext>
            </a:extLst>
          </p:cNvPr>
          <p:cNvCxnSpPr>
            <a:cxnSpLocks/>
          </p:cNvCxnSpPr>
          <p:nvPr/>
        </p:nvCxnSpPr>
        <p:spPr>
          <a:xfrm flipH="1" flipV="1">
            <a:off x="3940841" y="2821031"/>
            <a:ext cx="7911959" cy="1"/>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AC99536D-8778-1287-2C7F-AF2282DCBC05}"/>
              </a:ext>
            </a:extLst>
          </p:cNvPr>
          <p:cNvCxnSpPr>
            <a:cxnSpLocks/>
          </p:cNvCxnSpPr>
          <p:nvPr/>
        </p:nvCxnSpPr>
        <p:spPr>
          <a:xfrm flipH="1" flipV="1">
            <a:off x="3940841" y="3986761"/>
            <a:ext cx="7911959" cy="1"/>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D7ED484D-9663-580A-9DC0-2ACBCE42B26B}"/>
              </a:ext>
            </a:extLst>
          </p:cNvPr>
          <p:cNvCxnSpPr>
            <a:cxnSpLocks/>
          </p:cNvCxnSpPr>
          <p:nvPr/>
        </p:nvCxnSpPr>
        <p:spPr>
          <a:xfrm flipH="1" flipV="1">
            <a:off x="3940841" y="5198657"/>
            <a:ext cx="7911959" cy="1"/>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66FFD550-0441-F216-2278-F1E7B8EAE9A5}"/>
              </a:ext>
            </a:extLst>
          </p:cNvPr>
          <p:cNvCxnSpPr>
            <a:cxnSpLocks/>
          </p:cNvCxnSpPr>
          <p:nvPr/>
        </p:nvCxnSpPr>
        <p:spPr>
          <a:xfrm flipH="1" flipV="1">
            <a:off x="1862483" y="5198657"/>
            <a:ext cx="1462073" cy="1"/>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86" name="Group 185">
            <a:extLst>
              <a:ext uri="{FF2B5EF4-FFF2-40B4-BE49-F238E27FC236}">
                <a16:creationId xmlns:a16="http://schemas.microsoft.com/office/drawing/2014/main" id="{BA11908D-C372-2A2C-949A-B558E385E8E9}"/>
              </a:ext>
            </a:extLst>
          </p:cNvPr>
          <p:cNvGrpSpPr/>
          <p:nvPr/>
        </p:nvGrpSpPr>
        <p:grpSpPr>
          <a:xfrm>
            <a:off x="1138304" y="3223715"/>
            <a:ext cx="285750" cy="360363"/>
            <a:chOff x="3425825" y="2168525"/>
            <a:chExt cx="285750" cy="360363"/>
          </a:xfrm>
          <a:solidFill>
            <a:schemeClr val="bg1"/>
          </a:solidFill>
        </p:grpSpPr>
        <p:sp>
          <p:nvSpPr>
            <p:cNvPr id="187" name="Freeform 13">
              <a:extLst>
                <a:ext uri="{FF2B5EF4-FFF2-40B4-BE49-F238E27FC236}">
                  <a16:creationId xmlns:a16="http://schemas.microsoft.com/office/drawing/2014/main" id="{D9BADDE4-F773-A7FF-C385-CE91A2F2501A}"/>
                </a:ext>
              </a:extLst>
            </p:cNvPr>
            <p:cNvSpPr>
              <a:spLocks/>
            </p:cNvSpPr>
            <p:nvPr/>
          </p:nvSpPr>
          <p:spPr bwMode="auto">
            <a:xfrm>
              <a:off x="3425825" y="2198688"/>
              <a:ext cx="285750" cy="330200"/>
            </a:xfrm>
            <a:custGeom>
              <a:avLst/>
              <a:gdLst>
                <a:gd name="T0" fmla="*/ 34 w 1257"/>
                <a:gd name="T1" fmla="*/ 1456 h 1456"/>
                <a:gd name="T2" fmla="*/ 27 w 1257"/>
                <a:gd name="T3" fmla="*/ 1456 h 1456"/>
                <a:gd name="T4" fmla="*/ 15 w 1257"/>
                <a:gd name="T5" fmla="*/ 1451 h 1456"/>
                <a:gd name="T6" fmla="*/ 6 w 1257"/>
                <a:gd name="T7" fmla="*/ 1442 h 1456"/>
                <a:gd name="T8" fmla="*/ 1 w 1257"/>
                <a:gd name="T9" fmla="*/ 1430 h 1456"/>
                <a:gd name="T10" fmla="*/ 0 w 1257"/>
                <a:gd name="T11" fmla="*/ 34 h 1456"/>
                <a:gd name="T12" fmla="*/ 1 w 1257"/>
                <a:gd name="T13" fmla="*/ 27 h 1456"/>
                <a:gd name="T14" fmla="*/ 6 w 1257"/>
                <a:gd name="T15" fmla="*/ 15 h 1456"/>
                <a:gd name="T16" fmla="*/ 15 w 1257"/>
                <a:gd name="T17" fmla="*/ 7 h 1456"/>
                <a:gd name="T18" fmla="*/ 27 w 1257"/>
                <a:gd name="T19" fmla="*/ 2 h 1456"/>
                <a:gd name="T20" fmla="*/ 166 w 1257"/>
                <a:gd name="T21" fmla="*/ 0 h 1456"/>
                <a:gd name="T22" fmla="*/ 172 w 1257"/>
                <a:gd name="T23" fmla="*/ 2 h 1456"/>
                <a:gd name="T24" fmla="*/ 185 w 1257"/>
                <a:gd name="T25" fmla="*/ 7 h 1456"/>
                <a:gd name="T26" fmla="*/ 193 w 1257"/>
                <a:gd name="T27" fmla="*/ 15 h 1456"/>
                <a:gd name="T28" fmla="*/ 198 w 1257"/>
                <a:gd name="T29" fmla="*/ 27 h 1456"/>
                <a:gd name="T30" fmla="*/ 199 w 1257"/>
                <a:gd name="T31" fmla="*/ 34 h 1456"/>
                <a:gd name="T32" fmla="*/ 196 w 1257"/>
                <a:gd name="T33" fmla="*/ 47 h 1456"/>
                <a:gd name="T34" fmla="*/ 189 w 1257"/>
                <a:gd name="T35" fmla="*/ 57 h 1456"/>
                <a:gd name="T36" fmla="*/ 178 w 1257"/>
                <a:gd name="T37" fmla="*/ 65 h 1456"/>
                <a:gd name="T38" fmla="*/ 166 w 1257"/>
                <a:gd name="T39" fmla="*/ 67 h 1456"/>
                <a:gd name="T40" fmla="*/ 67 w 1257"/>
                <a:gd name="T41" fmla="*/ 1390 h 1456"/>
                <a:gd name="T42" fmla="*/ 1190 w 1257"/>
                <a:gd name="T43" fmla="*/ 67 h 1456"/>
                <a:gd name="T44" fmla="*/ 1091 w 1257"/>
                <a:gd name="T45" fmla="*/ 67 h 1456"/>
                <a:gd name="T46" fmla="*/ 1079 w 1257"/>
                <a:gd name="T47" fmla="*/ 65 h 1456"/>
                <a:gd name="T48" fmla="*/ 1068 w 1257"/>
                <a:gd name="T49" fmla="*/ 57 h 1456"/>
                <a:gd name="T50" fmla="*/ 1061 w 1257"/>
                <a:gd name="T51" fmla="*/ 47 h 1456"/>
                <a:gd name="T52" fmla="*/ 1058 w 1257"/>
                <a:gd name="T53" fmla="*/ 34 h 1456"/>
                <a:gd name="T54" fmla="*/ 1059 w 1257"/>
                <a:gd name="T55" fmla="*/ 27 h 1456"/>
                <a:gd name="T56" fmla="*/ 1064 w 1257"/>
                <a:gd name="T57" fmla="*/ 15 h 1456"/>
                <a:gd name="T58" fmla="*/ 1074 w 1257"/>
                <a:gd name="T59" fmla="*/ 7 h 1456"/>
                <a:gd name="T60" fmla="*/ 1085 w 1257"/>
                <a:gd name="T61" fmla="*/ 2 h 1456"/>
                <a:gd name="T62" fmla="*/ 1224 w 1257"/>
                <a:gd name="T63" fmla="*/ 0 h 1456"/>
                <a:gd name="T64" fmla="*/ 1231 w 1257"/>
                <a:gd name="T65" fmla="*/ 2 h 1456"/>
                <a:gd name="T66" fmla="*/ 1242 w 1257"/>
                <a:gd name="T67" fmla="*/ 7 h 1456"/>
                <a:gd name="T68" fmla="*/ 1252 w 1257"/>
                <a:gd name="T69" fmla="*/ 15 h 1456"/>
                <a:gd name="T70" fmla="*/ 1257 w 1257"/>
                <a:gd name="T71" fmla="*/ 27 h 1456"/>
                <a:gd name="T72" fmla="*/ 1257 w 1257"/>
                <a:gd name="T73" fmla="*/ 1423 h 1456"/>
                <a:gd name="T74" fmla="*/ 1257 w 1257"/>
                <a:gd name="T75" fmla="*/ 1430 h 1456"/>
                <a:gd name="T76" fmla="*/ 1252 w 1257"/>
                <a:gd name="T77" fmla="*/ 1442 h 1456"/>
                <a:gd name="T78" fmla="*/ 1242 w 1257"/>
                <a:gd name="T79" fmla="*/ 1451 h 1456"/>
                <a:gd name="T80" fmla="*/ 1231 w 1257"/>
                <a:gd name="T81" fmla="*/ 1456 h 1456"/>
                <a:gd name="T82" fmla="*/ 1224 w 1257"/>
                <a:gd name="T83" fmla="*/ 1456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7" h="1456">
                  <a:moveTo>
                    <a:pt x="1224" y="1456"/>
                  </a:moveTo>
                  <a:lnTo>
                    <a:pt x="34" y="1456"/>
                  </a:lnTo>
                  <a:lnTo>
                    <a:pt x="34" y="1456"/>
                  </a:lnTo>
                  <a:lnTo>
                    <a:pt x="27" y="1456"/>
                  </a:lnTo>
                  <a:lnTo>
                    <a:pt x="21" y="1454"/>
                  </a:lnTo>
                  <a:lnTo>
                    <a:pt x="15" y="1451"/>
                  </a:lnTo>
                  <a:lnTo>
                    <a:pt x="10" y="1447"/>
                  </a:lnTo>
                  <a:lnTo>
                    <a:pt x="6" y="1442"/>
                  </a:lnTo>
                  <a:lnTo>
                    <a:pt x="4" y="1437"/>
                  </a:lnTo>
                  <a:lnTo>
                    <a:pt x="1" y="1430"/>
                  </a:lnTo>
                  <a:lnTo>
                    <a:pt x="0" y="1423"/>
                  </a:lnTo>
                  <a:lnTo>
                    <a:pt x="0" y="34"/>
                  </a:lnTo>
                  <a:lnTo>
                    <a:pt x="0" y="34"/>
                  </a:lnTo>
                  <a:lnTo>
                    <a:pt x="1" y="27"/>
                  </a:lnTo>
                  <a:lnTo>
                    <a:pt x="4" y="21"/>
                  </a:lnTo>
                  <a:lnTo>
                    <a:pt x="6" y="15"/>
                  </a:lnTo>
                  <a:lnTo>
                    <a:pt x="10" y="11"/>
                  </a:lnTo>
                  <a:lnTo>
                    <a:pt x="15" y="7"/>
                  </a:lnTo>
                  <a:lnTo>
                    <a:pt x="21" y="4"/>
                  </a:lnTo>
                  <a:lnTo>
                    <a:pt x="27" y="2"/>
                  </a:lnTo>
                  <a:lnTo>
                    <a:pt x="34" y="0"/>
                  </a:lnTo>
                  <a:lnTo>
                    <a:pt x="166" y="0"/>
                  </a:lnTo>
                  <a:lnTo>
                    <a:pt x="166" y="0"/>
                  </a:lnTo>
                  <a:lnTo>
                    <a:pt x="172" y="2"/>
                  </a:lnTo>
                  <a:lnTo>
                    <a:pt x="178" y="4"/>
                  </a:lnTo>
                  <a:lnTo>
                    <a:pt x="185" y="7"/>
                  </a:lnTo>
                  <a:lnTo>
                    <a:pt x="189" y="11"/>
                  </a:lnTo>
                  <a:lnTo>
                    <a:pt x="193" y="15"/>
                  </a:lnTo>
                  <a:lnTo>
                    <a:pt x="196" y="21"/>
                  </a:lnTo>
                  <a:lnTo>
                    <a:pt x="198" y="27"/>
                  </a:lnTo>
                  <a:lnTo>
                    <a:pt x="199" y="34"/>
                  </a:lnTo>
                  <a:lnTo>
                    <a:pt x="199" y="34"/>
                  </a:lnTo>
                  <a:lnTo>
                    <a:pt x="198" y="41"/>
                  </a:lnTo>
                  <a:lnTo>
                    <a:pt x="196" y="47"/>
                  </a:lnTo>
                  <a:lnTo>
                    <a:pt x="193" y="52"/>
                  </a:lnTo>
                  <a:lnTo>
                    <a:pt x="189" y="57"/>
                  </a:lnTo>
                  <a:lnTo>
                    <a:pt x="185" y="62"/>
                  </a:lnTo>
                  <a:lnTo>
                    <a:pt x="178" y="65"/>
                  </a:lnTo>
                  <a:lnTo>
                    <a:pt x="172" y="67"/>
                  </a:lnTo>
                  <a:lnTo>
                    <a:pt x="166" y="67"/>
                  </a:lnTo>
                  <a:lnTo>
                    <a:pt x="67" y="67"/>
                  </a:lnTo>
                  <a:lnTo>
                    <a:pt x="67" y="1390"/>
                  </a:lnTo>
                  <a:lnTo>
                    <a:pt x="1190" y="1390"/>
                  </a:lnTo>
                  <a:lnTo>
                    <a:pt x="1190" y="67"/>
                  </a:lnTo>
                  <a:lnTo>
                    <a:pt x="1091" y="67"/>
                  </a:lnTo>
                  <a:lnTo>
                    <a:pt x="1091" y="67"/>
                  </a:lnTo>
                  <a:lnTo>
                    <a:pt x="1085" y="67"/>
                  </a:lnTo>
                  <a:lnTo>
                    <a:pt x="1079" y="65"/>
                  </a:lnTo>
                  <a:lnTo>
                    <a:pt x="1074" y="62"/>
                  </a:lnTo>
                  <a:lnTo>
                    <a:pt x="1068" y="57"/>
                  </a:lnTo>
                  <a:lnTo>
                    <a:pt x="1064" y="52"/>
                  </a:lnTo>
                  <a:lnTo>
                    <a:pt x="1061" y="47"/>
                  </a:lnTo>
                  <a:lnTo>
                    <a:pt x="1059" y="41"/>
                  </a:lnTo>
                  <a:lnTo>
                    <a:pt x="1058" y="34"/>
                  </a:lnTo>
                  <a:lnTo>
                    <a:pt x="1058" y="34"/>
                  </a:lnTo>
                  <a:lnTo>
                    <a:pt x="1059" y="27"/>
                  </a:lnTo>
                  <a:lnTo>
                    <a:pt x="1061" y="21"/>
                  </a:lnTo>
                  <a:lnTo>
                    <a:pt x="1064" y="15"/>
                  </a:lnTo>
                  <a:lnTo>
                    <a:pt x="1068" y="11"/>
                  </a:lnTo>
                  <a:lnTo>
                    <a:pt x="1074" y="7"/>
                  </a:lnTo>
                  <a:lnTo>
                    <a:pt x="1079" y="4"/>
                  </a:lnTo>
                  <a:lnTo>
                    <a:pt x="1085" y="2"/>
                  </a:lnTo>
                  <a:lnTo>
                    <a:pt x="1091" y="0"/>
                  </a:lnTo>
                  <a:lnTo>
                    <a:pt x="1224" y="0"/>
                  </a:lnTo>
                  <a:lnTo>
                    <a:pt x="1224" y="0"/>
                  </a:lnTo>
                  <a:lnTo>
                    <a:pt x="1231" y="2"/>
                  </a:lnTo>
                  <a:lnTo>
                    <a:pt x="1237" y="4"/>
                  </a:lnTo>
                  <a:lnTo>
                    <a:pt x="1242" y="7"/>
                  </a:lnTo>
                  <a:lnTo>
                    <a:pt x="1247" y="11"/>
                  </a:lnTo>
                  <a:lnTo>
                    <a:pt x="1252" y="15"/>
                  </a:lnTo>
                  <a:lnTo>
                    <a:pt x="1255" y="21"/>
                  </a:lnTo>
                  <a:lnTo>
                    <a:pt x="1257" y="27"/>
                  </a:lnTo>
                  <a:lnTo>
                    <a:pt x="1257" y="34"/>
                  </a:lnTo>
                  <a:lnTo>
                    <a:pt x="1257" y="1423"/>
                  </a:lnTo>
                  <a:lnTo>
                    <a:pt x="1257" y="1423"/>
                  </a:lnTo>
                  <a:lnTo>
                    <a:pt x="1257" y="1430"/>
                  </a:lnTo>
                  <a:lnTo>
                    <a:pt x="1255" y="1437"/>
                  </a:lnTo>
                  <a:lnTo>
                    <a:pt x="1252" y="1442"/>
                  </a:lnTo>
                  <a:lnTo>
                    <a:pt x="1247" y="1447"/>
                  </a:lnTo>
                  <a:lnTo>
                    <a:pt x="1242" y="1451"/>
                  </a:lnTo>
                  <a:lnTo>
                    <a:pt x="1237" y="1454"/>
                  </a:lnTo>
                  <a:lnTo>
                    <a:pt x="1231" y="1456"/>
                  </a:lnTo>
                  <a:lnTo>
                    <a:pt x="1224" y="1456"/>
                  </a:lnTo>
                  <a:lnTo>
                    <a:pt x="1224" y="1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88" name="Freeform 14">
              <a:extLst>
                <a:ext uri="{FF2B5EF4-FFF2-40B4-BE49-F238E27FC236}">
                  <a16:creationId xmlns:a16="http://schemas.microsoft.com/office/drawing/2014/main" id="{CF456B38-71E7-9FDB-773E-58D53377FD27}"/>
                </a:ext>
              </a:extLst>
            </p:cNvPr>
            <p:cNvSpPr>
              <a:spLocks noEditPoints="1"/>
            </p:cNvSpPr>
            <p:nvPr/>
          </p:nvSpPr>
          <p:spPr bwMode="auto">
            <a:xfrm>
              <a:off x="3486150" y="2168525"/>
              <a:ext cx="165100" cy="74613"/>
            </a:xfrm>
            <a:custGeom>
              <a:avLst/>
              <a:gdLst>
                <a:gd name="T0" fmla="*/ 33 w 728"/>
                <a:gd name="T1" fmla="*/ 330 h 330"/>
                <a:gd name="T2" fmla="*/ 15 w 728"/>
                <a:gd name="T3" fmla="*/ 325 h 330"/>
                <a:gd name="T4" fmla="*/ 2 w 728"/>
                <a:gd name="T5" fmla="*/ 311 h 330"/>
                <a:gd name="T6" fmla="*/ 0 w 728"/>
                <a:gd name="T7" fmla="*/ 165 h 330"/>
                <a:gd name="T8" fmla="*/ 2 w 728"/>
                <a:gd name="T9" fmla="*/ 152 h 330"/>
                <a:gd name="T10" fmla="*/ 15 w 728"/>
                <a:gd name="T11" fmla="*/ 138 h 330"/>
                <a:gd name="T12" fmla="*/ 33 w 728"/>
                <a:gd name="T13" fmla="*/ 131 h 330"/>
                <a:gd name="T14" fmla="*/ 205 w 728"/>
                <a:gd name="T15" fmla="*/ 118 h 330"/>
                <a:gd name="T16" fmla="*/ 222 w 728"/>
                <a:gd name="T17" fmla="*/ 80 h 330"/>
                <a:gd name="T18" fmla="*/ 248 w 728"/>
                <a:gd name="T19" fmla="*/ 47 h 330"/>
                <a:gd name="T20" fmla="*/ 282 w 728"/>
                <a:gd name="T21" fmla="*/ 22 h 330"/>
                <a:gd name="T22" fmla="*/ 320 w 728"/>
                <a:gd name="T23" fmla="*/ 5 h 330"/>
                <a:gd name="T24" fmla="*/ 364 w 728"/>
                <a:gd name="T25" fmla="*/ 0 h 330"/>
                <a:gd name="T26" fmla="*/ 393 w 728"/>
                <a:gd name="T27" fmla="*/ 2 h 330"/>
                <a:gd name="T28" fmla="*/ 434 w 728"/>
                <a:gd name="T29" fmla="*/ 16 h 330"/>
                <a:gd name="T30" fmla="*/ 469 w 728"/>
                <a:gd name="T31" fmla="*/ 37 h 330"/>
                <a:gd name="T32" fmla="*/ 497 w 728"/>
                <a:gd name="T33" fmla="*/ 67 h 330"/>
                <a:gd name="T34" fmla="*/ 518 w 728"/>
                <a:gd name="T35" fmla="*/ 105 h 330"/>
                <a:gd name="T36" fmla="*/ 695 w 728"/>
                <a:gd name="T37" fmla="*/ 131 h 330"/>
                <a:gd name="T38" fmla="*/ 707 w 728"/>
                <a:gd name="T39" fmla="*/ 135 h 330"/>
                <a:gd name="T40" fmla="*/ 722 w 728"/>
                <a:gd name="T41" fmla="*/ 146 h 330"/>
                <a:gd name="T42" fmla="*/ 728 w 728"/>
                <a:gd name="T43" fmla="*/ 165 h 330"/>
                <a:gd name="T44" fmla="*/ 727 w 728"/>
                <a:gd name="T45" fmla="*/ 304 h 330"/>
                <a:gd name="T46" fmla="*/ 717 w 728"/>
                <a:gd name="T47" fmla="*/ 321 h 330"/>
                <a:gd name="T48" fmla="*/ 701 w 728"/>
                <a:gd name="T49" fmla="*/ 329 h 330"/>
                <a:gd name="T50" fmla="*/ 67 w 728"/>
                <a:gd name="T51" fmla="*/ 264 h 330"/>
                <a:gd name="T52" fmla="*/ 496 w 728"/>
                <a:gd name="T53" fmla="*/ 198 h 330"/>
                <a:gd name="T54" fmla="*/ 483 w 728"/>
                <a:gd name="T55" fmla="*/ 196 h 330"/>
                <a:gd name="T56" fmla="*/ 468 w 728"/>
                <a:gd name="T57" fmla="*/ 183 h 330"/>
                <a:gd name="T58" fmla="*/ 463 w 728"/>
                <a:gd name="T59" fmla="*/ 165 h 330"/>
                <a:gd name="T60" fmla="*/ 461 w 728"/>
                <a:gd name="T61" fmla="*/ 145 h 330"/>
                <a:gd name="T62" fmla="*/ 450 w 728"/>
                <a:gd name="T63" fmla="*/ 118 h 330"/>
                <a:gd name="T64" fmla="*/ 434 w 728"/>
                <a:gd name="T65" fmla="*/ 95 h 330"/>
                <a:gd name="T66" fmla="*/ 411 w 728"/>
                <a:gd name="T67" fmla="*/ 78 h 330"/>
                <a:gd name="T68" fmla="*/ 383 w 728"/>
                <a:gd name="T69" fmla="*/ 67 h 330"/>
                <a:gd name="T70" fmla="*/ 364 w 728"/>
                <a:gd name="T71" fmla="*/ 65 h 330"/>
                <a:gd name="T72" fmla="*/ 335 w 728"/>
                <a:gd name="T73" fmla="*/ 70 h 330"/>
                <a:gd name="T74" fmla="*/ 309 w 728"/>
                <a:gd name="T75" fmla="*/ 83 h 330"/>
                <a:gd name="T76" fmla="*/ 287 w 728"/>
                <a:gd name="T77" fmla="*/ 101 h 330"/>
                <a:gd name="T78" fmla="*/ 272 w 728"/>
                <a:gd name="T79" fmla="*/ 126 h 330"/>
                <a:gd name="T80" fmla="*/ 265 w 728"/>
                <a:gd name="T81" fmla="*/ 155 h 330"/>
                <a:gd name="T82" fmla="*/ 264 w 728"/>
                <a:gd name="T83" fmla="*/ 172 h 330"/>
                <a:gd name="T84" fmla="*/ 255 w 728"/>
                <a:gd name="T85" fmla="*/ 188 h 330"/>
                <a:gd name="T86" fmla="*/ 238 w 728"/>
                <a:gd name="T87" fmla="*/ 198 h 330"/>
                <a:gd name="T88" fmla="*/ 67 w 728"/>
                <a:gd name="T89" fmla="*/ 26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8" h="330">
                  <a:moveTo>
                    <a:pt x="695" y="330"/>
                  </a:moveTo>
                  <a:lnTo>
                    <a:pt x="33" y="330"/>
                  </a:lnTo>
                  <a:lnTo>
                    <a:pt x="33" y="330"/>
                  </a:lnTo>
                  <a:lnTo>
                    <a:pt x="26" y="329"/>
                  </a:lnTo>
                  <a:lnTo>
                    <a:pt x="20" y="328"/>
                  </a:lnTo>
                  <a:lnTo>
                    <a:pt x="15" y="325"/>
                  </a:lnTo>
                  <a:lnTo>
                    <a:pt x="10" y="321"/>
                  </a:lnTo>
                  <a:lnTo>
                    <a:pt x="5" y="316"/>
                  </a:lnTo>
                  <a:lnTo>
                    <a:pt x="2" y="311"/>
                  </a:lnTo>
                  <a:lnTo>
                    <a:pt x="0" y="304"/>
                  </a:lnTo>
                  <a:lnTo>
                    <a:pt x="0" y="297"/>
                  </a:lnTo>
                  <a:lnTo>
                    <a:pt x="0" y="165"/>
                  </a:lnTo>
                  <a:lnTo>
                    <a:pt x="0" y="165"/>
                  </a:lnTo>
                  <a:lnTo>
                    <a:pt x="0" y="158"/>
                  </a:lnTo>
                  <a:lnTo>
                    <a:pt x="2" y="152"/>
                  </a:lnTo>
                  <a:lnTo>
                    <a:pt x="5" y="146"/>
                  </a:lnTo>
                  <a:lnTo>
                    <a:pt x="10" y="142"/>
                  </a:lnTo>
                  <a:lnTo>
                    <a:pt x="15" y="138"/>
                  </a:lnTo>
                  <a:lnTo>
                    <a:pt x="20" y="135"/>
                  </a:lnTo>
                  <a:lnTo>
                    <a:pt x="26" y="133"/>
                  </a:lnTo>
                  <a:lnTo>
                    <a:pt x="33" y="131"/>
                  </a:lnTo>
                  <a:lnTo>
                    <a:pt x="202" y="131"/>
                  </a:lnTo>
                  <a:lnTo>
                    <a:pt x="202" y="131"/>
                  </a:lnTo>
                  <a:lnTo>
                    <a:pt x="205" y="118"/>
                  </a:lnTo>
                  <a:lnTo>
                    <a:pt x="209" y="105"/>
                  </a:lnTo>
                  <a:lnTo>
                    <a:pt x="216" y="92"/>
                  </a:lnTo>
                  <a:lnTo>
                    <a:pt x="222" y="80"/>
                  </a:lnTo>
                  <a:lnTo>
                    <a:pt x="230" y="67"/>
                  </a:lnTo>
                  <a:lnTo>
                    <a:pt x="238" y="57"/>
                  </a:lnTo>
                  <a:lnTo>
                    <a:pt x="248" y="47"/>
                  </a:lnTo>
                  <a:lnTo>
                    <a:pt x="258" y="37"/>
                  </a:lnTo>
                  <a:lnTo>
                    <a:pt x="269" y="29"/>
                  </a:lnTo>
                  <a:lnTo>
                    <a:pt x="282" y="22"/>
                  </a:lnTo>
                  <a:lnTo>
                    <a:pt x="294" y="16"/>
                  </a:lnTo>
                  <a:lnTo>
                    <a:pt x="307" y="9"/>
                  </a:lnTo>
                  <a:lnTo>
                    <a:pt x="320" y="5"/>
                  </a:lnTo>
                  <a:lnTo>
                    <a:pt x="335" y="2"/>
                  </a:lnTo>
                  <a:lnTo>
                    <a:pt x="349" y="0"/>
                  </a:lnTo>
                  <a:lnTo>
                    <a:pt x="364" y="0"/>
                  </a:lnTo>
                  <a:lnTo>
                    <a:pt x="364" y="0"/>
                  </a:lnTo>
                  <a:lnTo>
                    <a:pt x="378" y="0"/>
                  </a:lnTo>
                  <a:lnTo>
                    <a:pt x="393" y="2"/>
                  </a:lnTo>
                  <a:lnTo>
                    <a:pt x="407" y="5"/>
                  </a:lnTo>
                  <a:lnTo>
                    <a:pt x="420" y="9"/>
                  </a:lnTo>
                  <a:lnTo>
                    <a:pt x="434" y="16"/>
                  </a:lnTo>
                  <a:lnTo>
                    <a:pt x="446" y="22"/>
                  </a:lnTo>
                  <a:lnTo>
                    <a:pt x="458" y="29"/>
                  </a:lnTo>
                  <a:lnTo>
                    <a:pt x="469" y="37"/>
                  </a:lnTo>
                  <a:lnTo>
                    <a:pt x="479" y="47"/>
                  </a:lnTo>
                  <a:lnTo>
                    <a:pt x="489" y="57"/>
                  </a:lnTo>
                  <a:lnTo>
                    <a:pt x="497" y="67"/>
                  </a:lnTo>
                  <a:lnTo>
                    <a:pt x="505" y="80"/>
                  </a:lnTo>
                  <a:lnTo>
                    <a:pt x="512" y="92"/>
                  </a:lnTo>
                  <a:lnTo>
                    <a:pt x="518" y="105"/>
                  </a:lnTo>
                  <a:lnTo>
                    <a:pt x="522" y="118"/>
                  </a:lnTo>
                  <a:lnTo>
                    <a:pt x="526" y="131"/>
                  </a:lnTo>
                  <a:lnTo>
                    <a:pt x="695" y="131"/>
                  </a:lnTo>
                  <a:lnTo>
                    <a:pt x="695" y="131"/>
                  </a:lnTo>
                  <a:lnTo>
                    <a:pt x="701" y="133"/>
                  </a:lnTo>
                  <a:lnTo>
                    <a:pt x="707" y="135"/>
                  </a:lnTo>
                  <a:lnTo>
                    <a:pt x="713" y="138"/>
                  </a:lnTo>
                  <a:lnTo>
                    <a:pt x="717" y="142"/>
                  </a:lnTo>
                  <a:lnTo>
                    <a:pt x="722" y="146"/>
                  </a:lnTo>
                  <a:lnTo>
                    <a:pt x="725" y="152"/>
                  </a:lnTo>
                  <a:lnTo>
                    <a:pt x="727" y="158"/>
                  </a:lnTo>
                  <a:lnTo>
                    <a:pt x="728" y="165"/>
                  </a:lnTo>
                  <a:lnTo>
                    <a:pt x="728" y="297"/>
                  </a:lnTo>
                  <a:lnTo>
                    <a:pt x="728" y="297"/>
                  </a:lnTo>
                  <a:lnTo>
                    <a:pt x="727" y="304"/>
                  </a:lnTo>
                  <a:lnTo>
                    <a:pt x="725" y="311"/>
                  </a:lnTo>
                  <a:lnTo>
                    <a:pt x="722" y="316"/>
                  </a:lnTo>
                  <a:lnTo>
                    <a:pt x="717" y="321"/>
                  </a:lnTo>
                  <a:lnTo>
                    <a:pt x="713" y="325"/>
                  </a:lnTo>
                  <a:lnTo>
                    <a:pt x="707" y="328"/>
                  </a:lnTo>
                  <a:lnTo>
                    <a:pt x="701" y="329"/>
                  </a:lnTo>
                  <a:lnTo>
                    <a:pt x="695" y="330"/>
                  </a:lnTo>
                  <a:lnTo>
                    <a:pt x="695" y="330"/>
                  </a:lnTo>
                  <a:close/>
                  <a:moveTo>
                    <a:pt x="67" y="264"/>
                  </a:moveTo>
                  <a:lnTo>
                    <a:pt x="662" y="264"/>
                  </a:lnTo>
                  <a:lnTo>
                    <a:pt x="662" y="198"/>
                  </a:lnTo>
                  <a:lnTo>
                    <a:pt x="496" y="198"/>
                  </a:lnTo>
                  <a:lnTo>
                    <a:pt x="496" y="198"/>
                  </a:lnTo>
                  <a:lnTo>
                    <a:pt x="489" y="198"/>
                  </a:lnTo>
                  <a:lnTo>
                    <a:pt x="483" y="196"/>
                  </a:lnTo>
                  <a:lnTo>
                    <a:pt x="477" y="193"/>
                  </a:lnTo>
                  <a:lnTo>
                    <a:pt x="472" y="188"/>
                  </a:lnTo>
                  <a:lnTo>
                    <a:pt x="468" y="183"/>
                  </a:lnTo>
                  <a:lnTo>
                    <a:pt x="465" y="178"/>
                  </a:lnTo>
                  <a:lnTo>
                    <a:pt x="464" y="172"/>
                  </a:lnTo>
                  <a:lnTo>
                    <a:pt x="463" y="165"/>
                  </a:lnTo>
                  <a:lnTo>
                    <a:pt x="463" y="165"/>
                  </a:lnTo>
                  <a:lnTo>
                    <a:pt x="462" y="155"/>
                  </a:lnTo>
                  <a:lnTo>
                    <a:pt x="461" y="145"/>
                  </a:lnTo>
                  <a:lnTo>
                    <a:pt x="459" y="136"/>
                  </a:lnTo>
                  <a:lnTo>
                    <a:pt x="455" y="126"/>
                  </a:lnTo>
                  <a:lnTo>
                    <a:pt x="450" y="118"/>
                  </a:lnTo>
                  <a:lnTo>
                    <a:pt x="446" y="110"/>
                  </a:lnTo>
                  <a:lnTo>
                    <a:pt x="440" y="101"/>
                  </a:lnTo>
                  <a:lnTo>
                    <a:pt x="434" y="95"/>
                  </a:lnTo>
                  <a:lnTo>
                    <a:pt x="427" y="88"/>
                  </a:lnTo>
                  <a:lnTo>
                    <a:pt x="419" y="83"/>
                  </a:lnTo>
                  <a:lnTo>
                    <a:pt x="411" y="78"/>
                  </a:lnTo>
                  <a:lnTo>
                    <a:pt x="402" y="74"/>
                  </a:lnTo>
                  <a:lnTo>
                    <a:pt x="394" y="70"/>
                  </a:lnTo>
                  <a:lnTo>
                    <a:pt x="383" y="67"/>
                  </a:lnTo>
                  <a:lnTo>
                    <a:pt x="374" y="66"/>
                  </a:lnTo>
                  <a:lnTo>
                    <a:pt x="364" y="65"/>
                  </a:lnTo>
                  <a:lnTo>
                    <a:pt x="364" y="65"/>
                  </a:lnTo>
                  <a:lnTo>
                    <a:pt x="353" y="66"/>
                  </a:lnTo>
                  <a:lnTo>
                    <a:pt x="344" y="67"/>
                  </a:lnTo>
                  <a:lnTo>
                    <a:pt x="335" y="70"/>
                  </a:lnTo>
                  <a:lnTo>
                    <a:pt x="325" y="74"/>
                  </a:lnTo>
                  <a:lnTo>
                    <a:pt x="316" y="78"/>
                  </a:lnTo>
                  <a:lnTo>
                    <a:pt x="309" y="83"/>
                  </a:lnTo>
                  <a:lnTo>
                    <a:pt x="300" y="88"/>
                  </a:lnTo>
                  <a:lnTo>
                    <a:pt x="293" y="95"/>
                  </a:lnTo>
                  <a:lnTo>
                    <a:pt x="287" y="101"/>
                  </a:lnTo>
                  <a:lnTo>
                    <a:pt x="282" y="110"/>
                  </a:lnTo>
                  <a:lnTo>
                    <a:pt x="277" y="118"/>
                  </a:lnTo>
                  <a:lnTo>
                    <a:pt x="272" y="126"/>
                  </a:lnTo>
                  <a:lnTo>
                    <a:pt x="269" y="136"/>
                  </a:lnTo>
                  <a:lnTo>
                    <a:pt x="266" y="145"/>
                  </a:lnTo>
                  <a:lnTo>
                    <a:pt x="265" y="155"/>
                  </a:lnTo>
                  <a:lnTo>
                    <a:pt x="264" y="165"/>
                  </a:lnTo>
                  <a:lnTo>
                    <a:pt x="264" y="165"/>
                  </a:lnTo>
                  <a:lnTo>
                    <a:pt x="264" y="172"/>
                  </a:lnTo>
                  <a:lnTo>
                    <a:pt x="262" y="178"/>
                  </a:lnTo>
                  <a:lnTo>
                    <a:pt x="259" y="183"/>
                  </a:lnTo>
                  <a:lnTo>
                    <a:pt x="255" y="188"/>
                  </a:lnTo>
                  <a:lnTo>
                    <a:pt x="250" y="193"/>
                  </a:lnTo>
                  <a:lnTo>
                    <a:pt x="245" y="196"/>
                  </a:lnTo>
                  <a:lnTo>
                    <a:pt x="238" y="198"/>
                  </a:lnTo>
                  <a:lnTo>
                    <a:pt x="231" y="198"/>
                  </a:lnTo>
                  <a:lnTo>
                    <a:pt x="67" y="198"/>
                  </a:lnTo>
                  <a:lnTo>
                    <a:pt x="67"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89" name="Freeform 15">
              <a:extLst>
                <a:ext uri="{FF2B5EF4-FFF2-40B4-BE49-F238E27FC236}">
                  <a16:creationId xmlns:a16="http://schemas.microsoft.com/office/drawing/2014/main" id="{8B8C1FEA-553C-DDE2-5E9E-6B8DDFA08D7C}"/>
                </a:ext>
              </a:extLst>
            </p:cNvPr>
            <p:cNvSpPr>
              <a:spLocks/>
            </p:cNvSpPr>
            <p:nvPr/>
          </p:nvSpPr>
          <p:spPr bwMode="auto">
            <a:xfrm>
              <a:off x="3455988" y="2228850"/>
              <a:ext cx="225425" cy="269875"/>
            </a:xfrm>
            <a:custGeom>
              <a:avLst/>
              <a:gdLst>
                <a:gd name="T0" fmla="*/ 958 w 991"/>
                <a:gd name="T1" fmla="*/ 1191 h 1191"/>
                <a:gd name="T2" fmla="*/ 33 w 991"/>
                <a:gd name="T3" fmla="*/ 1191 h 1191"/>
                <a:gd name="T4" fmla="*/ 33 w 991"/>
                <a:gd name="T5" fmla="*/ 1191 h 1191"/>
                <a:gd name="T6" fmla="*/ 26 w 991"/>
                <a:gd name="T7" fmla="*/ 1191 h 1191"/>
                <a:gd name="T8" fmla="*/ 20 w 991"/>
                <a:gd name="T9" fmla="*/ 1189 h 1191"/>
                <a:gd name="T10" fmla="*/ 14 w 991"/>
                <a:gd name="T11" fmla="*/ 1186 h 1191"/>
                <a:gd name="T12" fmla="*/ 9 w 991"/>
                <a:gd name="T13" fmla="*/ 1181 h 1191"/>
                <a:gd name="T14" fmla="*/ 5 w 991"/>
                <a:gd name="T15" fmla="*/ 1176 h 1191"/>
                <a:gd name="T16" fmla="*/ 2 w 991"/>
                <a:gd name="T17" fmla="*/ 1171 h 1191"/>
                <a:gd name="T18" fmla="*/ 0 w 991"/>
                <a:gd name="T19" fmla="*/ 1165 h 1191"/>
                <a:gd name="T20" fmla="*/ 0 w 991"/>
                <a:gd name="T21" fmla="*/ 1159 h 1191"/>
                <a:gd name="T22" fmla="*/ 0 w 991"/>
                <a:gd name="T23" fmla="*/ 33 h 1191"/>
                <a:gd name="T24" fmla="*/ 0 w 991"/>
                <a:gd name="T25" fmla="*/ 33 h 1191"/>
                <a:gd name="T26" fmla="*/ 0 w 991"/>
                <a:gd name="T27" fmla="*/ 27 h 1191"/>
                <a:gd name="T28" fmla="*/ 2 w 991"/>
                <a:gd name="T29" fmla="*/ 21 h 1191"/>
                <a:gd name="T30" fmla="*/ 5 w 991"/>
                <a:gd name="T31" fmla="*/ 15 h 1191"/>
                <a:gd name="T32" fmla="*/ 9 w 991"/>
                <a:gd name="T33" fmla="*/ 10 h 1191"/>
                <a:gd name="T34" fmla="*/ 14 w 991"/>
                <a:gd name="T35" fmla="*/ 6 h 1191"/>
                <a:gd name="T36" fmla="*/ 20 w 991"/>
                <a:gd name="T37" fmla="*/ 3 h 1191"/>
                <a:gd name="T38" fmla="*/ 26 w 991"/>
                <a:gd name="T39" fmla="*/ 1 h 1191"/>
                <a:gd name="T40" fmla="*/ 33 w 991"/>
                <a:gd name="T41" fmla="*/ 0 h 1191"/>
                <a:gd name="T42" fmla="*/ 33 w 991"/>
                <a:gd name="T43" fmla="*/ 0 h 1191"/>
                <a:gd name="T44" fmla="*/ 39 w 991"/>
                <a:gd name="T45" fmla="*/ 1 h 1191"/>
                <a:gd name="T46" fmla="*/ 45 w 991"/>
                <a:gd name="T47" fmla="*/ 3 h 1191"/>
                <a:gd name="T48" fmla="*/ 52 w 991"/>
                <a:gd name="T49" fmla="*/ 6 h 1191"/>
                <a:gd name="T50" fmla="*/ 56 w 991"/>
                <a:gd name="T51" fmla="*/ 10 h 1191"/>
                <a:gd name="T52" fmla="*/ 60 w 991"/>
                <a:gd name="T53" fmla="*/ 15 h 1191"/>
                <a:gd name="T54" fmla="*/ 63 w 991"/>
                <a:gd name="T55" fmla="*/ 21 h 1191"/>
                <a:gd name="T56" fmla="*/ 65 w 991"/>
                <a:gd name="T57" fmla="*/ 27 h 1191"/>
                <a:gd name="T58" fmla="*/ 66 w 991"/>
                <a:gd name="T59" fmla="*/ 33 h 1191"/>
                <a:gd name="T60" fmla="*/ 66 w 991"/>
                <a:gd name="T61" fmla="*/ 1126 h 1191"/>
                <a:gd name="T62" fmla="*/ 925 w 991"/>
                <a:gd name="T63" fmla="*/ 1126 h 1191"/>
                <a:gd name="T64" fmla="*/ 925 w 991"/>
                <a:gd name="T65" fmla="*/ 33 h 1191"/>
                <a:gd name="T66" fmla="*/ 925 w 991"/>
                <a:gd name="T67" fmla="*/ 33 h 1191"/>
                <a:gd name="T68" fmla="*/ 926 w 991"/>
                <a:gd name="T69" fmla="*/ 27 h 1191"/>
                <a:gd name="T70" fmla="*/ 928 w 991"/>
                <a:gd name="T71" fmla="*/ 21 h 1191"/>
                <a:gd name="T72" fmla="*/ 931 w 991"/>
                <a:gd name="T73" fmla="*/ 15 h 1191"/>
                <a:gd name="T74" fmla="*/ 935 w 991"/>
                <a:gd name="T75" fmla="*/ 10 h 1191"/>
                <a:gd name="T76" fmla="*/ 941 w 991"/>
                <a:gd name="T77" fmla="*/ 6 h 1191"/>
                <a:gd name="T78" fmla="*/ 946 w 991"/>
                <a:gd name="T79" fmla="*/ 3 h 1191"/>
                <a:gd name="T80" fmla="*/ 952 w 991"/>
                <a:gd name="T81" fmla="*/ 1 h 1191"/>
                <a:gd name="T82" fmla="*/ 958 w 991"/>
                <a:gd name="T83" fmla="*/ 0 h 1191"/>
                <a:gd name="T84" fmla="*/ 958 w 991"/>
                <a:gd name="T85" fmla="*/ 0 h 1191"/>
                <a:gd name="T86" fmla="*/ 965 w 991"/>
                <a:gd name="T87" fmla="*/ 1 h 1191"/>
                <a:gd name="T88" fmla="*/ 972 w 991"/>
                <a:gd name="T89" fmla="*/ 3 h 1191"/>
                <a:gd name="T90" fmla="*/ 977 w 991"/>
                <a:gd name="T91" fmla="*/ 6 h 1191"/>
                <a:gd name="T92" fmla="*/ 982 w 991"/>
                <a:gd name="T93" fmla="*/ 10 h 1191"/>
                <a:gd name="T94" fmla="*/ 986 w 991"/>
                <a:gd name="T95" fmla="*/ 15 h 1191"/>
                <a:gd name="T96" fmla="*/ 989 w 991"/>
                <a:gd name="T97" fmla="*/ 21 h 1191"/>
                <a:gd name="T98" fmla="*/ 991 w 991"/>
                <a:gd name="T99" fmla="*/ 27 h 1191"/>
                <a:gd name="T100" fmla="*/ 991 w 991"/>
                <a:gd name="T101" fmla="*/ 33 h 1191"/>
                <a:gd name="T102" fmla="*/ 991 w 991"/>
                <a:gd name="T103" fmla="*/ 1159 h 1191"/>
                <a:gd name="T104" fmla="*/ 991 w 991"/>
                <a:gd name="T105" fmla="*/ 1159 h 1191"/>
                <a:gd name="T106" fmla="*/ 991 w 991"/>
                <a:gd name="T107" fmla="*/ 1165 h 1191"/>
                <a:gd name="T108" fmla="*/ 989 w 991"/>
                <a:gd name="T109" fmla="*/ 1171 h 1191"/>
                <a:gd name="T110" fmla="*/ 986 w 991"/>
                <a:gd name="T111" fmla="*/ 1176 h 1191"/>
                <a:gd name="T112" fmla="*/ 982 w 991"/>
                <a:gd name="T113" fmla="*/ 1181 h 1191"/>
                <a:gd name="T114" fmla="*/ 977 w 991"/>
                <a:gd name="T115" fmla="*/ 1186 h 1191"/>
                <a:gd name="T116" fmla="*/ 972 w 991"/>
                <a:gd name="T117" fmla="*/ 1189 h 1191"/>
                <a:gd name="T118" fmla="*/ 965 w 991"/>
                <a:gd name="T119" fmla="*/ 1191 h 1191"/>
                <a:gd name="T120" fmla="*/ 958 w 991"/>
                <a:gd name="T121" fmla="*/ 1191 h 1191"/>
                <a:gd name="T122" fmla="*/ 958 w 991"/>
                <a:gd name="T123" fmla="*/ 119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1" h="1191">
                  <a:moveTo>
                    <a:pt x="958" y="1191"/>
                  </a:moveTo>
                  <a:lnTo>
                    <a:pt x="33" y="1191"/>
                  </a:lnTo>
                  <a:lnTo>
                    <a:pt x="33" y="1191"/>
                  </a:lnTo>
                  <a:lnTo>
                    <a:pt x="26" y="1191"/>
                  </a:lnTo>
                  <a:lnTo>
                    <a:pt x="20" y="1189"/>
                  </a:lnTo>
                  <a:lnTo>
                    <a:pt x="14" y="1186"/>
                  </a:lnTo>
                  <a:lnTo>
                    <a:pt x="9" y="1181"/>
                  </a:lnTo>
                  <a:lnTo>
                    <a:pt x="5" y="1176"/>
                  </a:lnTo>
                  <a:lnTo>
                    <a:pt x="2" y="1171"/>
                  </a:lnTo>
                  <a:lnTo>
                    <a:pt x="0" y="1165"/>
                  </a:lnTo>
                  <a:lnTo>
                    <a:pt x="0" y="1159"/>
                  </a:lnTo>
                  <a:lnTo>
                    <a:pt x="0" y="33"/>
                  </a:lnTo>
                  <a:lnTo>
                    <a:pt x="0" y="33"/>
                  </a:lnTo>
                  <a:lnTo>
                    <a:pt x="0" y="27"/>
                  </a:lnTo>
                  <a:lnTo>
                    <a:pt x="2" y="21"/>
                  </a:lnTo>
                  <a:lnTo>
                    <a:pt x="5" y="15"/>
                  </a:lnTo>
                  <a:lnTo>
                    <a:pt x="9" y="10"/>
                  </a:lnTo>
                  <a:lnTo>
                    <a:pt x="14" y="6"/>
                  </a:lnTo>
                  <a:lnTo>
                    <a:pt x="20" y="3"/>
                  </a:lnTo>
                  <a:lnTo>
                    <a:pt x="26" y="1"/>
                  </a:lnTo>
                  <a:lnTo>
                    <a:pt x="33" y="0"/>
                  </a:lnTo>
                  <a:lnTo>
                    <a:pt x="33" y="0"/>
                  </a:lnTo>
                  <a:lnTo>
                    <a:pt x="39" y="1"/>
                  </a:lnTo>
                  <a:lnTo>
                    <a:pt x="45" y="3"/>
                  </a:lnTo>
                  <a:lnTo>
                    <a:pt x="52" y="6"/>
                  </a:lnTo>
                  <a:lnTo>
                    <a:pt x="56" y="10"/>
                  </a:lnTo>
                  <a:lnTo>
                    <a:pt x="60" y="15"/>
                  </a:lnTo>
                  <a:lnTo>
                    <a:pt x="63" y="21"/>
                  </a:lnTo>
                  <a:lnTo>
                    <a:pt x="65" y="27"/>
                  </a:lnTo>
                  <a:lnTo>
                    <a:pt x="66" y="33"/>
                  </a:lnTo>
                  <a:lnTo>
                    <a:pt x="66" y="1126"/>
                  </a:lnTo>
                  <a:lnTo>
                    <a:pt x="925" y="1126"/>
                  </a:lnTo>
                  <a:lnTo>
                    <a:pt x="925" y="33"/>
                  </a:lnTo>
                  <a:lnTo>
                    <a:pt x="925" y="33"/>
                  </a:lnTo>
                  <a:lnTo>
                    <a:pt x="926" y="27"/>
                  </a:lnTo>
                  <a:lnTo>
                    <a:pt x="928" y="21"/>
                  </a:lnTo>
                  <a:lnTo>
                    <a:pt x="931" y="15"/>
                  </a:lnTo>
                  <a:lnTo>
                    <a:pt x="935" y="10"/>
                  </a:lnTo>
                  <a:lnTo>
                    <a:pt x="941" y="6"/>
                  </a:lnTo>
                  <a:lnTo>
                    <a:pt x="946" y="3"/>
                  </a:lnTo>
                  <a:lnTo>
                    <a:pt x="952" y="1"/>
                  </a:lnTo>
                  <a:lnTo>
                    <a:pt x="958" y="0"/>
                  </a:lnTo>
                  <a:lnTo>
                    <a:pt x="958" y="0"/>
                  </a:lnTo>
                  <a:lnTo>
                    <a:pt x="965" y="1"/>
                  </a:lnTo>
                  <a:lnTo>
                    <a:pt x="972" y="3"/>
                  </a:lnTo>
                  <a:lnTo>
                    <a:pt x="977" y="6"/>
                  </a:lnTo>
                  <a:lnTo>
                    <a:pt x="982" y="10"/>
                  </a:lnTo>
                  <a:lnTo>
                    <a:pt x="986" y="15"/>
                  </a:lnTo>
                  <a:lnTo>
                    <a:pt x="989" y="21"/>
                  </a:lnTo>
                  <a:lnTo>
                    <a:pt x="991" y="27"/>
                  </a:lnTo>
                  <a:lnTo>
                    <a:pt x="991" y="33"/>
                  </a:lnTo>
                  <a:lnTo>
                    <a:pt x="991" y="1159"/>
                  </a:lnTo>
                  <a:lnTo>
                    <a:pt x="991" y="1159"/>
                  </a:lnTo>
                  <a:lnTo>
                    <a:pt x="991" y="1165"/>
                  </a:lnTo>
                  <a:lnTo>
                    <a:pt x="989" y="1171"/>
                  </a:lnTo>
                  <a:lnTo>
                    <a:pt x="986" y="1176"/>
                  </a:lnTo>
                  <a:lnTo>
                    <a:pt x="982" y="1181"/>
                  </a:lnTo>
                  <a:lnTo>
                    <a:pt x="977" y="1186"/>
                  </a:lnTo>
                  <a:lnTo>
                    <a:pt x="972" y="1189"/>
                  </a:lnTo>
                  <a:lnTo>
                    <a:pt x="965" y="1191"/>
                  </a:lnTo>
                  <a:lnTo>
                    <a:pt x="958" y="1191"/>
                  </a:lnTo>
                  <a:lnTo>
                    <a:pt x="958" y="1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90" name="Freeform 16">
              <a:extLst>
                <a:ext uri="{FF2B5EF4-FFF2-40B4-BE49-F238E27FC236}">
                  <a16:creationId xmlns:a16="http://schemas.microsoft.com/office/drawing/2014/main" id="{93C5F830-2B81-A82B-4AF0-67A1838F2E28}"/>
                </a:ext>
              </a:extLst>
            </p:cNvPr>
            <p:cNvSpPr>
              <a:spLocks/>
            </p:cNvSpPr>
            <p:nvPr/>
          </p:nvSpPr>
          <p:spPr bwMode="auto">
            <a:xfrm>
              <a:off x="3530600" y="2289175"/>
              <a:ext cx="106363" cy="14288"/>
            </a:xfrm>
            <a:custGeom>
              <a:avLst/>
              <a:gdLst>
                <a:gd name="T0" fmla="*/ 430 w 464"/>
                <a:gd name="T1" fmla="*/ 66 h 66"/>
                <a:gd name="T2" fmla="*/ 33 w 464"/>
                <a:gd name="T3" fmla="*/ 66 h 66"/>
                <a:gd name="T4" fmla="*/ 33 w 464"/>
                <a:gd name="T5" fmla="*/ 66 h 66"/>
                <a:gd name="T6" fmla="*/ 27 w 464"/>
                <a:gd name="T7" fmla="*/ 65 h 66"/>
                <a:gd name="T8" fmla="*/ 21 w 464"/>
                <a:gd name="T9" fmla="*/ 63 h 66"/>
                <a:gd name="T10" fmla="*/ 14 w 464"/>
                <a:gd name="T11" fmla="*/ 60 h 66"/>
                <a:gd name="T12" fmla="*/ 10 w 464"/>
                <a:gd name="T13" fmla="*/ 56 h 66"/>
                <a:gd name="T14" fmla="*/ 6 w 464"/>
                <a:gd name="T15" fmla="*/ 52 h 66"/>
                <a:gd name="T16" fmla="*/ 3 w 464"/>
                <a:gd name="T17" fmla="*/ 46 h 66"/>
                <a:gd name="T18" fmla="*/ 1 w 464"/>
                <a:gd name="T19" fmla="*/ 39 h 66"/>
                <a:gd name="T20" fmla="*/ 0 w 464"/>
                <a:gd name="T21" fmla="*/ 33 h 66"/>
                <a:gd name="T22" fmla="*/ 0 w 464"/>
                <a:gd name="T23" fmla="*/ 33 h 66"/>
                <a:gd name="T24" fmla="*/ 1 w 464"/>
                <a:gd name="T25" fmla="*/ 26 h 66"/>
                <a:gd name="T26" fmla="*/ 3 w 464"/>
                <a:gd name="T27" fmla="*/ 20 h 66"/>
                <a:gd name="T28" fmla="*/ 6 w 464"/>
                <a:gd name="T29" fmla="*/ 15 h 66"/>
                <a:gd name="T30" fmla="*/ 10 w 464"/>
                <a:gd name="T31" fmla="*/ 9 h 66"/>
                <a:gd name="T32" fmla="*/ 14 w 464"/>
                <a:gd name="T33" fmla="*/ 5 h 66"/>
                <a:gd name="T34" fmla="*/ 21 w 464"/>
                <a:gd name="T35" fmla="*/ 2 h 66"/>
                <a:gd name="T36" fmla="*/ 27 w 464"/>
                <a:gd name="T37" fmla="*/ 0 h 66"/>
                <a:gd name="T38" fmla="*/ 33 w 464"/>
                <a:gd name="T39" fmla="*/ 0 h 66"/>
                <a:gd name="T40" fmla="*/ 430 w 464"/>
                <a:gd name="T41" fmla="*/ 0 h 66"/>
                <a:gd name="T42" fmla="*/ 430 w 464"/>
                <a:gd name="T43" fmla="*/ 0 h 66"/>
                <a:gd name="T44" fmla="*/ 437 w 464"/>
                <a:gd name="T45" fmla="*/ 0 h 66"/>
                <a:gd name="T46" fmla="*/ 443 w 464"/>
                <a:gd name="T47" fmla="*/ 2 h 66"/>
                <a:gd name="T48" fmla="*/ 449 w 464"/>
                <a:gd name="T49" fmla="*/ 5 h 66"/>
                <a:gd name="T50" fmla="*/ 453 w 464"/>
                <a:gd name="T51" fmla="*/ 9 h 66"/>
                <a:gd name="T52" fmla="*/ 457 w 464"/>
                <a:gd name="T53" fmla="*/ 15 h 66"/>
                <a:gd name="T54" fmla="*/ 460 w 464"/>
                <a:gd name="T55" fmla="*/ 20 h 66"/>
                <a:gd name="T56" fmla="*/ 463 w 464"/>
                <a:gd name="T57" fmla="*/ 26 h 66"/>
                <a:gd name="T58" fmla="*/ 464 w 464"/>
                <a:gd name="T59" fmla="*/ 33 h 66"/>
                <a:gd name="T60" fmla="*/ 464 w 464"/>
                <a:gd name="T61" fmla="*/ 33 h 66"/>
                <a:gd name="T62" fmla="*/ 463 w 464"/>
                <a:gd name="T63" fmla="*/ 39 h 66"/>
                <a:gd name="T64" fmla="*/ 460 w 464"/>
                <a:gd name="T65" fmla="*/ 46 h 66"/>
                <a:gd name="T66" fmla="*/ 457 w 464"/>
                <a:gd name="T67" fmla="*/ 52 h 66"/>
                <a:gd name="T68" fmla="*/ 453 w 464"/>
                <a:gd name="T69" fmla="*/ 56 h 66"/>
                <a:gd name="T70" fmla="*/ 449 w 464"/>
                <a:gd name="T71" fmla="*/ 60 h 66"/>
                <a:gd name="T72" fmla="*/ 443 w 464"/>
                <a:gd name="T73" fmla="*/ 63 h 66"/>
                <a:gd name="T74" fmla="*/ 437 w 464"/>
                <a:gd name="T75" fmla="*/ 65 h 66"/>
                <a:gd name="T76" fmla="*/ 430 w 464"/>
                <a:gd name="T77" fmla="*/ 66 h 66"/>
                <a:gd name="T78" fmla="*/ 430 w 464"/>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4" h="66">
                  <a:moveTo>
                    <a:pt x="430" y="66"/>
                  </a:moveTo>
                  <a:lnTo>
                    <a:pt x="33" y="66"/>
                  </a:lnTo>
                  <a:lnTo>
                    <a:pt x="33" y="66"/>
                  </a:lnTo>
                  <a:lnTo>
                    <a:pt x="27" y="65"/>
                  </a:lnTo>
                  <a:lnTo>
                    <a:pt x="21" y="63"/>
                  </a:lnTo>
                  <a:lnTo>
                    <a:pt x="14" y="60"/>
                  </a:lnTo>
                  <a:lnTo>
                    <a:pt x="10" y="56"/>
                  </a:lnTo>
                  <a:lnTo>
                    <a:pt x="6" y="52"/>
                  </a:lnTo>
                  <a:lnTo>
                    <a:pt x="3" y="46"/>
                  </a:lnTo>
                  <a:lnTo>
                    <a:pt x="1" y="39"/>
                  </a:lnTo>
                  <a:lnTo>
                    <a:pt x="0" y="33"/>
                  </a:lnTo>
                  <a:lnTo>
                    <a:pt x="0" y="33"/>
                  </a:lnTo>
                  <a:lnTo>
                    <a:pt x="1" y="26"/>
                  </a:lnTo>
                  <a:lnTo>
                    <a:pt x="3" y="20"/>
                  </a:lnTo>
                  <a:lnTo>
                    <a:pt x="6" y="15"/>
                  </a:lnTo>
                  <a:lnTo>
                    <a:pt x="10" y="9"/>
                  </a:lnTo>
                  <a:lnTo>
                    <a:pt x="14" y="5"/>
                  </a:lnTo>
                  <a:lnTo>
                    <a:pt x="21" y="2"/>
                  </a:lnTo>
                  <a:lnTo>
                    <a:pt x="27" y="0"/>
                  </a:lnTo>
                  <a:lnTo>
                    <a:pt x="33" y="0"/>
                  </a:lnTo>
                  <a:lnTo>
                    <a:pt x="430" y="0"/>
                  </a:lnTo>
                  <a:lnTo>
                    <a:pt x="430" y="0"/>
                  </a:lnTo>
                  <a:lnTo>
                    <a:pt x="437" y="0"/>
                  </a:lnTo>
                  <a:lnTo>
                    <a:pt x="443" y="2"/>
                  </a:lnTo>
                  <a:lnTo>
                    <a:pt x="449" y="5"/>
                  </a:lnTo>
                  <a:lnTo>
                    <a:pt x="453" y="9"/>
                  </a:lnTo>
                  <a:lnTo>
                    <a:pt x="457" y="15"/>
                  </a:lnTo>
                  <a:lnTo>
                    <a:pt x="460" y="20"/>
                  </a:lnTo>
                  <a:lnTo>
                    <a:pt x="463" y="26"/>
                  </a:lnTo>
                  <a:lnTo>
                    <a:pt x="464" y="33"/>
                  </a:lnTo>
                  <a:lnTo>
                    <a:pt x="464" y="33"/>
                  </a:lnTo>
                  <a:lnTo>
                    <a:pt x="463" y="39"/>
                  </a:lnTo>
                  <a:lnTo>
                    <a:pt x="460" y="46"/>
                  </a:lnTo>
                  <a:lnTo>
                    <a:pt x="457" y="52"/>
                  </a:lnTo>
                  <a:lnTo>
                    <a:pt x="453" y="56"/>
                  </a:lnTo>
                  <a:lnTo>
                    <a:pt x="449" y="60"/>
                  </a:lnTo>
                  <a:lnTo>
                    <a:pt x="443" y="63"/>
                  </a:lnTo>
                  <a:lnTo>
                    <a:pt x="437" y="65"/>
                  </a:lnTo>
                  <a:lnTo>
                    <a:pt x="430" y="66"/>
                  </a:lnTo>
                  <a:lnTo>
                    <a:pt x="43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91" name="Freeform 17">
              <a:extLst>
                <a:ext uri="{FF2B5EF4-FFF2-40B4-BE49-F238E27FC236}">
                  <a16:creationId xmlns:a16="http://schemas.microsoft.com/office/drawing/2014/main" id="{70D24ED1-F6DA-AE07-2828-25A1BBE2B65D}"/>
                </a:ext>
              </a:extLst>
            </p:cNvPr>
            <p:cNvSpPr>
              <a:spLocks/>
            </p:cNvSpPr>
            <p:nvPr/>
          </p:nvSpPr>
          <p:spPr bwMode="auto">
            <a:xfrm>
              <a:off x="3530600" y="2333625"/>
              <a:ext cx="106363" cy="14288"/>
            </a:xfrm>
            <a:custGeom>
              <a:avLst/>
              <a:gdLst>
                <a:gd name="T0" fmla="*/ 430 w 464"/>
                <a:gd name="T1" fmla="*/ 65 h 65"/>
                <a:gd name="T2" fmla="*/ 33 w 464"/>
                <a:gd name="T3" fmla="*/ 65 h 65"/>
                <a:gd name="T4" fmla="*/ 33 w 464"/>
                <a:gd name="T5" fmla="*/ 65 h 65"/>
                <a:gd name="T6" fmla="*/ 27 w 464"/>
                <a:gd name="T7" fmla="*/ 65 h 65"/>
                <a:gd name="T8" fmla="*/ 21 w 464"/>
                <a:gd name="T9" fmla="*/ 63 h 65"/>
                <a:gd name="T10" fmla="*/ 14 w 464"/>
                <a:gd name="T11" fmla="*/ 60 h 65"/>
                <a:gd name="T12" fmla="*/ 10 w 464"/>
                <a:gd name="T13" fmla="*/ 56 h 65"/>
                <a:gd name="T14" fmla="*/ 6 w 464"/>
                <a:gd name="T15" fmla="*/ 51 h 65"/>
                <a:gd name="T16" fmla="*/ 3 w 464"/>
                <a:gd name="T17" fmla="*/ 45 h 65"/>
                <a:gd name="T18" fmla="*/ 1 w 464"/>
                <a:gd name="T19" fmla="*/ 39 h 65"/>
                <a:gd name="T20" fmla="*/ 0 w 464"/>
                <a:gd name="T21" fmla="*/ 32 h 65"/>
                <a:gd name="T22" fmla="*/ 0 w 464"/>
                <a:gd name="T23" fmla="*/ 32 h 65"/>
                <a:gd name="T24" fmla="*/ 1 w 464"/>
                <a:gd name="T25" fmla="*/ 26 h 65"/>
                <a:gd name="T26" fmla="*/ 3 w 464"/>
                <a:gd name="T27" fmla="*/ 20 h 65"/>
                <a:gd name="T28" fmla="*/ 6 w 464"/>
                <a:gd name="T29" fmla="*/ 14 h 65"/>
                <a:gd name="T30" fmla="*/ 10 w 464"/>
                <a:gd name="T31" fmla="*/ 9 h 65"/>
                <a:gd name="T32" fmla="*/ 14 w 464"/>
                <a:gd name="T33" fmla="*/ 5 h 65"/>
                <a:gd name="T34" fmla="*/ 21 w 464"/>
                <a:gd name="T35" fmla="*/ 2 h 65"/>
                <a:gd name="T36" fmla="*/ 27 w 464"/>
                <a:gd name="T37" fmla="*/ 0 h 65"/>
                <a:gd name="T38" fmla="*/ 33 w 464"/>
                <a:gd name="T39" fmla="*/ 0 h 65"/>
                <a:gd name="T40" fmla="*/ 430 w 464"/>
                <a:gd name="T41" fmla="*/ 0 h 65"/>
                <a:gd name="T42" fmla="*/ 430 w 464"/>
                <a:gd name="T43" fmla="*/ 0 h 65"/>
                <a:gd name="T44" fmla="*/ 437 w 464"/>
                <a:gd name="T45" fmla="*/ 0 h 65"/>
                <a:gd name="T46" fmla="*/ 443 w 464"/>
                <a:gd name="T47" fmla="*/ 2 h 65"/>
                <a:gd name="T48" fmla="*/ 449 w 464"/>
                <a:gd name="T49" fmla="*/ 5 h 65"/>
                <a:gd name="T50" fmla="*/ 453 w 464"/>
                <a:gd name="T51" fmla="*/ 9 h 65"/>
                <a:gd name="T52" fmla="*/ 457 w 464"/>
                <a:gd name="T53" fmla="*/ 14 h 65"/>
                <a:gd name="T54" fmla="*/ 460 w 464"/>
                <a:gd name="T55" fmla="*/ 20 h 65"/>
                <a:gd name="T56" fmla="*/ 463 w 464"/>
                <a:gd name="T57" fmla="*/ 26 h 65"/>
                <a:gd name="T58" fmla="*/ 464 w 464"/>
                <a:gd name="T59" fmla="*/ 32 h 65"/>
                <a:gd name="T60" fmla="*/ 464 w 464"/>
                <a:gd name="T61" fmla="*/ 32 h 65"/>
                <a:gd name="T62" fmla="*/ 463 w 464"/>
                <a:gd name="T63" fmla="*/ 39 h 65"/>
                <a:gd name="T64" fmla="*/ 460 w 464"/>
                <a:gd name="T65" fmla="*/ 45 h 65"/>
                <a:gd name="T66" fmla="*/ 457 w 464"/>
                <a:gd name="T67" fmla="*/ 51 h 65"/>
                <a:gd name="T68" fmla="*/ 453 w 464"/>
                <a:gd name="T69" fmla="*/ 56 h 65"/>
                <a:gd name="T70" fmla="*/ 449 w 464"/>
                <a:gd name="T71" fmla="*/ 60 h 65"/>
                <a:gd name="T72" fmla="*/ 443 w 464"/>
                <a:gd name="T73" fmla="*/ 63 h 65"/>
                <a:gd name="T74" fmla="*/ 437 w 464"/>
                <a:gd name="T75" fmla="*/ 65 h 65"/>
                <a:gd name="T76" fmla="*/ 430 w 464"/>
                <a:gd name="T77" fmla="*/ 65 h 65"/>
                <a:gd name="T78" fmla="*/ 430 w 464"/>
                <a:gd name="T7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4" h="65">
                  <a:moveTo>
                    <a:pt x="430" y="65"/>
                  </a:moveTo>
                  <a:lnTo>
                    <a:pt x="33" y="65"/>
                  </a:lnTo>
                  <a:lnTo>
                    <a:pt x="33" y="65"/>
                  </a:lnTo>
                  <a:lnTo>
                    <a:pt x="27" y="65"/>
                  </a:lnTo>
                  <a:lnTo>
                    <a:pt x="21" y="63"/>
                  </a:lnTo>
                  <a:lnTo>
                    <a:pt x="14" y="60"/>
                  </a:lnTo>
                  <a:lnTo>
                    <a:pt x="10" y="56"/>
                  </a:lnTo>
                  <a:lnTo>
                    <a:pt x="6" y="51"/>
                  </a:lnTo>
                  <a:lnTo>
                    <a:pt x="3" y="45"/>
                  </a:lnTo>
                  <a:lnTo>
                    <a:pt x="1" y="39"/>
                  </a:lnTo>
                  <a:lnTo>
                    <a:pt x="0" y="32"/>
                  </a:lnTo>
                  <a:lnTo>
                    <a:pt x="0" y="32"/>
                  </a:lnTo>
                  <a:lnTo>
                    <a:pt x="1" y="26"/>
                  </a:lnTo>
                  <a:lnTo>
                    <a:pt x="3" y="20"/>
                  </a:lnTo>
                  <a:lnTo>
                    <a:pt x="6" y="14"/>
                  </a:lnTo>
                  <a:lnTo>
                    <a:pt x="10" y="9"/>
                  </a:lnTo>
                  <a:lnTo>
                    <a:pt x="14" y="5"/>
                  </a:lnTo>
                  <a:lnTo>
                    <a:pt x="21" y="2"/>
                  </a:lnTo>
                  <a:lnTo>
                    <a:pt x="27" y="0"/>
                  </a:lnTo>
                  <a:lnTo>
                    <a:pt x="33" y="0"/>
                  </a:lnTo>
                  <a:lnTo>
                    <a:pt x="430" y="0"/>
                  </a:lnTo>
                  <a:lnTo>
                    <a:pt x="430" y="0"/>
                  </a:lnTo>
                  <a:lnTo>
                    <a:pt x="437" y="0"/>
                  </a:lnTo>
                  <a:lnTo>
                    <a:pt x="443" y="2"/>
                  </a:lnTo>
                  <a:lnTo>
                    <a:pt x="449" y="5"/>
                  </a:lnTo>
                  <a:lnTo>
                    <a:pt x="453" y="9"/>
                  </a:lnTo>
                  <a:lnTo>
                    <a:pt x="457" y="14"/>
                  </a:lnTo>
                  <a:lnTo>
                    <a:pt x="460" y="20"/>
                  </a:lnTo>
                  <a:lnTo>
                    <a:pt x="463" y="26"/>
                  </a:lnTo>
                  <a:lnTo>
                    <a:pt x="464" y="32"/>
                  </a:lnTo>
                  <a:lnTo>
                    <a:pt x="464" y="32"/>
                  </a:lnTo>
                  <a:lnTo>
                    <a:pt x="463" y="39"/>
                  </a:lnTo>
                  <a:lnTo>
                    <a:pt x="460" y="45"/>
                  </a:lnTo>
                  <a:lnTo>
                    <a:pt x="457" y="51"/>
                  </a:lnTo>
                  <a:lnTo>
                    <a:pt x="453" y="56"/>
                  </a:lnTo>
                  <a:lnTo>
                    <a:pt x="449" y="60"/>
                  </a:lnTo>
                  <a:lnTo>
                    <a:pt x="443" y="63"/>
                  </a:lnTo>
                  <a:lnTo>
                    <a:pt x="437" y="65"/>
                  </a:lnTo>
                  <a:lnTo>
                    <a:pt x="430" y="65"/>
                  </a:lnTo>
                  <a:lnTo>
                    <a:pt x="430"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92" name="Freeform 18">
              <a:extLst>
                <a:ext uri="{FF2B5EF4-FFF2-40B4-BE49-F238E27FC236}">
                  <a16:creationId xmlns:a16="http://schemas.microsoft.com/office/drawing/2014/main" id="{29A72391-3C31-F1B5-2729-37F2A5477E58}"/>
                </a:ext>
              </a:extLst>
            </p:cNvPr>
            <p:cNvSpPr>
              <a:spLocks/>
            </p:cNvSpPr>
            <p:nvPr/>
          </p:nvSpPr>
          <p:spPr bwMode="auto">
            <a:xfrm>
              <a:off x="3530600" y="2378075"/>
              <a:ext cx="106363" cy="15875"/>
            </a:xfrm>
            <a:custGeom>
              <a:avLst/>
              <a:gdLst>
                <a:gd name="T0" fmla="*/ 430 w 464"/>
                <a:gd name="T1" fmla="*/ 66 h 66"/>
                <a:gd name="T2" fmla="*/ 33 w 464"/>
                <a:gd name="T3" fmla="*/ 66 h 66"/>
                <a:gd name="T4" fmla="*/ 33 w 464"/>
                <a:gd name="T5" fmla="*/ 66 h 66"/>
                <a:gd name="T6" fmla="*/ 27 w 464"/>
                <a:gd name="T7" fmla="*/ 65 h 66"/>
                <a:gd name="T8" fmla="*/ 21 w 464"/>
                <a:gd name="T9" fmla="*/ 64 h 66"/>
                <a:gd name="T10" fmla="*/ 14 w 464"/>
                <a:gd name="T11" fmla="*/ 61 h 66"/>
                <a:gd name="T12" fmla="*/ 10 w 464"/>
                <a:gd name="T13" fmla="*/ 57 h 66"/>
                <a:gd name="T14" fmla="*/ 6 w 464"/>
                <a:gd name="T15" fmla="*/ 51 h 66"/>
                <a:gd name="T16" fmla="*/ 3 w 464"/>
                <a:gd name="T17" fmla="*/ 46 h 66"/>
                <a:gd name="T18" fmla="*/ 1 w 464"/>
                <a:gd name="T19" fmla="*/ 40 h 66"/>
                <a:gd name="T20" fmla="*/ 0 w 464"/>
                <a:gd name="T21" fmla="*/ 33 h 66"/>
                <a:gd name="T22" fmla="*/ 0 w 464"/>
                <a:gd name="T23" fmla="*/ 33 h 66"/>
                <a:gd name="T24" fmla="*/ 1 w 464"/>
                <a:gd name="T25" fmla="*/ 27 h 66"/>
                <a:gd name="T26" fmla="*/ 3 w 464"/>
                <a:gd name="T27" fmla="*/ 20 h 66"/>
                <a:gd name="T28" fmla="*/ 6 w 464"/>
                <a:gd name="T29" fmla="*/ 14 h 66"/>
                <a:gd name="T30" fmla="*/ 10 w 464"/>
                <a:gd name="T31" fmla="*/ 10 h 66"/>
                <a:gd name="T32" fmla="*/ 14 w 464"/>
                <a:gd name="T33" fmla="*/ 6 h 66"/>
                <a:gd name="T34" fmla="*/ 21 w 464"/>
                <a:gd name="T35" fmla="*/ 3 h 66"/>
                <a:gd name="T36" fmla="*/ 27 w 464"/>
                <a:gd name="T37" fmla="*/ 1 h 66"/>
                <a:gd name="T38" fmla="*/ 33 w 464"/>
                <a:gd name="T39" fmla="*/ 0 h 66"/>
                <a:gd name="T40" fmla="*/ 430 w 464"/>
                <a:gd name="T41" fmla="*/ 0 h 66"/>
                <a:gd name="T42" fmla="*/ 430 w 464"/>
                <a:gd name="T43" fmla="*/ 0 h 66"/>
                <a:gd name="T44" fmla="*/ 437 w 464"/>
                <a:gd name="T45" fmla="*/ 1 h 66"/>
                <a:gd name="T46" fmla="*/ 443 w 464"/>
                <a:gd name="T47" fmla="*/ 3 h 66"/>
                <a:gd name="T48" fmla="*/ 449 w 464"/>
                <a:gd name="T49" fmla="*/ 6 h 66"/>
                <a:gd name="T50" fmla="*/ 453 w 464"/>
                <a:gd name="T51" fmla="*/ 10 h 66"/>
                <a:gd name="T52" fmla="*/ 457 w 464"/>
                <a:gd name="T53" fmla="*/ 14 h 66"/>
                <a:gd name="T54" fmla="*/ 460 w 464"/>
                <a:gd name="T55" fmla="*/ 20 h 66"/>
                <a:gd name="T56" fmla="*/ 463 w 464"/>
                <a:gd name="T57" fmla="*/ 27 h 66"/>
                <a:gd name="T58" fmla="*/ 464 w 464"/>
                <a:gd name="T59" fmla="*/ 33 h 66"/>
                <a:gd name="T60" fmla="*/ 464 w 464"/>
                <a:gd name="T61" fmla="*/ 33 h 66"/>
                <a:gd name="T62" fmla="*/ 463 w 464"/>
                <a:gd name="T63" fmla="*/ 40 h 66"/>
                <a:gd name="T64" fmla="*/ 460 w 464"/>
                <a:gd name="T65" fmla="*/ 46 h 66"/>
                <a:gd name="T66" fmla="*/ 457 w 464"/>
                <a:gd name="T67" fmla="*/ 51 h 66"/>
                <a:gd name="T68" fmla="*/ 453 w 464"/>
                <a:gd name="T69" fmla="*/ 57 h 66"/>
                <a:gd name="T70" fmla="*/ 449 w 464"/>
                <a:gd name="T71" fmla="*/ 61 h 66"/>
                <a:gd name="T72" fmla="*/ 443 w 464"/>
                <a:gd name="T73" fmla="*/ 64 h 66"/>
                <a:gd name="T74" fmla="*/ 437 w 464"/>
                <a:gd name="T75" fmla="*/ 65 h 66"/>
                <a:gd name="T76" fmla="*/ 430 w 464"/>
                <a:gd name="T77" fmla="*/ 66 h 66"/>
                <a:gd name="T78" fmla="*/ 430 w 464"/>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4" h="66">
                  <a:moveTo>
                    <a:pt x="430" y="66"/>
                  </a:moveTo>
                  <a:lnTo>
                    <a:pt x="33" y="66"/>
                  </a:lnTo>
                  <a:lnTo>
                    <a:pt x="33" y="66"/>
                  </a:lnTo>
                  <a:lnTo>
                    <a:pt x="27" y="65"/>
                  </a:lnTo>
                  <a:lnTo>
                    <a:pt x="21" y="64"/>
                  </a:lnTo>
                  <a:lnTo>
                    <a:pt x="14" y="61"/>
                  </a:lnTo>
                  <a:lnTo>
                    <a:pt x="10" y="57"/>
                  </a:lnTo>
                  <a:lnTo>
                    <a:pt x="6" y="51"/>
                  </a:lnTo>
                  <a:lnTo>
                    <a:pt x="3" y="46"/>
                  </a:lnTo>
                  <a:lnTo>
                    <a:pt x="1" y="40"/>
                  </a:lnTo>
                  <a:lnTo>
                    <a:pt x="0" y="33"/>
                  </a:lnTo>
                  <a:lnTo>
                    <a:pt x="0" y="33"/>
                  </a:lnTo>
                  <a:lnTo>
                    <a:pt x="1" y="27"/>
                  </a:lnTo>
                  <a:lnTo>
                    <a:pt x="3" y="20"/>
                  </a:lnTo>
                  <a:lnTo>
                    <a:pt x="6" y="14"/>
                  </a:lnTo>
                  <a:lnTo>
                    <a:pt x="10" y="10"/>
                  </a:lnTo>
                  <a:lnTo>
                    <a:pt x="14" y="6"/>
                  </a:lnTo>
                  <a:lnTo>
                    <a:pt x="21" y="3"/>
                  </a:lnTo>
                  <a:lnTo>
                    <a:pt x="27" y="1"/>
                  </a:lnTo>
                  <a:lnTo>
                    <a:pt x="33" y="0"/>
                  </a:lnTo>
                  <a:lnTo>
                    <a:pt x="430" y="0"/>
                  </a:lnTo>
                  <a:lnTo>
                    <a:pt x="430" y="0"/>
                  </a:lnTo>
                  <a:lnTo>
                    <a:pt x="437" y="1"/>
                  </a:lnTo>
                  <a:lnTo>
                    <a:pt x="443" y="3"/>
                  </a:lnTo>
                  <a:lnTo>
                    <a:pt x="449" y="6"/>
                  </a:lnTo>
                  <a:lnTo>
                    <a:pt x="453" y="10"/>
                  </a:lnTo>
                  <a:lnTo>
                    <a:pt x="457" y="14"/>
                  </a:lnTo>
                  <a:lnTo>
                    <a:pt x="460" y="20"/>
                  </a:lnTo>
                  <a:lnTo>
                    <a:pt x="463" y="27"/>
                  </a:lnTo>
                  <a:lnTo>
                    <a:pt x="464" y="33"/>
                  </a:lnTo>
                  <a:lnTo>
                    <a:pt x="464" y="33"/>
                  </a:lnTo>
                  <a:lnTo>
                    <a:pt x="463" y="40"/>
                  </a:lnTo>
                  <a:lnTo>
                    <a:pt x="460" y="46"/>
                  </a:lnTo>
                  <a:lnTo>
                    <a:pt x="457" y="51"/>
                  </a:lnTo>
                  <a:lnTo>
                    <a:pt x="453" y="57"/>
                  </a:lnTo>
                  <a:lnTo>
                    <a:pt x="449" y="61"/>
                  </a:lnTo>
                  <a:lnTo>
                    <a:pt x="443" y="64"/>
                  </a:lnTo>
                  <a:lnTo>
                    <a:pt x="437" y="65"/>
                  </a:lnTo>
                  <a:lnTo>
                    <a:pt x="430" y="66"/>
                  </a:lnTo>
                  <a:lnTo>
                    <a:pt x="43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93" name="Freeform 19">
              <a:extLst>
                <a:ext uri="{FF2B5EF4-FFF2-40B4-BE49-F238E27FC236}">
                  <a16:creationId xmlns:a16="http://schemas.microsoft.com/office/drawing/2014/main" id="{F52A99D5-46DE-6276-A17B-6840A073DD91}"/>
                </a:ext>
              </a:extLst>
            </p:cNvPr>
            <p:cNvSpPr>
              <a:spLocks/>
            </p:cNvSpPr>
            <p:nvPr/>
          </p:nvSpPr>
          <p:spPr bwMode="auto">
            <a:xfrm>
              <a:off x="3530600" y="2424113"/>
              <a:ext cx="106363" cy="14288"/>
            </a:xfrm>
            <a:custGeom>
              <a:avLst/>
              <a:gdLst>
                <a:gd name="T0" fmla="*/ 430 w 464"/>
                <a:gd name="T1" fmla="*/ 67 h 67"/>
                <a:gd name="T2" fmla="*/ 33 w 464"/>
                <a:gd name="T3" fmla="*/ 67 h 67"/>
                <a:gd name="T4" fmla="*/ 33 w 464"/>
                <a:gd name="T5" fmla="*/ 67 h 67"/>
                <a:gd name="T6" fmla="*/ 27 w 464"/>
                <a:gd name="T7" fmla="*/ 66 h 67"/>
                <a:gd name="T8" fmla="*/ 21 w 464"/>
                <a:gd name="T9" fmla="*/ 64 h 67"/>
                <a:gd name="T10" fmla="*/ 14 w 464"/>
                <a:gd name="T11" fmla="*/ 60 h 67"/>
                <a:gd name="T12" fmla="*/ 10 w 464"/>
                <a:gd name="T13" fmla="*/ 56 h 67"/>
                <a:gd name="T14" fmla="*/ 6 w 464"/>
                <a:gd name="T15" fmla="*/ 52 h 67"/>
                <a:gd name="T16" fmla="*/ 3 w 464"/>
                <a:gd name="T17" fmla="*/ 46 h 67"/>
                <a:gd name="T18" fmla="*/ 1 w 464"/>
                <a:gd name="T19" fmla="*/ 40 h 67"/>
                <a:gd name="T20" fmla="*/ 0 w 464"/>
                <a:gd name="T21" fmla="*/ 34 h 67"/>
                <a:gd name="T22" fmla="*/ 0 w 464"/>
                <a:gd name="T23" fmla="*/ 34 h 67"/>
                <a:gd name="T24" fmla="*/ 1 w 464"/>
                <a:gd name="T25" fmla="*/ 26 h 67"/>
                <a:gd name="T26" fmla="*/ 3 w 464"/>
                <a:gd name="T27" fmla="*/ 20 h 67"/>
                <a:gd name="T28" fmla="*/ 6 w 464"/>
                <a:gd name="T29" fmla="*/ 15 h 67"/>
                <a:gd name="T30" fmla="*/ 10 w 464"/>
                <a:gd name="T31" fmla="*/ 10 h 67"/>
                <a:gd name="T32" fmla="*/ 14 w 464"/>
                <a:gd name="T33" fmla="*/ 6 h 67"/>
                <a:gd name="T34" fmla="*/ 21 w 464"/>
                <a:gd name="T35" fmla="*/ 3 h 67"/>
                <a:gd name="T36" fmla="*/ 27 w 464"/>
                <a:gd name="T37" fmla="*/ 1 h 67"/>
                <a:gd name="T38" fmla="*/ 33 w 464"/>
                <a:gd name="T39" fmla="*/ 0 h 67"/>
                <a:gd name="T40" fmla="*/ 430 w 464"/>
                <a:gd name="T41" fmla="*/ 0 h 67"/>
                <a:gd name="T42" fmla="*/ 430 w 464"/>
                <a:gd name="T43" fmla="*/ 0 h 67"/>
                <a:gd name="T44" fmla="*/ 437 w 464"/>
                <a:gd name="T45" fmla="*/ 1 h 67"/>
                <a:gd name="T46" fmla="*/ 443 w 464"/>
                <a:gd name="T47" fmla="*/ 3 h 67"/>
                <a:gd name="T48" fmla="*/ 449 w 464"/>
                <a:gd name="T49" fmla="*/ 6 h 67"/>
                <a:gd name="T50" fmla="*/ 453 w 464"/>
                <a:gd name="T51" fmla="*/ 10 h 67"/>
                <a:gd name="T52" fmla="*/ 457 w 464"/>
                <a:gd name="T53" fmla="*/ 15 h 67"/>
                <a:gd name="T54" fmla="*/ 460 w 464"/>
                <a:gd name="T55" fmla="*/ 20 h 67"/>
                <a:gd name="T56" fmla="*/ 463 w 464"/>
                <a:gd name="T57" fmla="*/ 26 h 67"/>
                <a:gd name="T58" fmla="*/ 464 w 464"/>
                <a:gd name="T59" fmla="*/ 34 h 67"/>
                <a:gd name="T60" fmla="*/ 464 w 464"/>
                <a:gd name="T61" fmla="*/ 34 h 67"/>
                <a:gd name="T62" fmla="*/ 463 w 464"/>
                <a:gd name="T63" fmla="*/ 40 h 67"/>
                <a:gd name="T64" fmla="*/ 460 w 464"/>
                <a:gd name="T65" fmla="*/ 46 h 67"/>
                <a:gd name="T66" fmla="*/ 457 w 464"/>
                <a:gd name="T67" fmla="*/ 52 h 67"/>
                <a:gd name="T68" fmla="*/ 453 w 464"/>
                <a:gd name="T69" fmla="*/ 56 h 67"/>
                <a:gd name="T70" fmla="*/ 449 w 464"/>
                <a:gd name="T71" fmla="*/ 60 h 67"/>
                <a:gd name="T72" fmla="*/ 443 w 464"/>
                <a:gd name="T73" fmla="*/ 64 h 67"/>
                <a:gd name="T74" fmla="*/ 437 w 464"/>
                <a:gd name="T75" fmla="*/ 66 h 67"/>
                <a:gd name="T76" fmla="*/ 430 w 464"/>
                <a:gd name="T77" fmla="*/ 67 h 67"/>
                <a:gd name="T78" fmla="*/ 430 w 464"/>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4" h="67">
                  <a:moveTo>
                    <a:pt x="430" y="67"/>
                  </a:moveTo>
                  <a:lnTo>
                    <a:pt x="33" y="67"/>
                  </a:lnTo>
                  <a:lnTo>
                    <a:pt x="33" y="67"/>
                  </a:lnTo>
                  <a:lnTo>
                    <a:pt x="27" y="66"/>
                  </a:lnTo>
                  <a:lnTo>
                    <a:pt x="21" y="64"/>
                  </a:lnTo>
                  <a:lnTo>
                    <a:pt x="14" y="60"/>
                  </a:lnTo>
                  <a:lnTo>
                    <a:pt x="10" y="56"/>
                  </a:lnTo>
                  <a:lnTo>
                    <a:pt x="6" y="52"/>
                  </a:lnTo>
                  <a:lnTo>
                    <a:pt x="3" y="46"/>
                  </a:lnTo>
                  <a:lnTo>
                    <a:pt x="1" y="40"/>
                  </a:lnTo>
                  <a:lnTo>
                    <a:pt x="0" y="34"/>
                  </a:lnTo>
                  <a:lnTo>
                    <a:pt x="0" y="34"/>
                  </a:lnTo>
                  <a:lnTo>
                    <a:pt x="1" y="26"/>
                  </a:lnTo>
                  <a:lnTo>
                    <a:pt x="3" y="20"/>
                  </a:lnTo>
                  <a:lnTo>
                    <a:pt x="6" y="15"/>
                  </a:lnTo>
                  <a:lnTo>
                    <a:pt x="10" y="10"/>
                  </a:lnTo>
                  <a:lnTo>
                    <a:pt x="14" y="6"/>
                  </a:lnTo>
                  <a:lnTo>
                    <a:pt x="21" y="3"/>
                  </a:lnTo>
                  <a:lnTo>
                    <a:pt x="27" y="1"/>
                  </a:lnTo>
                  <a:lnTo>
                    <a:pt x="33" y="0"/>
                  </a:lnTo>
                  <a:lnTo>
                    <a:pt x="430" y="0"/>
                  </a:lnTo>
                  <a:lnTo>
                    <a:pt x="430" y="0"/>
                  </a:lnTo>
                  <a:lnTo>
                    <a:pt x="437" y="1"/>
                  </a:lnTo>
                  <a:lnTo>
                    <a:pt x="443" y="3"/>
                  </a:lnTo>
                  <a:lnTo>
                    <a:pt x="449" y="6"/>
                  </a:lnTo>
                  <a:lnTo>
                    <a:pt x="453" y="10"/>
                  </a:lnTo>
                  <a:lnTo>
                    <a:pt x="457" y="15"/>
                  </a:lnTo>
                  <a:lnTo>
                    <a:pt x="460" y="20"/>
                  </a:lnTo>
                  <a:lnTo>
                    <a:pt x="463" y="26"/>
                  </a:lnTo>
                  <a:lnTo>
                    <a:pt x="464" y="34"/>
                  </a:lnTo>
                  <a:lnTo>
                    <a:pt x="464" y="34"/>
                  </a:lnTo>
                  <a:lnTo>
                    <a:pt x="463" y="40"/>
                  </a:lnTo>
                  <a:lnTo>
                    <a:pt x="460" y="46"/>
                  </a:lnTo>
                  <a:lnTo>
                    <a:pt x="457" y="52"/>
                  </a:lnTo>
                  <a:lnTo>
                    <a:pt x="453" y="56"/>
                  </a:lnTo>
                  <a:lnTo>
                    <a:pt x="449" y="60"/>
                  </a:lnTo>
                  <a:lnTo>
                    <a:pt x="443" y="64"/>
                  </a:lnTo>
                  <a:lnTo>
                    <a:pt x="437" y="66"/>
                  </a:lnTo>
                  <a:lnTo>
                    <a:pt x="430" y="67"/>
                  </a:lnTo>
                  <a:lnTo>
                    <a:pt x="430"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94" name="Freeform 20">
              <a:extLst>
                <a:ext uri="{FF2B5EF4-FFF2-40B4-BE49-F238E27FC236}">
                  <a16:creationId xmlns:a16="http://schemas.microsoft.com/office/drawing/2014/main" id="{75BB6ADA-EF87-B267-55B6-8EE9941DC976}"/>
                </a:ext>
              </a:extLst>
            </p:cNvPr>
            <p:cNvSpPr>
              <a:spLocks/>
            </p:cNvSpPr>
            <p:nvPr/>
          </p:nvSpPr>
          <p:spPr bwMode="auto">
            <a:xfrm>
              <a:off x="3494088" y="2289175"/>
              <a:ext cx="22225" cy="14288"/>
            </a:xfrm>
            <a:custGeom>
              <a:avLst/>
              <a:gdLst>
                <a:gd name="T0" fmla="*/ 67 w 99"/>
                <a:gd name="T1" fmla="*/ 66 h 66"/>
                <a:gd name="T2" fmla="*/ 34 w 99"/>
                <a:gd name="T3" fmla="*/ 66 h 66"/>
                <a:gd name="T4" fmla="*/ 34 w 99"/>
                <a:gd name="T5" fmla="*/ 66 h 66"/>
                <a:gd name="T6" fmla="*/ 26 w 99"/>
                <a:gd name="T7" fmla="*/ 65 h 66"/>
                <a:gd name="T8" fmla="*/ 20 w 99"/>
                <a:gd name="T9" fmla="*/ 63 h 66"/>
                <a:gd name="T10" fmla="*/ 15 w 99"/>
                <a:gd name="T11" fmla="*/ 60 h 66"/>
                <a:gd name="T12" fmla="*/ 10 w 99"/>
                <a:gd name="T13" fmla="*/ 56 h 66"/>
                <a:gd name="T14" fmla="*/ 6 w 99"/>
                <a:gd name="T15" fmla="*/ 52 h 66"/>
                <a:gd name="T16" fmla="*/ 3 w 99"/>
                <a:gd name="T17" fmla="*/ 46 h 66"/>
                <a:gd name="T18" fmla="*/ 0 w 99"/>
                <a:gd name="T19" fmla="*/ 39 h 66"/>
                <a:gd name="T20" fmla="*/ 0 w 99"/>
                <a:gd name="T21" fmla="*/ 33 h 66"/>
                <a:gd name="T22" fmla="*/ 0 w 99"/>
                <a:gd name="T23" fmla="*/ 33 h 66"/>
                <a:gd name="T24" fmla="*/ 0 w 99"/>
                <a:gd name="T25" fmla="*/ 26 h 66"/>
                <a:gd name="T26" fmla="*/ 3 w 99"/>
                <a:gd name="T27" fmla="*/ 20 h 66"/>
                <a:gd name="T28" fmla="*/ 6 w 99"/>
                <a:gd name="T29" fmla="*/ 15 h 66"/>
                <a:gd name="T30" fmla="*/ 10 w 99"/>
                <a:gd name="T31" fmla="*/ 9 h 66"/>
                <a:gd name="T32" fmla="*/ 15 w 99"/>
                <a:gd name="T33" fmla="*/ 5 h 66"/>
                <a:gd name="T34" fmla="*/ 20 w 99"/>
                <a:gd name="T35" fmla="*/ 2 h 66"/>
                <a:gd name="T36" fmla="*/ 26 w 99"/>
                <a:gd name="T37" fmla="*/ 0 h 66"/>
                <a:gd name="T38" fmla="*/ 34 w 99"/>
                <a:gd name="T39" fmla="*/ 0 h 66"/>
                <a:gd name="T40" fmla="*/ 67 w 99"/>
                <a:gd name="T41" fmla="*/ 0 h 66"/>
                <a:gd name="T42" fmla="*/ 67 w 99"/>
                <a:gd name="T43" fmla="*/ 0 h 66"/>
                <a:gd name="T44" fmla="*/ 73 w 99"/>
                <a:gd name="T45" fmla="*/ 0 h 66"/>
                <a:gd name="T46" fmla="*/ 79 w 99"/>
                <a:gd name="T47" fmla="*/ 2 h 66"/>
                <a:gd name="T48" fmla="*/ 84 w 99"/>
                <a:gd name="T49" fmla="*/ 5 h 66"/>
                <a:gd name="T50" fmla="*/ 89 w 99"/>
                <a:gd name="T51" fmla="*/ 9 h 66"/>
                <a:gd name="T52" fmla="*/ 94 w 99"/>
                <a:gd name="T53" fmla="*/ 15 h 66"/>
                <a:gd name="T54" fmla="*/ 97 w 99"/>
                <a:gd name="T55" fmla="*/ 20 h 66"/>
                <a:gd name="T56" fmla="*/ 99 w 99"/>
                <a:gd name="T57" fmla="*/ 26 h 66"/>
                <a:gd name="T58" fmla="*/ 99 w 99"/>
                <a:gd name="T59" fmla="*/ 33 h 66"/>
                <a:gd name="T60" fmla="*/ 99 w 99"/>
                <a:gd name="T61" fmla="*/ 33 h 66"/>
                <a:gd name="T62" fmla="*/ 99 w 99"/>
                <a:gd name="T63" fmla="*/ 39 h 66"/>
                <a:gd name="T64" fmla="*/ 97 w 99"/>
                <a:gd name="T65" fmla="*/ 46 h 66"/>
                <a:gd name="T66" fmla="*/ 94 w 99"/>
                <a:gd name="T67" fmla="*/ 52 h 66"/>
                <a:gd name="T68" fmla="*/ 89 w 99"/>
                <a:gd name="T69" fmla="*/ 56 h 66"/>
                <a:gd name="T70" fmla="*/ 84 w 99"/>
                <a:gd name="T71" fmla="*/ 60 h 66"/>
                <a:gd name="T72" fmla="*/ 79 w 99"/>
                <a:gd name="T73" fmla="*/ 63 h 66"/>
                <a:gd name="T74" fmla="*/ 73 w 99"/>
                <a:gd name="T75" fmla="*/ 65 h 66"/>
                <a:gd name="T76" fmla="*/ 67 w 99"/>
                <a:gd name="T77" fmla="*/ 66 h 66"/>
                <a:gd name="T78" fmla="*/ 67 w 99"/>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9" h="66">
                  <a:moveTo>
                    <a:pt x="67" y="66"/>
                  </a:moveTo>
                  <a:lnTo>
                    <a:pt x="34" y="66"/>
                  </a:lnTo>
                  <a:lnTo>
                    <a:pt x="34" y="66"/>
                  </a:lnTo>
                  <a:lnTo>
                    <a:pt x="26" y="65"/>
                  </a:lnTo>
                  <a:lnTo>
                    <a:pt x="20" y="63"/>
                  </a:lnTo>
                  <a:lnTo>
                    <a:pt x="15" y="60"/>
                  </a:lnTo>
                  <a:lnTo>
                    <a:pt x="10" y="56"/>
                  </a:lnTo>
                  <a:lnTo>
                    <a:pt x="6" y="52"/>
                  </a:lnTo>
                  <a:lnTo>
                    <a:pt x="3" y="46"/>
                  </a:lnTo>
                  <a:lnTo>
                    <a:pt x="0" y="39"/>
                  </a:lnTo>
                  <a:lnTo>
                    <a:pt x="0" y="33"/>
                  </a:lnTo>
                  <a:lnTo>
                    <a:pt x="0" y="33"/>
                  </a:lnTo>
                  <a:lnTo>
                    <a:pt x="0" y="26"/>
                  </a:lnTo>
                  <a:lnTo>
                    <a:pt x="3" y="20"/>
                  </a:lnTo>
                  <a:lnTo>
                    <a:pt x="6" y="15"/>
                  </a:lnTo>
                  <a:lnTo>
                    <a:pt x="10" y="9"/>
                  </a:lnTo>
                  <a:lnTo>
                    <a:pt x="15" y="5"/>
                  </a:lnTo>
                  <a:lnTo>
                    <a:pt x="20" y="2"/>
                  </a:lnTo>
                  <a:lnTo>
                    <a:pt x="26" y="0"/>
                  </a:lnTo>
                  <a:lnTo>
                    <a:pt x="34" y="0"/>
                  </a:lnTo>
                  <a:lnTo>
                    <a:pt x="67" y="0"/>
                  </a:lnTo>
                  <a:lnTo>
                    <a:pt x="67" y="0"/>
                  </a:lnTo>
                  <a:lnTo>
                    <a:pt x="73" y="0"/>
                  </a:lnTo>
                  <a:lnTo>
                    <a:pt x="79" y="2"/>
                  </a:lnTo>
                  <a:lnTo>
                    <a:pt x="84" y="5"/>
                  </a:lnTo>
                  <a:lnTo>
                    <a:pt x="89" y="9"/>
                  </a:lnTo>
                  <a:lnTo>
                    <a:pt x="94" y="15"/>
                  </a:lnTo>
                  <a:lnTo>
                    <a:pt x="97" y="20"/>
                  </a:lnTo>
                  <a:lnTo>
                    <a:pt x="99" y="26"/>
                  </a:lnTo>
                  <a:lnTo>
                    <a:pt x="99" y="33"/>
                  </a:lnTo>
                  <a:lnTo>
                    <a:pt x="99" y="33"/>
                  </a:lnTo>
                  <a:lnTo>
                    <a:pt x="99" y="39"/>
                  </a:lnTo>
                  <a:lnTo>
                    <a:pt x="97" y="46"/>
                  </a:lnTo>
                  <a:lnTo>
                    <a:pt x="94" y="52"/>
                  </a:lnTo>
                  <a:lnTo>
                    <a:pt x="89" y="56"/>
                  </a:lnTo>
                  <a:lnTo>
                    <a:pt x="84" y="60"/>
                  </a:lnTo>
                  <a:lnTo>
                    <a:pt x="79" y="63"/>
                  </a:lnTo>
                  <a:lnTo>
                    <a:pt x="73" y="65"/>
                  </a:lnTo>
                  <a:lnTo>
                    <a:pt x="67" y="66"/>
                  </a:lnTo>
                  <a:lnTo>
                    <a:pt x="6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95" name="Freeform 21">
              <a:extLst>
                <a:ext uri="{FF2B5EF4-FFF2-40B4-BE49-F238E27FC236}">
                  <a16:creationId xmlns:a16="http://schemas.microsoft.com/office/drawing/2014/main" id="{BC6F9B32-0F06-90B6-7CC3-786D936731BD}"/>
                </a:ext>
              </a:extLst>
            </p:cNvPr>
            <p:cNvSpPr>
              <a:spLocks/>
            </p:cNvSpPr>
            <p:nvPr/>
          </p:nvSpPr>
          <p:spPr bwMode="auto">
            <a:xfrm>
              <a:off x="3494088" y="2333625"/>
              <a:ext cx="22225" cy="14288"/>
            </a:xfrm>
            <a:custGeom>
              <a:avLst/>
              <a:gdLst>
                <a:gd name="T0" fmla="*/ 67 w 99"/>
                <a:gd name="T1" fmla="*/ 65 h 65"/>
                <a:gd name="T2" fmla="*/ 34 w 99"/>
                <a:gd name="T3" fmla="*/ 65 h 65"/>
                <a:gd name="T4" fmla="*/ 34 w 99"/>
                <a:gd name="T5" fmla="*/ 65 h 65"/>
                <a:gd name="T6" fmla="*/ 26 w 99"/>
                <a:gd name="T7" fmla="*/ 65 h 65"/>
                <a:gd name="T8" fmla="*/ 20 w 99"/>
                <a:gd name="T9" fmla="*/ 63 h 65"/>
                <a:gd name="T10" fmla="*/ 15 w 99"/>
                <a:gd name="T11" fmla="*/ 60 h 65"/>
                <a:gd name="T12" fmla="*/ 10 w 99"/>
                <a:gd name="T13" fmla="*/ 56 h 65"/>
                <a:gd name="T14" fmla="*/ 6 w 99"/>
                <a:gd name="T15" fmla="*/ 51 h 65"/>
                <a:gd name="T16" fmla="*/ 3 w 99"/>
                <a:gd name="T17" fmla="*/ 45 h 65"/>
                <a:gd name="T18" fmla="*/ 0 w 99"/>
                <a:gd name="T19" fmla="*/ 39 h 65"/>
                <a:gd name="T20" fmla="*/ 0 w 99"/>
                <a:gd name="T21" fmla="*/ 32 h 65"/>
                <a:gd name="T22" fmla="*/ 0 w 99"/>
                <a:gd name="T23" fmla="*/ 32 h 65"/>
                <a:gd name="T24" fmla="*/ 0 w 99"/>
                <a:gd name="T25" fmla="*/ 26 h 65"/>
                <a:gd name="T26" fmla="*/ 3 w 99"/>
                <a:gd name="T27" fmla="*/ 20 h 65"/>
                <a:gd name="T28" fmla="*/ 6 w 99"/>
                <a:gd name="T29" fmla="*/ 14 h 65"/>
                <a:gd name="T30" fmla="*/ 10 w 99"/>
                <a:gd name="T31" fmla="*/ 9 h 65"/>
                <a:gd name="T32" fmla="*/ 15 w 99"/>
                <a:gd name="T33" fmla="*/ 5 h 65"/>
                <a:gd name="T34" fmla="*/ 20 w 99"/>
                <a:gd name="T35" fmla="*/ 2 h 65"/>
                <a:gd name="T36" fmla="*/ 26 w 99"/>
                <a:gd name="T37" fmla="*/ 0 h 65"/>
                <a:gd name="T38" fmla="*/ 34 w 99"/>
                <a:gd name="T39" fmla="*/ 0 h 65"/>
                <a:gd name="T40" fmla="*/ 67 w 99"/>
                <a:gd name="T41" fmla="*/ 0 h 65"/>
                <a:gd name="T42" fmla="*/ 67 w 99"/>
                <a:gd name="T43" fmla="*/ 0 h 65"/>
                <a:gd name="T44" fmla="*/ 73 w 99"/>
                <a:gd name="T45" fmla="*/ 0 h 65"/>
                <a:gd name="T46" fmla="*/ 79 w 99"/>
                <a:gd name="T47" fmla="*/ 2 h 65"/>
                <a:gd name="T48" fmla="*/ 84 w 99"/>
                <a:gd name="T49" fmla="*/ 5 h 65"/>
                <a:gd name="T50" fmla="*/ 89 w 99"/>
                <a:gd name="T51" fmla="*/ 9 h 65"/>
                <a:gd name="T52" fmla="*/ 94 w 99"/>
                <a:gd name="T53" fmla="*/ 14 h 65"/>
                <a:gd name="T54" fmla="*/ 97 w 99"/>
                <a:gd name="T55" fmla="*/ 20 h 65"/>
                <a:gd name="T56" fmla="*/ 99 w 99"/>
                <a:gd name="T57" fmla="*/ 26 h 65"/>
                <a:gd name="T58" fmla="*/ 99 w 99"/>
                <a:gd name="T59" fmla="*/ 32 h 65"/>
                <a:gd name="T60" fmla="*/ 99 w 99"/>
                <a:gd name="T61" fmla="*/ 32 h 65"/>
                <a:gd name="T62" fmla="*/ 99 w 99"/>
                <a:gd name="T63" fmla="*/ 39 h 65"/>
                <a:gd name="T64" fmla="*/ 97 w 99"/>
                <a:gd name="T65" fmla="*/ 45 h 65"/>
                <a:gd name="T66" fmla="*/ 94 w 99"/>
                <a:gd name="T67" fmla="*/ 51 h 65"/>
                <a:gd name="T68" fmla="*/ 89 w 99"/>
                <a:gd name="T69" fmla="*/ 56 h 65"/>
                <a:gd name="T70" fmla="*/ 84 w 99"/>
                <a:gd name="T71" fmla="*/ 60 h 65"/>
                <a:gd name="T72" fmla="*/ 79 w 99"/>
                <a:gd name="T73" fmla="*/ 63 h 65"/>
                <a:gd name="T74" fmla="*/ 73 w 99"/>
                <a:gd name="T75" fmla="*/ 65 h 65"/>
                <a:gd name="T76" fmla="*/ 67 w 99"/>
                <a:gd name="T77" fmla="*/ 65 h 65"/>
                <a:gd name="T78" fmla="*/ 67 w 99"/>
                <a:gd name="T7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9" h="65">
                  <a:moveTo>
                    <a:pt x="67" y="65"/>
                  </a:moveTo>
                  <a:lnTo>
                    <a:pt x="34" y="65"/>
                  </a:lnTo>
                  <a:lnTo>
                    <a:pt x="34" y="65"/>
                  </a:lnTo>
                  <a:lnTo>
                    <a:pt x="26" y="65"/>
                  </a:lnTo>
                  <a:lnTo>
                    <a:pt x="20" y="63"/>
                  </a:lnTo>
                  <a:lnTo>
                    <a:pt x="15" y="60"/>
                  </a:lnTo>
                  <a:lnTo>
                    <a:pt x="10" y="56"/>
                  </a:lnTo>
                  <a:lnTo>
                    <a:pt x="6" y="51"/>
                  </a:lnTo>
                  <a:lnTo>
                    <a:pt x="3" y="45"/>
                  </a:lnTo>
                  <a:lnTo>
                    <a:pt x="0" y="39"/>
                  </a:lnTo>
                  <a:lnTo>
                    <a:pt x="0" y="32"/>
                  </a:lnTo>
                  <a:lnTo>
                    <a:pt x="0" y="32"/>
                  </a:lnTo>
                  <a:lnTo>
                    <a:pt x="0" y="26"/>
                  </a:lnTo>
                  <a:lnTo>
                    <a:pt x="3" y="20"/>
                  </a:lnTo>
                  <a:lnTo>
                    <a:pt x="6" y="14"/>
                  </a:lnTo>
                  <a:lnTo>
                    <a:pt x="10" y="9"/>
                  </a:lnTo>
                  <a:lnTo>
                    <a:pt x="15" y="5"/>
                  </a:lnTo>
                  <a:lnTo>
                    <a:pt x="20" y="2"/>
                  </a:lnTo>
                  <a:lnTo>
                    <a:pt x="26" y="0"/>
                  </a:lnTo>
                  <a:lnTo>
                    <a:pt x="34" y="0"/>
                  </a:lnTo>
                  <a:lnTo>
                    <a:pt x="67" y="0"/>
                  </a:lnTo>
                  <a:lnTo>
                    <a:pt x="67" y="0"/>
                  </a:lnTo>
                  <a:lnTo>
                    <a:pt x="73" y="0"/>
                  </a:lnTo>
                  <a:lnTo>
                    <a:pt x="79" y="2"/>
                  </a:lnTo>
                  <a:lnTo>
                    <a:pt x="84" y="5"/>
                  </a:lnTo>
                  <a:lnTo>
                    <a:pt x="89" y="9"/>
                  </a:lnTo>
                  <a:lnTo>
                    <a:pt x="94" y="14"/>
                  </a:lnTo>
                  <a:lnTo>
                    <a:pt x="97" y="20"/>
                  </a:lnTo>
                  <a:lnTo>
                    <a:pt x="99" y="26"/>
                  </a:lnTo>
                  <a:lnTo>
                    <a:pt x="99" y="32"/>
                  </a:lnTo>
                  <a:lnTo>
                    <a:pt x="99" y="32"/>
                  </a:lnTo>
                  <a:lnTo>
                    <a:pt x="99" y="39"/>
                  </a:lnTo>
                  <a:lnTo>
                    <a:pt x="97" y="45"/>
                  </a:lnTo>
                  <a:lnTo>
                    <a:pt x="94" y="51"/>
                  </a:lnTo>
                  <a:lnTo>
                    <a:pt x="89" y="56"/>
                  </a:lnTo>
                  <a:lnTo>
                    <a:pt x="84" y="60"/>
                  </a:lnTo>
                  <a:lnTo>
                    <a:pt x="79" y="63"/>
                  </a:lnTo>
                  <a:lnTo>
                    <a:pt x="73" y="65"/>
                  </a:lnTo>
                  <a:lnTo>
                    <a:pt x="67" y="65"/>
                  </a:lnTo>
                  <a:lnTo>
                    <a:pt x="67"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96" name="Freeform 22">
              <a:extLst>
                <a:ext uri="{FF2B5EF4-FFF2-40B4-BE49-F238E27FC236}">
                  <a16:creationId xmlns:a16="http://schemas.microsoft.com/office/drawing/2014/main" id="{2D097148-7CEA-C87D-244B-92007CFF5406}"/>
                </a:ext>
              </a:extLst>
            </p:cNvPr>
            <p:cNvSpPr>
              <a:spLocks/>
            </p:cNvSpPr>
            <p:nvPr/>
          </p:nvSpPr>
          <p:spPr bwMode="auto">
            <a:xfrm>
              <a:off x="3494088" y="2378075"/>
              <a:ext cx="22225" cy="15875"/>
            </a:xfrm>
            <a:custGeom>
              <a:avLst/>
              <a:gdLst>
                <a:gd name="T0" fmla="*/ 67 w 99"/>
                <a:gd name="T1" fmla="*/ 66 h 66"/>
                <a:gd name="T2" fmla="*/ 34 w 99"/>
                <a:gd name="T3" fmla="*/ 66 h 66"/>
                <a:gd name="T4" fmla="*/ 34 w 99"/>
                <a:gd name="T5" fmla="*/ 66 h 66"/>
                <a:gd name="T6" fmla="*/ 26 w 99"/>
                <a:gd name="T7" fmla="*/ 65 h 66"/>
                <a:gd name="T8" fmla="*/ 20 w 99"/>
                <a:gd name="T9" fmla="*/ 64 h 66"/>
                <a:gd name="T10" fmla="*/ 15 w 99"/>
                <a:gd name="T11" fmla="*/ 61 h 66"/>
                <a:gd name="T12" fmla="*/ 10 w 99"/>
                <a:gd name="T13" fmla="*/ 57 h 66"/>
                <a:gd name="T14" fmla="*/ 6 w 99"/>
                <a:gd name="T15" fmla="*/ 51 h 66"/>
                <a:gd name="T16" fmla="*/ 3 w 99"/>
                <a:gd name="T17" fmla="*/ 46 h 66"/>
                <a:gd name="T18" fmla="*/ 0 w 99"/>
                <a:gd name="T19" fmla="*/ 40 h 66"/>
                <a:gd name="T20" fmla="*/ 0 w 99"/>
                <a:gd name="T21" fmla="*/ 33 h 66"/>
                <a:gd name="T22" fmla="*/ 0 w 99"/>
                <a:gd name="T23" fmla="*/ 33 h 66"/>
                <a:gd name="T24" fmla="*/ 0 w 99"/>
                <a:gd name="T25" fmla="*/ 27 h 66"/>
                <a:gd name="T26" fmla="*/ 3 w 99"/>
                <a:gd name="T27" fmla="*/ 20 h 66"/>
                <a:gd name="T28" fmla="*/ 6 w 99"/>
                <a:gd name="T29" fmla="*/ 14 h 66"/>
                <a:gd name="T30" fmla="*/ 10 w 99"/>
                <a:gd name="T31" fmla="*/ 10 h 66"/>
                <a:gd name="T32" fmla="*/ 15 w 99"/>
                <a:gd name="T33" fmla="*/ 6 h 66"/>
                <a:gd name="T34" fmla="*/ 20 w 99"/>
                <a:gd name="T35" fmla="*/ 3 h 66"/>
                <a:gd name="T36" fmla="*/ 26 w 99"/>
                <a:gd name="T37" fmla="*/ 1 h 66"/>
                <a:gd name="T38" fmla="*/ 34 w 99"/>
                <a:gd name="T39" fmla="*/ 0 h 66"/>
                <a:gd name="T40" fmla="*/ 67 w 99"/>
                <a:gd name="T41" fmla="*/ 0 h 66"/>
                <a:gd name="T42" fmla="*/ 67 w 99"/>
                <a:gd name="T43" fmla="*/ 0 h 66"/>
                <a:gd name="T44" fmla="*/ 73 w 99"/>
                <a:gd name="T45" fmla="*/ 1 h 66"/>
                <a:gd name="T46" fmla="*/ 79 w 99"/>
                <a:gd name="T47" fmla="*/ 3 h 66"/>
                <a:gd name="T48" fmla="*/ 84 w 99"/>
                <a:gd name="T49" fmla="*/ 6 h 66"/>
                <a:gd name="T50" fmla="*/ 89 w 99"/>
                <a:gd name="T51" fmla="*/ 10 h 66"/>
                <a:gd name="T52" fmla="*/ 94 w 99"/>
                <a:gd name="T53" fmla="*/ 14 h 66"/>
                <a:gd name="T54" fmla="*/ 97 w 99"/>
                <a:gd name="T55" fmla="*/ 20 h 66"/>
                <a:gd name="T56" fmla="*/ 99 w 99"/>
                <a:gd name="T57" fmla="*/ 27 h 66"/>
                <a:gd name="T58" fmla="*/ 99 w 99"/>
                <a:gd name="T59" fmla="*/ 33 h 66"/>
                <a:gd name="T60" fmla="*/ 99 w 99"/>
                <a:gd name="T61" fmla="*/ 33 h 66"/>
                <a:gd name="T62" fmla="*/ 99 w 99"/>
                <a:gd name="T63" fmla="*/ 40 h 66"/>
                <a:gd name="T64" fmla="*/ 97 w 99"/>
                <a:gd name="T65" fmla="*/ 46 h 66"/>
                <a:gd name="T66" fmla="*/ 94 w 99"/>
                <a:gd name="T67" fmla="*/ 51 h 66"/>
                <a:gd name="T68" fmla="*/ 89 w 99"/>
                <a:gd name="T69" fmla="*/ 57 h 66"/>
                <a:gd name="T70" fmla="*/ 84 w 99"/>
                <a:gd name="T71" fmla="*/ 61 h 66"/>
                <a:gd name="T72" fmla="*/ 79 w 99"/>
                <a:gd name="T73" fmla="*/ 64 h 66"/>
                <a:gd name="T74" fmla="*/ 73 w 99"/>
                <a:gd name="T75" fmla="*/ 65 h 66"/>
                <a:gd name="T76" fmla="*/ 67 w 99"/>
                <a:gd name="T77" fmla="*/ 66 h 66"/>
                <a:gd name="T78" fmla="*/ 67 w 99"/>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9" h="66">
                  <a:moveTo>
                    <a:pt x="67" y="66"/>
                  </a:moveTo>
                  <a:lnTo>
                    <a:pt x="34" y="66"/>
                  </a:lnTo>
                  <a:lnTo>
                    <a:pt x="34" y="66"/>
                  </a:lnTo>
                  <a:lnTo>
                    <a:pt x="26" y="65"/>
                  </a:lnTo>
                  <a:lnTo>
                    <a:pt x="20" y="64"/>
                  </a:lnTo>
                  <a:lnTo>
                    <a:pt x="15" y="61"/>
                  </a:lnTo>
                  <a:lnTo>
                    <a:pt x="10" y="57"/>
                  </a:lnTo>
                  <a:lnTo>
                    <a:pt x="6" y="51"/>
                  </a:lnTo>
                  <a:lnTo>
                    <a:pt x="3" y="46"/>
                  </a:lnTo>
                  <a:lnTo>
                    <a:pt x="0" y="40"/>
                  </a:lnTo>
                  <a:lnTo>
                    <a:pt x="0" y="33"/>
                  </a:lnTo>
                  <a:lnTo>
                    <a:pt x="0" y="33"/>
                  </a:lnTo>
                  <a:lnTo>
                    <a:pt x="0" y="27"/>
                  </a:lnTo>
                  <a:lnTo>
                    <a:pt x="3" y="20"/>
                  </a:lnTo>
                  <a:lnTo>
                    <a:pt x="6" y="14"/>
                  </a:lnTo>
                  <a:lnTo>
                    <a:pt x="10" y="10"/>
                  </a:lnTo>
                  <a:lnTo>
                    <a:pt x="15" y="6"/>
                  </a:lnTo>
                  <a:lnTo>
                    <a:pt x="20" y="3"/>
                  </a:lnTo>
                  <a:lnTo>
                    <a:pt x="26" y="1"/>
                  </a:lnTo>
                  <a:lnTo>
                    <a:pt x="34" y="0"/>
                  </a:lnTo>
                  <a:lnTo>
                    <a:pt x="67" y="0"/>
                  </a:lnTo>
                  <a:lnTo>
                    <a:pt x="67" y="0"/>
                  </a:lnTo>
                  <a:lnTo>
                    <a:pt x="73" y="1"/>
                  </a:lnTo>
                  <a:lnTo>
                    <a:pt x="79" y="3"/>
                  </a:lnTo>
                  <a:lnTo>
                    <a:pt x="84" y="6"/>
                  </a:lnTo>
                  <a:lnTo>
                    <a:pt x="89" y="10"/>
                  </a:lnTo>
                  <a:lnTo>
                    <a:pt x="94" y="14"/>
                  </a:lnTo>
                  <a:lnTo>
                    <a:pt x="97" y="20"/>
                  </a:lnTo>
                  <a:lnTo>
                    <a:pt x="99" y="27"/>
                  </a:lnTo>
                  <a:lnTo>
                    <a:pt x="99" y="33"/>
                  </a:lnTo>
                  <a:lnTo>
                    <a:pt x="99" y="33"/>
                  </a:lnTo>
                  <a:lnTo>
                    <a:pt x="99" y="40"/>
                  </a:lnTo>
                  <a:lnTo>
                    <a:pt x="97" y="46"/>
                  </a:lnTo>
                  <a:lnTo>
                    <a:pt x="94" y="51"/>
                  </a:lnTo>
                  <a:lnTo>
                    <a:pt x="89" y="57"/>
                  </a:lnTo>
                  <a:lnTo>
                    <a:pt x="84" y="61"/>
                  </a:lnTo>
                  <a:lnTo>
                    <a:pt x="79" y="64"/>
                  </a:lnTo>
                  <a:lnTo>
                    <a:pt x="73" y="65"/>
                  </a:lnTo>
                  <a:lnTo>
                    <a:pt x="67" y="66"/>
                  </a:lnTo>
                  <a:lnTo>
                    <a:pt x="6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97" name="Freeform 23">
              <a:extLst>
                <a:ext uri="{FF2B5EF4-FFF2-40B4-BE49-F238E27FC236}">
                  <a16:creationId xmlns:a16="http://schemas.microsoft.com/office/drawing/2014/main" id="{AE3255A5-BB85-9B1F-4AEE-C4FFD5A8D3D3}"/>
                </a:ext>
              </a:extLst>
            </p:cNvPr>
            <p:cNvSpPr>
              <a:spLocks/>
            </p:cNvSpPr>
            <p:nvPr/>
          </p:nvSpPr>
          <p:spPr bwMode="auto">
            <a:xfrm>
              <a:off x="3494088" y="2424113"/>
              <a:ext cx="22225" cy="14288"/>
            </a:xfrm>
            <a:custGeom>
              <a:avLst/>
              <a:gdLst>
                <a:gd name="T0" fmla="*/ 67 w 99"/>
                <a:gd name="T1" fmla="*/ 67 h 67"/>
                <a:gd name="T2" fmla="*/ 34 w 99"/>
                <a:gd name="T3" fmla="*/ 67 h 67"/>
                <a:gd name="T4" fmla="*/ 34 w 99"/>
                <a:gd name="T5" fmla="*/ 67 h 67"/>
                <a:gd name="T6" fmla="*/ 26 w 99"/>
                <a:gd name="T7" fmla="*/ 66 h 67"/>
                <a:gd name="T8" fmla="*/ 20 w 99"/>
                <a:gd name="T9" fmla="*/ 64 h 67"/>
                <a:gd name="T10" fmla="*/ 15 w 99"/>
                <a:gd name="T11" fmla="*/ 60 h 67"/>
                <a:gd name="T12" fmla="*/ 10 w 99"/>
                <a:gd name="T13" fmla="*/ 56 h 67"/>
                <a:gd name="T14" fmla="*/ 6 w 99"/>
                <a:gd name="T15" fmla="*/ 52 h 67"/>
                <a:gd name="T16" fmla="*/ 3 w 99"/>
                <a:gd name="T17" fmla="*/ 46 h 67"/>
                <a:gd name="T18" fmla="*/ 0 w 99"/>
                <a:gd name="T19" fmla="*/ 40 h 67"/>
                <a:gd name="T20" fmla="*/ 0 w 99"/>
                <a:gd name="T21" fmla="*/ 34 h 67"/>
                <a:gd name="T22" fmla="*/ 0 w 99"/>
                <a:gd name="T23" fmla="*/ 34 h 67"/>
                <a:gd name="T24" fmla="*/ 0 w 99"/>
                <a:gd name="T25" fmla="*/ 26 h 67"/>
                <a:gd name="T26" fmla="*/ 3 w 99"/>
                <a:gd name="T27" fmla="*/ 20 h 67"/>
                <a:gd name="T28" fmla="*/ 6 w 99"/>
                <a:gd name="T29" fmla="*/ 15 h 67"/>
                <a:gd name="T30" fmla="*/ 10 w 99"/>
                <a:gd name="T31" fmla="*/ 10 h 67"/>
                <a:gd name="T32" fmla="*/ 15 w 99"/>
                <a:gd name="T33" fmla="*/ 6 h 67"/>
                <a:gd name="T34" fmla="*/ 20 w 99"/>
                <a:gd name="T35" fmla="*/ 3 h 67"/>
                <a:gd name="T36" fmla="*/ 26 w 99"/>
                <a:gd name="T37" fmla="*/ 1 h 67"/>
                <a:gd name="T38" fmla="*/ 34 w 99"/>
                <a:gd name="T39" fmla="*/ 0 h 67"/>
                <a:gd name="T40" fmla="*/ 67 w 99"/>
                <a:gd name="T41" fmla="*/ 0 h 67"/>
                <a:gd name="T42" fmla="*/ 67 w 99"/>
                <a:gd name="T43" fmla="*/ 0 h 67"/>
                <a:gd name="T44" fmla="*/ 73 w 99"/>
                <a:gd name="T45" fmla="*/ 1 h 67"/>
                <a:gd name="T46" fmla="*/ 79 w 99"/>
                <a:gd name="T47" fmla="*/ 3 h 67"/>
                <a:gd name="T48" fmla="*/ 84 w 99"/>
                <a:gd name="T49" fmla="*/ 6 h 67"/>
                <a:gd name="T50" fmla="*/ 89 w 99"/>
                <a:gd name="T51" fmla="*/ 10 h 67"/>
                <a:gd name="T52" fmla="*/ 94 w 99"/>
                <a:gd name="T53" fmla="*/ 15 h 67"/>
                <a:gd name="T54" fmla="*/ 97 w 99"/>
                <a:gd name="T55" fmla="*/ 20 h 67"/>
                <a:gd name="T56" fmla="*/ 99 w 99"/>
                <a:gd name="T57" fmla="*/ 26 h 67"/>
                <a:gd name="T58" fmla="*/ 99 w 99"/>
                <a:gd name="T59" fmla="*/ 34 h 67"/>
                <a:gd name="T60" fmla="*/ 99 w 99"/>
                <a:gd name="T61" fmla="*/ 34 h 67"/>
                <a:gd name="T62" fmla="*/ 99 w 99"/>
                <a:gd name="T63" fmla="*/ 40 h 67"/>
                <a:gd name="T64" fmla="*/ 97 w 99"/>
                <a:gd name="T65" fmla="*/ 46 h 67"/>
                <a:gd name="T66" fmla="*/ 94 w 99"/>
                <a:gd name="T67" fmla="*/ 52 h 67"/>
                <a:gd name="T68" fmla="*/ 89 w 99"/>
                <a:gd name="T69" fmla="*/ 56 h 67"/>
                <a:gd name="T70" fmla="*/ 84 w 99"/>
                <a:gd name="T71" fmla="*/ 60 h 67"/>
                <a:gd name="T72" fmla="*/ 79 w 99"/>
                <a:gd name="T73" fmla="*/ 64 h 67"/>
                <a:gd name="T74" fmla="*/ 73 w 99"/>
                <a:gd name="T75" fmla="*/ 66 h 67"/>
                <a:gd name="T76" fmla="*/ 67 w 99"/>
                <a:gd name="T77" fmla="*/ 67 h 67"/>
                <a:gd name="T78" fmla="*/ 67 w 99"/>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9" h="67">
                  <a:moveTo>
                    <a:pt x="67" y="67"/>
                  </a:moveTo>
                  <a:lnTo>
                    <a:pt x="34" y="67"/>
                  </a:lnTo>
                  <a:lnTo>
                    <a:pt x="34" y="67"/>
                  </a:lnTo>
                  <a:lnTo>
                    <a:pt x="26" y="66"/>
                  </a:lnTo>
                  <a:lnTo>
                    <a:pt x="20" y="64"/>
                  </a:lnTo>
                  <a:lnTo>
                    <a:pt x="15" y="60"/>
                  </a:lnTo>
                  <a:lnTo>
                    <a:pt x="10" y="56"/>
                  </a:lnTo>
                  <a:lnTo>
                    <a:pt x="6" y="52"/>
                  </a:lnTo>
                  <a:lnTo>
                    <a:pt x="3" y="46"/>
                  </a:lnTo>
                  <a:lnTo>
                    <a:pt x="0" y="40"/>
                  </a:lnTo>
                  <a:lnTo>
                    <a:pt x="0" y="34"/>
                  </a:lnTo>
                  <a:lnTo>
                    <a:pt x="0" y="34"/>
                  </a:lnTo>
                  <a:lnTo>
                    <a:pt x="0" y="26"/>
                  </a:lnTo>
                  <a:lnTo>
                    <a:pt x="3" y="20"/>
                  </a:lnTo>
                  <a:lnTo>
                    <a:pt x="6" y="15"/>
                  </a:lnTo>
                  <a:lnTo>
                    <a:pt x="10" y="10"/>
                  </a:lnTo>
                  <a:lnTo>
                    <a:pt x="15" y="6"/>
                  </a:lnTo>
                  <a:lnTo>
                    <a:pt x="20" y="3"/>
                  </a:lnTo>
                  <a:lnTo>
                    <a:pt x="26" y="1"/>
                  </a:lnTo>
                  <a:lnTo>
                    <a:pt x="34" y="0"/>
                  </a:lnTo>
                  <a:lnTo>
                    <a:pt x="67" y="0"/>
                  </a:lnTo>
                  <a:lnTo>
                    <a:pt x="67" y="0"/>
                  </a:lnTo>
                  <a:lnTo>
                    <a:pt x="73" y="1"/>
                  </a:lnTo>
                  <a:lnTo>
                    <a:pt x="79" y="3"/>
                  </a:lnTo>
                  <a:lnTo>
                    <a:pt x="84" y="6"/>
                  </a:lnTo>
                  <a:lnTo>
                    <a:pt x="89" y="10"/>
                  </a:lnTo>
                  <a:lnTo>
                    <a:pt x="94" y="15"/>
                  </a:lnTo>
                  <a:lnTo>
                    <a:pt x="97" y="20"/>
                  </a:lnTo>
                  <a:lnTo>
                    <a:pt x="99" y="26"/>
                  </a:lnTo>
                  <a:lnTo>
                    <a:pt x="99" y="34"/>
                  </a:lnTo>
                  <a:lnTo>
                    <a:pt x="99" y="34"/>
                  </a:lnTo>
                  <a:lnTo>
                    <a:pt x="99" y="40"/>
                  </a:lnTo>
                  <a:lnTo>
                    <a:pt x="97" y="46"/>
                  </a:lnTo>
                  <a:lnTo>
                    <a:pt x="94" y="52"/>
                  </a:lnTo>
                  <a:lnTo>
                    <a:pt x="89" y="56"/>
                  </a:lnTo>
                  <a:lnTo>
                    <a:pt x="84" y="60"/>
                  </a:lnTo>
                  <a:lnTo>
                    <a:pt x="79" y="64"/>
                  </a:lnTo>
                  <a:lnTo>
                    <a:pt x="73" y="66"/>
                  </a:lnTo>
                  <a:lnTo>
                    <a:pt x="67" y="67"/>
                  </a:lnTo>
                  <a:lnTo>
                    <a:pt x="67"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198" name="Group 197">
            <a:extLst>
              <a:ext uri="{FF2B5EF4-FFF2-40B4-BE49-F238E27FC236}">
                <a16:creationId xmlns:a16="http://schemas.microsoft.com/office/drawing/2014/main" id="{B88A70C5-49A1-F532-6C3A-D754938A7CCF}"/>
              </a:ext>
            </a:extLst>
          </p:cNvPr>
          <p:cNvGrpSpPr/>
          <p:nvPr/>
        </p:nvGrpSpPr>
        <p:grpSpPr>
          <a:xfrm>
            <a:off x="1138304" y="4412529"/>
            <a:ext cx="285750" cy="360363"/>
            <a:chOff x="3425825" y="2168525"/>
            <a:chExt cx="285750" cy="360363"/>
          </a:xfrm>
          <a:solidFill>
            <a:schemeClr val="bg1"/>
          </a:solidFill>
        </p:grpSpPr>
        <p:sp>
          <p:nvSpPr>
            <p:cNvPr id="199" name="Freeform 13">
              <a:extLst>
                <a:ext uri="{FF2B5EF4-FFF2-40B4-BE49-F238E27FC236}">
                  <a16:creationId xmlns:a16="http://schemas.microsoft.com/office/drawing/2014/main" id="{2E2CD44C-D34D-5A33-395E-965B163C5A1A}"/>
                </a:ext>
              </a:extLst>
            </p:cNvPr>
            <p:cNvSpPr>
              <a:spLocks/>
            </p:cNvSpPr>
            <p:nvPr/>
          </p:nvSpPr>
          <p:spPr bwMode="auto">
            <a:xfrm>
              <a:off x="3425825" y="2198688"/>
              <a:ext cx="285750" cy="330200"/>
            </a:xfrm>
            <a:custGeom>
              <a:avLst/>
              <a:gdLst>
                <a:gd name="T0" fmla="*/ 34 w 1257"/>
                <a:gd name="T1" fmla="*/ 1456 h 1456"/>
                <a:gd name="T2" fmla="*/ 27 w 1257"/>
                <a:gd name="T3" fmla="*/ 1456 h 1456"/>
                <a:gd name="T4" fmla="*/ 15 w 1257"/>
                <a:gd name="T5" fmla="*/ 1451 h 1456"/>
                <a:gd name="T6" fmla="*/ 6 w 1257"/>
                <a:gd name="T7" fmla="*/ 1442 h 1456"/>
                <a:gd name="T8" fmla="*/ 1 w 1257"/>
                <a:gd name="T9" fmla="*/ 1430 h 1456"/>
                <a:gd name="T10" fmla="*/ 0 w 1257"/>
                <a:gd name="T11" fmla="*/ 34 h 1456"/>
                <a:gd name="T12" fmla="*/ 1 w 1257"/>
                <a:gd name="T13" fmla="*/ 27 h 1456"/>
                <a:gd name="T14" fmla="*/ 6 w 1257"/>
                <a:gd name="T15" fmla="*/ 15 h 1456"/>
                <a:gd name="T16" fmla="*/ 15 w 1257"/>
                <a:gd name="T17" fmla="*/ 7 h 1456"/>
                <a:gd name="T18" fmla="*/ 27 w 1257"/>
                <a:gd name="T19" fmla="*/ 2 h 1456"/>
                <a:gd name="T20" fmla="*/ 166 w 1257"/>
                <a:gd name="T21" fmla="*/ 0 h 1456"/>
                <a:gd name="T22" fmla="*/ 172 w 1257"/>
                <a:gd name="T23" fmla="*/ 2 h 1456"/>
                <a:gd name="T24" fmla="*/ 185 w 1257"/>
                <a:gd name="T25" fmla="*/ 7 h 1456"/>
                <a:gd name="T26" fmla="*/ 193 w 1257"/>
                <a:gd name="T27" fmla="*/ 15 h 1456"/>
                <a:gd name="T28" fmla="*/ 198 w 1257"/>
                <a:gd name="T29" fmla="*/ 27 h 1456"/>
                <a:gd name="T30" fmla="*/ 199 w 1257"/>
                <a:gd name="T31" fmla="*/ 34 h 1456"/>
                <a:gd name="T32" fmla="*/ 196 w 1257"/>
                <a:gd name="T33" fmla="*/ 47 h 1456"/>
                <a:gd name="T34" fmla="*/ 189 w 1257"/>
                <a:gd name="T35" fmla="*/ 57 h 1456"/>
                <a:gd name="T36" fmla="*/ 178 w 1257"/>
                <a:gd name="T37" fmla="*/ 65 h 1456"/>
                <a:gd name="T38" fmla="*/ 166 w 1257"/>
                <a:gd name="T39" fmla="*/ 67 h 1456"/>
                <a:gd name="T40" fmla="*/ 67 w 1257"/>
                <a:gd name="T41" fmla="*/ 1390 h 1456"/>
                <a:gd name="T42" fmla="*/ 1190 w 1257"/>
                <a:gd name="T43" fmla="*/ 67 h 1456"/>
                <a:gd name="T44" fmla="*/ 1091 w 1257"/>
                <a:gd name="T45" fmla="*/ 67 h 1456"/>
                <a:gd name="T46" fmla="*/ 1079 w 1257"/>
                <a:gd name="T47" fmla="*/ 65 h 1456"/>
                <a:gd name="T48" fmla="*/ 1068 w 1257"/>
                <a:gd name="T49" fmla="*/ 57 h 1456"/>
                <a:gd name="T50" fmla="*/ 1061 w 1257"/>
                <a:gd name="T51" fmla="*/ 47 h 1456"/>
                <a:gd name="T52" fmla="*/ 1058 w 1257"/>
                <a:gd name="T53" fmla="*/ 34 h 1456"/>
                <a:gd name="T54" fmla="*/ 1059 w 1257"/>
                <a:gd name="T55" fmla="*/ 27 h 1456"/>
                <a:gd name="T56" fmla="*/ 1064 w 1257"/>
                <a:gd name="T57" fmla="*/ 15 h 1456"/>
                <a:gd name="T58" fmla="*/ 1074 w 1257"/>
                <a:gd name="T59" fmla="*/ 7 h 1456"/>
                <a:gd name="T60" fmla="*/ 1085 w 1257"/>
                <a:gd name="T61" fmla="*/ 2 h 1456"/>
                <a:gd name="T62" fmla="*/ 1224 w 1257"/>
                <a:gd name="T63" fmla="*/ 0 h 1456"/>
                <a:gd name="T64" fmla="*/ 1231 w 1257"/>
                <a:gd name="T65" fmla="*/ 2 h 1456"/>
                <a:gd name="T66" fmla="*/ 1242 w 1257"/>
                <a:gd name="T67" fmla="*/ 7 h 1456"/>
                <a:gd name="T68" fmla="*/ 1252 w 1257"/>
                <a:gd name="T69" fmla="*/ 15 h 1456"/>
                <a:gd name="T70" fmla="*/ 1257 w 1257"/>
                <a:gd name="T71" fmla="*/ 27 h 1456"/>
                <a:gd name="T72" fmla="*/ 1257 w 1257"/>
                <a:gd name="T73" fmla="*/ 1423 h 1456"/>
                <a:gd name="T74" fmla="*/ 1257 w 1257"/>
                <a:gd name="T75" fmla="*/ 1430 h 1456"/>
                <a:gd name="T76" fmla="*/ 1252 w 1257"/>
                <a:gd name="T77" fmla="*/ 1442 h 1456"/>
                <a:gd name="T78" fmla="*/ 1242 w 1257"/>
                <a:gd name="T79" fmla="*/ 1451 h 1456"/>
                <a:gd name="T80" fmla="*/ 1231 w 1257"/>
                <a:gd name="T81" fmla="*/ 1456 h 1456"/>
                <a:gd name="T82" fmla="*/ 1224 w 1257"/>
                <a:gd name="T83" fmla="*/ 1456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7" h="1456">
                  <a:moveTo>
                    <a:pt x="1224" y="1456"/>
                  </a:moveTo>
                  <a:lnTo>
                    <a:pt x="34" y="1456"/>
                  </a:lnTo>
                  <a:lnTo>
                    <a:pt x="34" y="1456"/>
                  </a:lnTo>
                  <a:lnTo>
                    <a:pt x="27" y="1456"/>
                  </a:lnTo>
                  <a:lnTo>
                    <a:pt x="21" y="1454"/>
                  </a:lnTo>
                  <a:lnTo>
                    <a:pt x="15" y="1451"/>
                  </a:lnTo>
                  <a:lnTo>
                    <a:pt x="10" y="1447"/>
                  </a:lnTo>
                  <a:lnTo>
                    <a:pt x="6" y="1442"/>
                  </a:lnTo>
                  <a:lnTo>
                    <a:pt x="4" y="1437"/>
                  </a:lnTo>
                  <a:lnTo>
                    <a:pt x="1" y="1430"/>
                  </a:lnTo>
                  <a:lnTo>
                    <a:pt x="0" y="1423"/>
                  </a:lnTo>
                  <a:lnTo>
                    <a:pt x="0" y="34"/>
                  </a:lnTo>
                  <a:lnTo>
                    <a:pt x="0" y="34"/>
                  </a:lnTo>
                  <a:lnTo>
                    <a:pt x="1" y="27"/>
                  </a:lnTo>
                  <a:lnTo>
                    <a:pt x="4" y="21"/>
                  </a:lnTo>
                  <a:lnTo>
                    <a:pt x="6" y="15"/>
                  </a:lnTo>
                  <a:lnTo>
                    <a:pt x="10" y="11"/>
                  </a:lnTo>
                  <a:lnTo>
                    <a:pt x="15" y="7"/>
                  </a:lnTo>
                  <a:lnTo>
                    <a:pt x="21" y="4"/>
                  </a:lnTo>
                  <a:lnTo>
                    <a:pt x="27" y="2"/>
                  </a:lnTo>
                  <a:lnTo>
                    <a:pt x="34" y="0"/>
                  </a:lnTo>
                  <a:lnTo>
                    <a:pt x="166" y="0"/>
                  </a:lnTo>
                  <a:lnTo>
                    <a:pt x="166" y="0"/>
                  </a:lnTo>
                  <a:lnTo>
                    <a:pt x="172" y="2"/>
                  </a:lnTo>
                  <a:lnTo>
                    <a:pt x="178" y="4"/>
                  </a:lnTo>
                  <a:lnTo>
                    <a:pt x="185" y="7"/>
                  </a:lnTo>
                  <a:lnTo>
                    <a:pt x="189" y="11"/>
                  </a:lnTo>
                  <a:lnTo>
                    <a:pt x="193" y="15"/>
                  </a:lnTo>
                  <a:lnTo>
                    <a:pt x="196" y="21"/>
                  </a:lnTo>
                  <a:lnTo>
                    <a:pt x="198" y="27"/>
                  </a:lnTo>
                  <a:lnTo>
                    <a:pt x="199" y="34"/>
                  </a:lnTo>
                  <a:lnTo>
                    <a:pt x="199" y="34"/>
                  </a:lnTo>
                  <a:lnTo>
                    <a:pt x="198" y="41"/>
                  </a:lnTo>
                  <a:lnTo>
                    <a:pt x="196" y="47"/>
                  </a:lnTo>
                  <a:lnTo>
                    <a:pt x="193" y="52"/>
                  </a:lnTo>
                  <a:lnTo>
                    <a:pt x="189" y="57"/>
                  </a:lnTo>
                  <a:lnTo>
                    <a:pt x="185" y="62"/>
                  </a:lnTo>
                  <a:lnTo>
                    <a:pt x="178" y="65"/>
                  </a:lnTo>
                  <a:lnTo>
                    <a:pt x="172" y="67"/>
                  </a:lnTo>
                  <a:lnTo>
                    <a:pt x="166" y="67"/>
                  </a:lnTo>
                  <a:lnTo>
                    <a:pt x="67" y="67"/>
                  </a:lnTo>
                  <a:lnTo>
                    <a:pt x="67" y="1390"/>
                  </a:lnTo>
                  <a:lnTo>
                    <a:pt x="1190" y="1390"/>
                  </a:lnTo>
                  <a:lnTo>
                    <a:pt x="1190" y="67"/>
                  </a:lnTo>
                  <a:lnTo>
                    <a:pt x="1091" y="67"/>
                  </a:lnTo>
                  <a:lnTo>
                    <a:pt x="1091" y="67"/>
                  </a:lnTo>
                  <a:lnTo>
                    <a:pt x="1085" y="67"/>
                  </a:lnTo>
                  <a:lnTo>
                    <a:pt x="1079" y="65"/>
                  </a:lnTo>
                  <a:lnTo>
                    <a:pt x="1074" y="62"/>
                  </a:lnTo>
                  <a:lnTo>
                    <a:pt x="1068" y="57"/>
                  </a:lnTo>
                  <a:lnTo>
                    <a:pt x="1064" y="52"/>
                  </a:lnTo>
                  <a:lnTo>
                    <a:pt x="1061" y="47"/>
                  </a:lnTo>
                  <a:lnTo>
                    <a:pt x="1059" y="41"/>
                  </a:lnTo>
                  <a:lnTo>
                    <a:pt x="1058" y="34"/>
                  </a:lnTo>
                  <a:lnTo>
                    <a:pt x="1058" y="34"/>
                  </a:lnTo>
                  <a:lnTo>
                    <a:pt x="1059" y="27"/>
                  </a:lnTo>
                  <a:lnTo>
                    <a:pt x="1061" y="21"/>
                  </a:lnTo>
                  <a:lnTo>
                    <a:pt x="1064" y="15"/>
                  </a:lnTo>
                  <a:lnTo>
                    <a:pt x="1068" y="11"/>
                  </a:lnTo>
                  <a:lnTo>
                    <a:pt x="1074" y="7"/>
                  </a:lnTo>
                  <a:lnTo>
                    <a:pt x="1079" y="4"/>
                  </a:lnTo>
                  <a:lnTo>
                    <a:pt x="1085" y="2"/>
                  </a:lnTo>
                  <a:lnTo>
                    <a:pt x="1091" y="0"/>
                  </a:lnTo>
                  <a:lnTo>
                    <a:pt x="1224" y="0"/>
                  </a:lnTo>
                  <a:lnTo>
                    <a:pt x="1224" y="0"/>
                  </a:lnTo>
                  <a:lnTo>
                    <a:pt x="1231" y="2"/>
                  </a:lnTo>
                  <a:lnTo>
                    <a:pt x="1237" y="4"/>
                  </a:lnTo>
                  <a:lnTo>
                    <a:pt x="1242" y="7"/>
                  </a:lnTo>
                  <a:lnTo>
                    <a:pt x="1247" y="11"/>
                  </a:lnTo>
                  <a:lnTo>
                    <a:pt x="1252" y="15"/>
                  </a:lnTo>
                  <a:lnTo>
                    <a:pt x="1255" y="21"/>
                  </a:lnTo>
                  <a:lnTo>
                    <a:pt x="1257" y="27"/>
                  </a:lnTo>
                  <a:lnTo>
                    <a:pt x="1257" y="34"/>
                  </a:lnTo>
                  <a:lnTo>
                    <a:pt x="1257" y="1423"/>
                  </a:lnTo>
                  <a:lnTo>
                    <a:pt x="1257" y="1423"/>
                  </a:lnTo>
                  <a:lnTo>
                    <a:pt x="1257" y="1430"/>
                  </a:lnTo>
                  <a:lnTo>
                    <a:pt x="1255" y="1437"/>
                  </a:lnTo>
                  <a:lnTo>
                    <a:pt x="1252" y="1442"/>
                  </a:lnTo>
                  <a:lnTo>
                    <a:pt x="1247" y="1447"/>
                  </a:lnTo>
                  <a:lnTo>
                    <a:pt x="1242" y="1451"/>
                  </a:lnTo>
                  <a:lnTo>
                    <a:pt x="1237" y="1454"/>
                  </a:lnTo>
                  <a:lnTo>
                    <a:pt x="1231" y="1456"/>
                  </a:lnTo>
                  <a:lnTo>
                    <a:pt x="1224" y="1456"/>
                  </a:lnTo>
                  <a:lnTo>
                    <a:pt x="1224" y="1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00" name="Freeform 14">
              <a:extLst>
                <a:ext uri="{FF2B5EF4-FFF2-40B4-BE49-F238E27FC236}">
                  <a16:creationId xmlns:a16="http://schemas.microsoft.com/office/drawing/2014/main" id="{7055EBBA-B618-8C14-671C-E13B731E2F3E}"/>
                </a:ext>
              </a:extLst>
            </p:cNvPr>
            <p:cNvSpPr>
              <a:spLocks noEditPoints="1"/>
            </p:cNvSpPr>
            <p:nvPr/>
          </p:nvSpPr>
          <p:spPr bwMode="auto">
            <a:xfrm>
              <a:off x="3486150" y="2168525"/>
              <a:ext cx="165100" cy="74613"/>
            </a:xfrm>
            <a:custGeom>
              <a:avLst/>
              <a:gdLst>
                <a:gd name="T0" fmla="*/ 33 w 728"/>
                <a:gd name="T1" fmla="*/ 330 h 330"/>
                <a:gd name="T2" fmla="*/ 15 w 728"/>
                <a:gd name="T3" fmla="*/ 325 h 330"/>
                <a:gd name="T4" fmla="*/ 2 w 728"/>
                <a:gd name="T5" fmla="*/ 311 h 330"/>
                <a:gd name="T6" fmla="*/ 0 w 728"/>
                <a:gd name="T7" fmla="*/ 165 h 330"/>
                <a:gd name="T8" fmla="*/ 2 w 728"/>
                <a:gd name="T9" fmla="*/ 152 h 330"/>
                <a:gd name="T10" fmla="*/ 15 w 728"/>
                <a:gd name="T11" fmla="*/ 138 h 330"/>
                <a:gd name="T12" fmla="*/ 33 w 728"/>
                <a:gd name="T13" fmla="*/ 131 h 330"/>
                <a:gd name="T14" fmla="*/ 205 w 728"/>
                <a:gd name="T15" fmla="*/ 118 h 330"/>
                <a:gd name="T16" fmla="*/ 222 w 728"/>
                <a:gd name="T17" fmla="*/ 80 h 330"/>
                <a:gd name="T18" fmla="*/ 248 w 728"/>
                <a:gd name="T19" fmla="*/ 47 h 330"/>
                <a:gd name="T20" fmla="*/ 282 w 728"/>
                <a:gd name="T21" fmla="*/ 22 h 330"/>
                <a:gd name="T22" fmla="*/ 320 w 728"/>
                <a:gd name="T23" fmla="*/ 5 h 330"/>
                <a:gd name="T24" fmla="*/ 364 w 728"/>
                <a:gd name="T25" fmla="*/ 0 h 330"/>
                <a:gd name="T26" fmla="*/ 393 w 728"/>
                <a:gd name="T27" fmla="*/ 2 h 330"/>
                <a:gd name="T28" fmla="*/ 434 w 728"/>
                <a:gd name="T29" fmla="*/ 16 h 330"/>
                <a:gd name="T30" fmla="*/ 469 w 728"/>
                <a:gd name="T31" fmla="*/ 37 h 330"/>
                <a:gd name="T32" fmla="*/ 497 w 728"/>
                <a:gd name="T33" fmla="*/ 67 h 330"/>
                <a:gd name="T34" fmla="*/ 518 w 728"/>
                <a:gd name="T35" fmla="*/ 105 h 330"/>
                <a:gd name="T36" fmla="*/ 695 w 728"/>
                <a:gd name="T37" fmla="*/ 131 h 330"/>
                <a:gd name="T38" fmla="*/ 707 w 728"/>
                <a:gd name="T39" fmla="*/ 135 h 330"/>
                <a:gd name="T40" fmla="*/ 722 w 728"/>
                <a:gd name="T41" fmla="*/ 146 h 330"/>
                <a:gd name="T42" fmla="*/ 728 w 728"/>
                <a:gd name="T43" fmla="*/ 165 h 330"/>
                <a:gd name="T44" fmla="*/ 727 w 728"/>
                <a:gd name="T45" fmla="*/ 304 h 330"/>
                <a:gd name="T46" fmla="*/ 717 w 728"/>
                <a:gd name="T47" fmla="*/ 321 h 330"/>
                <a:gd name="T48" fmla="*/ 701 w 728"/>
                <a:gd name="T49" fmla="*/ 329 h 330"/>
                <a:gd name="T50" fmla="*/ 67 w 728"/>
                <a:gd name="T51" fmla="*/ 264 h 330"/>
                <a:gd name="T52" fmla="*/ 496 w 728"/>
                <a:gd name="T53" fmla="*/ 198 h 330"/>
                <a:gd name="T54" fmla="*/ 483 w 728"/>
                <a:gd name="T55" fmla="*/ 196 h 330"/>
                <a:gd name="T56" fmla="*/ 468 w 728"/>
                <a:gd name="T57" fmla="*/ 183 h 330"/>
                <a:gd name="T58" fmla="*/ 463 w 728"/>
                <a:gd name="T59" fmla="*/ 165 h 330"/>
                <a:gd name="T60" fmla="*/ 461 w 728"/>
                <a:gd name="T61" fmla="*/ 145 h 330"/>
                <a:gd name="T62" fmla="*/ 450 w 728"/>
                <a:gd name="T63" fmla="*/ 118 h 330"/>
                <a:gd name="T64" fmla="*/ 434 w 728"/>
                <a:gd name="T65" fmla="*/ 95 h 330"/>
                <a:gd name="T66" fmla="*/ 411 w 728"/>
                <a:gd name="T67" fmla="*/ 78 h 330"/>
                <a:gd name="T68" fmla="*/ 383 w 728"/>
                <a:gd name="T69" fmla="*/ 67 h 330"/>
                <a:gd name="T70" fmla="*/ 364 w 728"/>
                <a:gd name="T71" fmla="*/ 65 h 330"/>
                <a:gd name="T72" fmla="*/ 335 w 728"/>
                <a:gd name="T73" fmla="*/ 70 h 330"/>
                <a:gd name="T74" fmla="*/ 309 w 728"/>
                <a:gd name="T75" fmla="*/ 83 h 330"/>
                <a:gd name="T76" fmla="*/ 287 w 728"/>
                <a:gd name="T77" fmla="*/ 101 h 330"/>
                <a:gd name="T78" fmla="*/ 272 w 728"/>
                <a:gd name="T79" fmla="*/ 126 h 330"/>
                <a:gd name="T80" fmla="*/ 265 w 728"/>
                <a:gd name="T81" fmla="*/ 155 h 330"/>
                <a:gd name="T82" fmla="*/ 264 w 728"/>
                <a:gd name="T83" fmla="*/ 172 h 330"/>
                <a:gd name="T84" fmla="*/ 255 w 728"/>
                <a:gd name="T85" fmla="*/ 188 h 330"/>
                <a:gd name="T86" fmla="*/ 238 w 728"/>
                <a:gd name="T87" fmla="*/ 198 h 330"/>
                <a:gd name="T88" fmla="*/ 67 w 728"/>
                <a:gd name="T89" fmla="*/ 26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8" h="330">
                  <a:moveTo>
                    <a:pt x="695" y="330"/>
                  </a:moveTo>
                  <a:lnTo>
                    <a:pt x="33" y="330"/>
                  </a:lnTo>
                  <a:lnTo>
                    <a:pt x="33" y="330"/>
                  </a:lnTo>
                  <a:lnTo>
                    <a:pt x="26" y="329"/>
                  </a:lnTo>
                  <a:lnTo>
                    <a:pt x="20" y="328"/>
                  </a:lnTo>
                  <a:lnTo>
                    <a:pt x="15" y="325"/>
                  </a:lnTo>
                  <a:lnTo>
                    <a:pt x="10" y="321"/>
                  </a:lnTo>
                  <a:lnTo>
                    <a:pt x="5" y="316"/>
                  </a:lnTo>
                  <a:lnTo>
                    <a:pt x="2" y="311"/>
                  </a:lnTo>
                  <a:lnTo>
                    <a:pt x="0" y="304"/>
                  </a:lnTo>
                  <a:lnTo>
                    <a:pt x="0" y="297"/>
                  </a:lnTo>
                  <a:lnTo>
                    <a:pt x="0" y="165"/>
                  </a:lnTo>
                  <a:lnTo>
                    <a:pt x="0" y="165"/>
                  </a:lnTo>
                  <a:lnTo>
                    <a:pt x="0" y="158"/>
                  </a:lnTo>
                  <a:lnTo>
                    <a:pt x="2" y="152"/>
                  </a:lnTo>
                  <a:lnTo>
                    <a:pt x="5" y="146"/>
                  </a:lnTo>
                  <a:lnTo>
                    <a:pt x="10" y="142"/>
                  </a:lnTo>
                  <a:lnTo>
                    <a:pt x="15" y="138"/>
                  </a:lnTo>
                  <a:lnTo>
                    <a:pt x="20" y="135"/>
                  </a:lnTo>
                  <a:lnTo>
                    <a:pt x="26" y="133"/>
                  </a:lnTo>
                  <a:lnTo>
                    <a:pt x="33" y="131"/>
                  </a:lnTo>
                  <a:lnTo>
                    <a:pt x="202" y="131"/>
                  </a:lnTo>
                  <a:lnTo>
                    <a:pt x="202" y="131"/>
                  </a:lnTo>
                  <a:lnTo>
                    <a:pt x="205" y="118"/>
                  </a:lnTo>
                  <a:lnTo>
                    <a:pt x="209" y="105"/>
                  </a:lnTo>
                  <a:lnTo>
                    <a:pt x="216" y="92"/>
                  </a:lnTo>
                  <a:lnTo>
                    <a:pt x="222" y="80"/>
                  </a:lnTo>
                  <a:lnTo>
                    <a:pt x="230" y="67"/>
                  </a:lnTo>
                  <a:lnTo>
                    <a:pt x="238" y="57"/>
                  </a:lnTo>
                  <a:lnTo>
                    <a:pt x="248" y="47"/>
                  </a:lnTo>
                  <a:lnTo>
                    <a:pt x="258" y="37"/>
                  </a:lnTo>
                  <a:lnTo>
                    <a:pt x="269" y="29"/>
                  </a:lnTo>
                  <a:lnTo>
                    <a:pt x="282" y="22"/>
                  </a:lnTo>
                  <a:lnTo>
                    <a:pt x="294" y="16"/>
                  </a:lnTo>
                  <a:lnTo>
                    <a:pt x="307" y="9"/>
                  </a:lnTo>
                  <a:lnTo>
                    <a:pt x="320" y="5"/>
                  </a:lnTo>
                  <a:lnTo>
                    <a:pt x="335" y="2"/>
                  </a:lnTo>
                  <a:lnTo>
                    <a:pt x="349" y="0"/>
                  </a:lnTo>
                  <a:lnTo>
                    <a:pt x="364" y="0"/>
                  </a:lnTo>
                  <a:lnTo>
                    <a:pt x="364" y="0"/>
                  </a:lnTo>
                  <a:lnTo>
                    <a:pt x="378" y="0"/>
                  </a:lnTo>
                  <a:lnTo>
                    <a:pt x="393" y="2"/>
                  </a:lnTo>
                  <a:lnTo>
                    <a:pt x="407" y="5"/>
                  </a:lnTo>
                  <a:lnTo>
                    <a:pt x="420" y="9"/>
                  </a:lnTo>
                  <a:lnTo>
                    <a:pt x="434" y="16"/>
                  </a:lnTo>
                  <a:lnTo>
                    <a:pt x="446" y="22"/>
                  </a:lnTo>
                  <a:lnTo>
                    <a:pt x="458" y="29"/>
                  </a:lnTo>
                  <a:lnTo>
                    <a:pt x="469" y="37"/>
                  </a:lnTo>
                  <a:lnTo>
                    <a:pt x="479" y="47"/>
                  </a:lnTo>
                  <a:lnTo>
                    <a:pt x="489" y="57"/>
                  </a:lnTo>
                  <a:lnTo>
                    <a:pt x="497" y="67"/>
                  </a:lnTo>
                  <a:lnTo>
                    <a:pt x="505" y="80"/>
                  </a:lnTo>
                  <a:lnTo>
                    <a:pt x="512" y="92"/>
                  </a:lnTo>
                  <a:lnTo>
                    <a:pt x="518" y="105"/>
                  </a:lnTo>
                  <a:lnTo>
                    <a:pt x="522" y="118"/>
                  </a:lnTo>
                  <a:lnTo>
                    <a:pt x="526" y="131"/>
                  </a:lnTo>
                  <a:lnTo>
                    <a:pt x="695" y="131"/>
                  </a:lnTo>
                  <a:lnTo>
                    <a:pt x="695" y="131"/>
                  </a:lnTo>
                  <a:lnTo>
                    <a:pt x="701" y="133"/>
                  </a:lnTo>
                  <a:lnTo>
                    <a:pt x="707" y="135"/>
                  </a:lnTo>
                  <a:lnTo>
                    <a:pt x="713" y="138"/>
                  </a:lnTo>
                  <a:lnTo>
                    <a:pt x="717" y="142"/>
                  </a:lnTo>
                  <a:lnTo>
                    <a:pt x="722" y="146"/>
                  </a:lnTo>
                  <a:lnTo>
                    <a:pt x="725" y="152"/>
                  </a:lnTo>
                  <a:lnTo>
                    <a:pt x="727" y="158"/>
                  </a:lnTo>
                  <a:lnTo>
                    <a:pt x="728" y="165"/>
                  </a:lnTo>
                  <a:lnTo>
                    <a:pt x="728" y="297"/>
                  </a:lnTo>
                  <a:lnTo>
                    <a:pt x="728" y="297"/>
                  </a:lnTo>
                  <a:lnTo>
                    <a:pt x="727" y="304"/>
                  </a:lnTo>
                  <a:lnTo>
                    <a:pt x="725" y="311"/>
                  </a:lnTo>
                  <a:lnTo>
                    <a:pt x="722" y="316"/>
                  </a:lnTo>
                  <a:lnTo>
                    <a:pt x="717" y="321"/>
                  </a:lnTo>
                  <a:lnTo>
                    <a:pt x="713" y="325"/>
                  </a:lnTo>
                  <a:lnTo>
                    <a:pt x="707" y="328"/>
                  </a:lnTo>
                  <a:lnTo>
                    <a:pt x="701" y="329"/>
                  </a:lnTo>
                  <a:lnTo>
                    <a:pt x="695" y="330"/>
                  </a:lnTo>
                  <a:lnTo>
                    <a:pt x="695" y="330"/>
                  </a:lnTo>
                  <a:close/>
                  <a:moveTo>
                    <a:pt x="67" y="264"/>
                  </a:moveTo>
                  <a:lnTo>
                    <a:pt x="662" y="264"/>
                  </a:lnTo>
                  <a:lnTo>
                    <a:pt x="662" y="198"/>
                  </a:lnTo>
                  <a:lnTo>
                    <a:pt x="496" y="198"/>
                  </a:lnTo>
                  <a:lnTo>
                    <a:pt x="496" y="198"/>
                  </a:lnTo>
                  <a:lnTo>
                    <a:pt x="489" y="198"/>
                  </a:lnTo>
                  <a:lnTo>
                    <a:pt x="483" y="196"/>
                  </a:lnTo>
                  <a:lnTo>
                    <a:pt x="477" y="193"/>
                  </a:lnTo>
                  <a:lnTo>
                    <a:pt x="472" y="188"/>
                  </a:lnTo>
                  <a:lnTo>
                    <a:pt x="468" y="183"/>
                  </a:lnTo>
                  <a:lnTo>
                    <a:pt x="465" y="178"/>
                  </a:lnTo>
                  <a:lnTo>
                    <a:pt x="464" y="172"/>
                  </a:lnTo>
                  <a:lnTo>
                    <a:pt x="463" y="165"/>
                  </a:lnTo>
                  <a:lnTo>
                    <a:pt x="463" y="165"/>
                  </a:lnTo>
                  <a:lnTo>
                    <a:pt x="462" y="155"/>
                  </a:lnTo>
                  <a:lnTo>
                    <a:pt x="461" y="145"/>
                  </a:lnTo>
                  <a:lnTo>
                    <a:pt x="459" y="136"/>
                  </a:lnTo>
                  <a:lnTo>
                    <a:pt x="455" y="126"/>
                  </a:lnTo>
                  <a:lnTo>
                    <a:pt x="450" y="118"/>
                  </a:lnTo>
                  <a:lnTo>
                    <a:pt x="446" y="110"/>
                  </a:lnTo>
                  <a:lnTo>
                    <a:pt x="440" y="101"/>
                  </a:lnTo>
                  <a:lnTo>
                    <a:pt x="434" y="95"/>
                  </a:lnTo>
                  <a:lnTo>
                    <a:pt x="427" y="88"/>
                  </a:lnTo>
                  <a:lnTo>
                    <a:pt x="419" y="83"/>
                  </a:lnTo>
                  <a:lnTo>
                    <a:pt x="411" y="78"/>
                  </a:lnTo>
                  <a:lnTo>
                    <a:pt x="402" y="74"/>
                  </a:lnTo>
                  <a:lnTo>
                    <a:pt x="394" y="70"/>
                  </a:lnTo>
                  <a:lnTo>
                    <a:pt x="383" y="67"/>
                  </a:lnTo>
                  <a:lnTo>
                    <a:pt x="374" y="66"/>
                  </a:lnTo>
                  <a:lnTo>
                    <a:pt x="364" y="65"/>
                  </a:lnTo>
                  <a:lnTo>
                    <a:pt x="364" y="65"/>
                  </a:lnTo>
                  <a:lnTo>
                    <a:pt x="353" y="66"/>
                  </a:lnTo>
                  <a:lnTo>
                    <a:pt x="344" y="67"/>
                  </a:lnTo>
                  <a:lnTo>
                    <a:pt x="335" y="70"/>
                  </a:lnTo>
                  <a:lnTo>
                    <a:pt x="325" y="74"/>
                  </a:lnTo>
                  <a:lnTo>
                    <a:pt x="316" y="78"/>
                  </a:lnTo>
                  <a:lnTo>
                    <a:pt x="309" y="83"/>
                  </a:lnTo>
                  <a:lnTo>
                    <a:pt x="300" y="88"/>
                  </a:lnTo>
                  <a:lnTo>
                    <a:pt x="293" y="95"/>
                  </a:lnTo>
                  <a:lnTo>
                    <a:pt x="287" y="101"/>
                  </a:lnTo>
                  <a:lnTo>
                    <a:pt x="282" y="110"/>
                  </a:lnTo>
                  <a:lnTo>
                    <a:pt x="277" y="118"/>
                  </a:lnTo>
                  <a:lnTo>
                    <a:pt x="272" y="126"/>
                  </a:lnTo>
                  <a:lnTo>
                    <a:pt x="269" y="136"/>
                  </a:lnTo>
                  <a:lnTo>
                    <a:pt x="266" y="145"/>
                  </a:lnTo>
                  <a:lnTo>
                    <a:pt x="265" y="155"/>
                  </a:lnTo>
                  <a:lnTo>
                    <a:pt x="264" y="165"/>
                  </a:lnTo>
                  <a:lnTo>
                    <a:pt x="264" y="165"/>
                  </a:lnTo>
                  <a:lnTo>
                    <a:pt x="264" y="172"/>
                  </a:lnTo>
                  <a:lnTo>
                    <a:pt x="262" y="178"/>
                  </a:lnTo>
                  <a:lnTo>
                    <a:pt x="259" y="183"/>
                  </a:lnTo>
                  <a:lnTo>
                    <a:pt x="255" y="188"/>
                  </a:lnTo>
                  <a:lnTo>
                    <a:pt x="250" y="193"/>
                  </a:lnTo>
                  <a:lnTo>
                    <a:pt x="245" y="196"/>
                  </a:lnTo>
                  <a:lnTo>
                    <a:pt x="238" y="198"/>
                  </a:lnTo>
                  <a:lnTo>
                    <a:pt x="231" y="198"/>
                  </a:lnTo>
                  <a:lnTo>
                    <a:pt x="67" y="198"/>
                  </a:lnTo>
                  <a:lnTo>
                    <a:pt x="67"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01" name="Freeform 15">
              <a:extLst>
                <a:ext uri="{FF2B5EF4-FFF2-40B4-BE49-F238E27FC236}">
                  <a16:creationId xmlns:a16="http://schemas.microsoft.com/office/drawing/2014/main" id="{F2E2C7B1-BBD1-7C31-1793-5BCE81FBDDCC}"/>
                </a:ext>
              </a:extLst>
            </p:cNvPr>
            <p:cNvSpPr>
              <a:spLocks/>
            </p:cNvSpPr>
            <p:nvPr/>
          </p:nvSpPr>
          <p:spPr bwMode="auto">
            <a:xfrm>
              <a:off x="3455988" y="2228850"/>
              <a:ext cx="225425" cy="269875"/>
            </a:xfrm>
            <a:custGeom>
              <a:avLst/>
              <a:gdLst>
                <a:gd name="T0" fmla="*/ 958 w 991"/>
                <a:gd name="T1" fmla="*/ 1191 h 1191"/>
                <a:gd name="T2" fmla="*/ 33 w 991"/>
                <a:gd name="T3" fmla="*/ 1191 h 1191"/>
                <a:gd name="T4" fmla="*/ 33 w 991"/>
                <a:gd name="T5" fmla="*/ 1191 h 1191"/>
                <a:gd name="T6" fmla="*/ 26 w 991"/>
                <a:gd name="T7" fmla="*/ 1191 h 1191"/>
                <a:gd name="T8" fmla="*/ 20 w 991"/>
                <a:gd name="T9" fmla="*/ 1189 h 1191"/>
                <a:gd name="T10" fmla="*/ 14 w 991"/>
                <a:gd name="T11" fmla="*/ 1186 h 1191"/>
                <a:gd name="T12" fmla="*/ 9 w 991"/>
                <a:gd name="T13" fmla="*/ 1181 h 1191"/>
                <a:gd name="T14" fmla="*/ 5 w 991"/>
                <a:gd name="T15" fmla="*/ 1176 h 1191"/>
                <a:gd name="T16" fmla="*/ 2 w 991"/>
                <a:gd name="T17" fmla="*/ 1171 h 1191"/>
                <a:gd name="T18" fmla="*/ 0 w 991"/>
                <a:gd name="T19" fmla="*/ 1165 h 1191"/>
                <a:gd name="T20" fmla="*/ 0 w 991"/>
                <a:gd name="T21" fmla="*/ 1159 h 1191"/>
                <a:gd name="T22" fmla="*/ 0 w 991"/>
                <a:gd name="T23" fmla="*/ 33 h 1191"/>
                <a:gd name="T24" fmla="*/ 0 w 991"/>
                <a:gd name="T25" fmla="*/ 33 h 1191"/>
                <a:gd name="T26" fmla="*/ 0 w 991"/>
                <a:gd name="T27" fmla="*/ 27 h 1191"/>
                <a:gd name="T28" fmla="*/ 2 w 991"/>
                <a:gd name="T29" fmla="*/ 21 h 1191"/>
                <a:gd name="T30" fmla="*/ 5 w 991"/>
                <a:gd name="T31" fmla="*/ 15 h 1191"/>
                <a:gd name="T32" fmla="*/ 9 w 991"/>
                <a:gd name="T33" fmla="*/ 10 h 1191"/>
                <a:gd name="T34" fmla="*/ 14 w 991"/>
                <a:gd name="T35" fmla="*/ 6 h 1191"/>
                <a:gd name="T36" fmla="*/ 20 w 991"/>
                <a:gd name="T37" fmla="*/ 3 h 1191"/>
                <a:gd name="T38" fmla="*/ 26 w 991"/>
                <a:gd name="T39" fmla="*/ 1 h 1191"/>
                <a:gd name="T40" fmla="*/ 33 w 991"/>
                <a:gd name="T41" fmla="*/ 0 h 1191"/>
                <a:gd name="T42" fmla="*/ 33 w 991"/>
                <a:gd name="T43" fmla="*/ 0 h 1191"/>
                <a:gd name="T44" fmla="*/ 39 w 991"/>
                <a:gd name="T45" fmla="*/ 1 h 1191"/>
                <a:gd name="T46" fmla="*/ 45 w 991"/>
                <a:gd name="T47" fmla="*/ 3 h 1191"/>
                <a:gd name="T48" fmla="*/ 52 w 991"/>
                <a:gd name="T49" fmla="*/ 6 h 1191"/>
                <a:gd name="T50" fmla="*/ 56 w 991"/>
                <a:gd name="T51" fmla="*/ 10 h 1191"/>
                <a:gd name="T52" fmla="*/ 60 w 991"/>
                <a:gd name="T53" fmla="*/ 15 h 1191"/>
                <a:gd name="T54" fmla="*/ 63 w 991"/>
                <a:gd name="T55" fmla="*/ 21 h 1191"/>
                <a:gd name="T56" fmla="*/ 65 w 991"/>
                <a:gd name="T57" fmla="*/ 27 h 1191"/>
                <a:gd name="T58" fmla="*/ 66 w 991"/>
                <a:gd name="T59" fmla="*/ 33 h 1191"/>
                <a:gd name="T60" fmla="*/ 66 w 991"/>
                <a:gd name="T61" fmla="*/ 1126 h 1191"/>
                <a:gd name="T62" fmla="*/ 925 w 991"/>
                <a:gd name="T63" fmla="*/ 1126 h 1191"/>
                <a:gd name="T64" fmla="*/ 925 w 991"/>
                <a:gd name="T65" fmla="*/ 33 h 1191"/>
                <a:gd name="T66" fmla="*/ 925 w 991"/>
                <a:gd name="T67" fmla="*/ 33 h 1191"/>
                <a:gd name="T68" fmla="*/ 926 w 991"/>
                <a:gd name="T69" fmla="*/ 27 h 1191"/>
                <a:gd name="T70" fmla="*/ 928 w 991"/>
                <a:gd name="T71" fmla="*/ 21 h 1191"/>
                <a:gd name="T72" fmla="*/ 931 w 991"/>
                <a:gd name="T73" fmla="*/ 15 h 1191"/>
                <a:gd name="T74" fmla="*/ 935 w 991"/>
                <a:gd name="T75" fmla="*/ 10 h 1191"/>
                <a:gd name="T76" fmla="*/ 941 w 991"/>
                <a:gd name="T77" fmla="*/ 6 h 1191"/>
                <a:gd name="T78" fmla="*/ 946 w 991"/>
                <a:gd name="T79" fmla="*/ 3 h 1191"/>
                <a:gd name="T80" fmla="*/ 952 w 991"/>
                <a:gd name="T81" fmla="*/ 1 h 1191"/>
                <a:gd name="T82" fmla="*/ 958 w 991"/>
                <a:gd name="T83" fmla="*/ 0 h 1191"/>
                <a:gd name="T84" fmla="*/ 958 w 991"/>
                <a:gd name="T85" fmla="*/ 0 h 1191"/>
                <a:gd name="T86" fmla="*/ 965 w 991"/>
                <a:gd name="T87" fmla="*/ 1 h 1191"/>
                <a:gd name="T88" fmla="*/ 972 w 991"/>
                <a:gd name="T89" fmla="*/ 3 h 1191"/>
                <a:gd name="T90" fmla="*/ 977 w 991"/>
                <a:gd name="T91" fmla="*/ 6 h 1191"/>
                <a:gd name="T92" fmla="*/ 982 w 991"/>
                <a:gd name="T93" fmla="*/ 10 h 1191"/>
                <a:gd name="T94" fmla="*/ 986 w 991"/>
                <a:gd name="T95" fmla="*/ 15 h 1191"/>
                <a:gd name="T96" fmla="*/ 989 w 991"/>
                <a:gd name="T97" fmla="*/ 21 h 1191"/>
                <a:gd name="T98" fmla="*/ 991 w 991"/>
                <a:gd name="T99" fmla="*/ 27 h 1191"/>
                <a:gd name="T100" fmla="*/ 991 w 991"/>
                <a:gd name="T101" fmla="*/ 33 h 1191"/>
                <a:gd name="T102" fmla="*/ 991 w 991"/>
                <a:gd name="T103" fmla="*/ 1159 h 1191"/>
                <a:gd name="T104" fmla="*/ 991 w 991"/>
                <a:gd name="T105" fmla="*/ 1159 h 1191"/>
                <a:gd name="T106" fmla="*/ 991 w 991"/>
                <a:gd name="T107" fmla="*/ 1165 h 1191"/>
                <a:gd name="T108" fmla="*/ 989 w 991"/>
                <a:gd name="T109" fmla="*/ 1171 h 1191"/>
                <a:gd name="T110" fmla="*/ 986 w 991"/>
                <a:gd name="T111" fmla="*/ 1176 h 1191"/>
                <a:gd name="T112" fmla="*/ 982 w 991"/>
                <a:gd name="T113" fmla="*/ 1181 h 1191"/>
                <a:gd name="T114" fmla="*/ 977 w 991"/>
                <a:gd name="T115" fmla="*/ 1186 h 1191"/>
                <a:gd name="T116" fmla="*/ 972 w 991"/>
                <a:gd name="T117" fmla="*/ 1189 h 1191"/>
                <a:gd name="T118" fmla="*/ 965 w 991"/>
                <a:gd name="T119" fmla="*/ 1191 h 1191"/>
                <a:gd name="T120" fmla="*/ 958 w 991"/>
                <a:gd name="T121" fmla="*/ 1191 h 1191"/>
                <a:gd name="T122" fmla="*/ 958 w 991"/>
                <a:gd name="T123" fmla="*/ 119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1" h="1191">
                  <a:moveTo>
                    <a:pt x="958" y="1191"/>
                  </a:moveTo>
                  <a:lnTo>
                    <a:pt x="33" y="1191"/>
                  </a:lnTo>
                  <a:lnTo>
                    <a:pt x="33" y="1191"/>
                  </a:lnTo>
                  <a:lnTo>
                    <a:pt x="26" y="1191"/>
                  </a:lnTo>
                  <a:lnTo>
                    <a:pt x="20" y="1189"/>
                  </a:lnTo>
                  <a:lnTo>
                    <a:pt x="14" y="1186"/>
                  </a:lnTo>
                  <a:lnTo>
                    <a:pt x="9" y="1181"/>
                  </a:lnTo>
                  <a:lnTo>
                    <a:pt x="5" y="1176"/>
                  </a:lnTo>
                  <a:lnTo>
                    <a:pt x="2" y="1171"/>
                  </a:lnTo>
                  <a:lnTo>
                    <a:pt x="0" y="1165"/>
                  </a:lnTo>
                  <a:lnTo>
                    <a:pt x="0" y="1159"/>
                  </a:lnTo>
                  <a:lnTo>
                    <a:pt x="0" y="33"/>
                  </a:lnTo>
                  <a:lnTo>
                    <a:pt x="0" y="33"/>
                  </a:lnTo>
                  <a:lnTo>
                    <a:pt x="0" y="27"/>
                  </a:lnTo>
                  <a:lnTo>
                    <a:pt x="2" y="21"/>
                  </a:lnTo>
                  <a:lnTo>
                    <a:pt x="5" y="15"/>
                  </a:lnTo>
                  <a:lnTo>
                    <a:pt x="9" y="10"/>
                  </a:lnTo>
                  <a:lnTo>
                    <a:pt x="14" y="6"/>
                  </a:lnTo>
                  <a:lnTo>
                    <a:pt x="20" y="3"/>
                  </a:lnTo>
                  <a:lnTo>
                    <a:pt x="26" y="1"/>
                  </a:lnTo>
                  <a:lnTo>
                    <a:pt x="33" y="0"/>
                  </a:lnTo>
                  <a:lnTo>
                    <a:pt x="33" y="0"/>
                  </a:lnTo>
                  <a:lnTo>
                    <a:pt x="39" y="1"/>
                  </a:lnTo>
                  <a:lnTo>
                    <a:pt x="45" y="3"/>
                  </a:lnTo>
                  <a:lnTo>
                    <a:pt x="52" y="6"/>
                  </a:lnTo>
                  <a:lnTo>
                    <a:pt x="56" y="10"/>
                  </a:lnTo>
                  <a:lnTo>
                    <a:pt x="60" y="15"/>
                  </a:lnTo>
                  <a:lnTo>
                    <a:pt x="63" y="21"/>
                  </a:lnTo>
                  <a:lnTo>
                    <a:pt x="65" y="27"/>
                  </a:lnTo>
                  <a:lnTo>
                    <a:pt x="66" y="33"/>
                  </a:lnTo>
                  <a:lnTo>
                    <a:pt x="66" y="1126"/>
                  </a:lnTo>
                  <a:lnTo>
                    <a:pt x="925" y="1126"/>
                  </a:lnTo>
                  <a:lnTo>
                    <a:pt x="925" y="33"/>
                  </a:lnTo>
                  <a:lnTo>
                    <a:pt x="925" y="33"/>
                  </a:lnTo>
                  <a:lnTo>
                    <a:pt x="926" y="27"/>
                  </a:lnTo>
                  <a:lnTo>
                    <a:pt x="928" y="21"/>
                  </a:lnTo>
                  <a:lnTo>
                    <a:pt x="931" y="15"/>
                  </a:lnTo>
                  <a:lnTo>
                    <a:pt x="935" y="10"/>
                  </a:lnTo>
                  <a:lnTo>
                    <a:pt x="941" y="6"/>
                  </a:lnTo>
                  <a:lnTo>
                    <a:pt x="946" y="3"/>
                  </a:lnTo>
                  <a:lnTo>
                    <a:pt x="952" y="1"/>
                  </a:lnTo>
                  <a:lnTo>
                    <a:pt x="958" y="0"/>
                  </a:lnTo>
                  <a:lnTo>
                    <a:pt x="958" y="0"/>
                  </a:lnTo>
                  <a:lnTo>
                    <a:pt x="965" y="1"/>
                  </a:lnTo>
                  <a:lnTo>
                    <a:pt x="972" y="3"/>
                  </a:lnTo>
                  <a:lnTo>
                    <a:pt x="977" y="6"/>
                  </a:lnTo>
                  <a:lnTo>
                    <a:pt x="982" y="10"/>
                  </a:lnTo>
                  <a:lnTo>
                    <a:pt x="986" y="15"/>
                  </a:lnTo>
                  <a:lnTo>
                    <a:pt x="989" y="21"/>
                  </a:lnTo>
                  <a:lnTo>
                    <a:pt x="991" y="27"/>
                  </a:lnTo>
                  <a:lnTo>
                    <a:pt x="991" y="33"/>
                  </a:lnTo>
                  <a:lnTo>
                    <a:pt x="991" y="1159"/>
                  </a:lnTo>
                  <a:lnTo>
                    <a:pt x="991" y="1159"/>
                  </a:lnTo>
                  <a:lnTo>
                    <a:pt x="991" y="1165"/>
                  </a:lnTo>
                  <a:lnTo>
                    <a:pt x="989" y="1171"/>
                  </a:lnTo>
                  <a:lnTo>
                    <a:pt x="986" y="1176"/>
                  </a:lnTo>
                  <a:lnTo>
                    <a:pt x="982" y="1181"/>
                  </a:lnTo>
                  <a:lnTo>
                    <a:pt x="977" y="1186"/>
                  </a:lnTo>
                  <a:lnTo>
                    <a:pt x="972" y="1189"/>
                  </a:lnTo>
                  <a:lnTo>
                    <a:pt x="965" y="1191"/>
                  </a:lnTo>
                  <a:lnTo>
                    <a:pt x="958" y="1191"/>
                  </a:lnTo>
                  <a:lnTo>
                    <a:pt x="958" y="1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02" name="Freeform 16">
              <a:extLst>
                <a:ext uri="{FF2B5EF4-FFF2-40B4-BE49-F238E27FC236}">
                  <a16:creationId xmlns:a16="http://schemas.microsoft.com/office/drawing/2014/main" id="{5AE102BD-BDDE-CB14-07D7-D2D2647DB385}"/>
                </a:ext>
              </a:extLst>
            </p:cNvPr>
            <p:cNvSpPr>
              <a:spLocks/>
            </p:cNvSpPr>
            <p:nvPr/>
          </p:nvSpPr>
          <p:spPr bwMode="auto">
            <a:xfrm>
              <a:off x="3530600" y="2289175"/>
              <a:ext cx="106363" cy="14288"/>
            </a:xfrm>
            <a:custGeom>
              <a:avLst/>
              <a:gdLst>
                <a:gd name="T0" fmla="*/ 430 w 464"/>
                <a:gd name="T1" fmla="*/ 66 h 66"/>
                <a:gd name="T2" fmla="*/ 33 w 464"/>
                <a:gd name="T3" fmla="*/ 66 h 66"/>
                <a:gd name="T4" fmla="*/ 33 w 464"/>
                <a:gd name="T5" fmla="*/ 66 h 66"/>
                <a:gd name="T6" fmla="*/ 27 w 464"/>
                <a:gd name="T7" fmla="*/ 65 h 66"/>
                <a:gd name="T8" fmla="*/ 21 w 464"/>
                <a:gd name="T9" fmla="*/ 63 h 66"/>
                <a:gd name="T10" fmla="*/ 14 w 464"/>
                <a:gd name="T11" fmla="*/ 60 h 66"/>
                <a:gd name="T12" fmla="*/ 10 w 464"/>
                <a:gd name="T13" fmla="*/ 56 h 66"/>
                <a:gd name="T14" fmla="*/ 6 w 464"/>
                <a:gd name="T15" fmla="*/ 52 h 66"/>
                <a:gd name="T16" fmla="*/ 3 w 464"/>
                <a:gd name="T17" fmla="*/ 46 h 66"/>
                <a:gd name="T18" fmla="*/ 1 w 464"/>
                <a:gd name="T19" fmla="*/ 39 h 66"/>
                <a:gd name="T20" fmla="*/ 0 w 464"/>
                <a:gd name="T21" fmla="*/ 33 h 66"/>
                <a:gd name="T22" fmla="*/ 0 w 464"/>
                <a:gd name="T23" fmla="*/ 33 h 66"/>
                <a:gd name="T24" fmla="*/ 1 w 464"/>
                <a:gd name="T25" fmla="*/ 26 h 66"/>
                <a:gd name="T26" fmla="*/ 3 w 464"/>
                <a:gd name="T27" fmla="*/ 20 h 66"/>
                <a:gd name="T28" fmla="*/ 6 w 464"/>
                <a:gd name="T29" fmla="*/ 15 h 66"/>
                <a:gd name="T30" fmla="*/ 10 w 464"/>
                <a:gd name="T31" fmla="*/ 9 h 66"/>
                <a:gd name="T32" fmla="*/ 14 w 464"/>
                <a:gd name="T33" fmla="*/ 5 h 66"/>
                <a:gd name="T34" fmla="*/ 21 w 464"/>
                <a:gd name="T35" fmla="*/ 2 h 66"/>
                <a:gd name="T36" fmla="*/ 27 w 464"/>
                <a:gd name="T37" fmla="*/ 0 h 66"/>
                <a:gd name="T38" fmla="*/ 33 w 464"/>
                <a:gd name="T39" fmla="*/ 0 h 66"/>
                <a:gd name="T40" fmla="*/ 430 w 464"/>
                <a:gd name="T41" fmla="*/ 0 h 66"/>
                <a:gd name="T42" fmla="*/ 430 w 464"/>
                <a:gd name="T43" fmla="*/ 0 h 66"/>
                <a:gd name="T44" fmla="*/ 437 w 464"/>
                <a:gd name="T45" fmla="*/ 0 h 66"/>
                <a:gd name="T46" fmla="*/ 443 w 464"/>
                <a:gd name="T47" fmla="*/ 2 h 66"/>
                <a:gd name="T48" fmla="*/ 449 w 464"/>
                <a:gd name="T49" fmla="*/ 5 h 66"/>
                <a:gd name="T50" fmla="*/ 453 w 464"/>
                <a:gd name="T51" fmla="*/ 9 h 66"/>
                <a:gd name="T52" fmla="*/ 457 w 464"/>
                <a:gd name="T53" fmla="*/ 15 h 66"/>
                <a:gd name="T54" fmla="*/ 460 w 464"/>
                <a:gd name="T55" fmla="*/ 20 h 66"/>
                <a:gd name="T56" fmla="*/ 463 w 464"/>
                <a:gd name="T57" fmla="*/ 26 h 66"/>
                <a:gd name="T58" fmla="*/ 464 w 464"/>
                <a:gd name="T59" fmla="*/ 33 h 66"/>
                <a:gd name="T60" fmla="*/ 464 w 464"/>
                <a:gd name="T61" fmla="*/ 33 h 66"/>
                <a:gd name="T62" fmla="*/ 463 w 464"/>
                <a:gd name="T63" fmla="*/ 39 h 66"/>
                <a:gd name="T64" fmla="*/ 460 w 464"/>
                <a:gd name="T65" fmla="*/ 46 h 66"/>
                <a:gd name="T66" fmla="*/ 457 w 464"/>
                <a:gd name="T67" fmla="*/ 52 h 66"/>
                <a:gd name="T68" fmla="*/ 453 w 464"/>
                <a:gd name="T69" fmla="*/ 56 h 66"/>
                <a:gd name="T70" fmla="*/ 449 w 464"/>
                <a:gd name="T71" fmla="*/ 60 h 66"/>
                <a:gd name="T72" fmla="*/ 443 w 464"/>
                <a:gd name="T73" fmla="*/ 63 h 66"/>
                <a:gd name="T74" fmla="*/ 437 w 464"/>
                <a:gd name="T75" fmla="*/ 65 h 66"/>
                <a:gd name="T76" fmla="*/ 430 w 464"/>
                <a:gd name="T77" fmla="*/ 66 h 66"/>
                <a:gd name="T78" fmla="*/ 430 w 464"/>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4" h="66">
                  <a:moveTo>
                    <a:pt x="430" y="66"/>
                  </a:moveTo>
                  <a:lnTo>
                    <a:pt x="33" y="66"/>
                  </a:lnTo>
                  <a:lnTo>
                    <a:pt x="33" y="66"/>
                  </a:lnTo>
                  <a:lnTo>
                    <a:pt x="27" y="65"/>
                  </a:lnTo>
                  <a:lnTo>
                    <a:pt x="21" y="63"/>
                  </a:lnTo>
                  <a:lnTo>
                    <a:pt x="14" y="60"/>
                  </a:lnTo>
                  <a:lnTo>
                    <a:pt x="10" y="56"/>
                  </a:lnTo>
                  <a:lnTo>
                    <a:pt x="6" y="52"/>
                  </a:lnTo>
                  <a:lnTo>
                    <a:pt x="3" y="46"/>
                  </a:lnTo>
                  <a:lnTo>
                    <a:pt x="1" y="39"/>
                  </a:lnTo>
                  <a:lnTo>
                    <a:pt x="0" y="33"/>
                  </a:lnTo>
                  <a:lnTo>
                    <a:pt x="0" y="33"/>
                  </a:lnTo>
                  <a:lnTo>
                    <a:pt x="1" y="26"/>
                  </a:lnTo>
                  <a:lnTo>
                    <a:pt x="3" y="20"/>
                  </a:lnTo>
                  <a:lnTo>
                    <a:pt x="6" y="15"/>
                  </a:lnTo>
                  <a:lnTo>
                    <a:pt x="10" y="9"/>
                  </a:lnTo>
                  <a:lnTo>
                    <a:pt x="14" y="5"/>
                  </a:lnTo>
                  <a:lnTo>
                    <a:pt x="21" y="2"/>
                  </a:lnTo>
                  <a:lnTo>
                    <a:pt x="27" y="0"/>
                  </a:lnTo>
                  <a:lnTo>
                    <a:pt x="33" y="0"/>
                  </a:lnTo>
                  <a:lnTo>
                    <a:pt x="430" y="0"/>
                  </a:lnTo>
                  <a:lnTo>
                    <a:pt x="430" y="0"/>
                  </a:lnTo>
                  <a:lnTo>
                    <a:pt x="437" y="0"/>
                  </a:lnTo>
                  <a:lnTo>
                    <a:pt x="443" y="2"/>
                  </a:lnTo>
                  <a:lnTo>
                    <a:pt x="449" y="5"/>
                  </a:lnTo>
                  <a:lnTo>
                    <a:pt x="453" y="9"/>
                  </a:lnTo>
                  <a:lnTo>
                    <a:pt x="457" y="15"/>
                  </a:lnTo>
                  <a:lnTo>
                    <a:pt x="460" y="20"/>
                  </a:lnTo>
                  <a:lnTo>
                    <a:pt x="463" y="26"/>
                  </a:lnTo>
                  <a:lnTo>
                    <a:pt x="464" y="33"/>
                  </a:lnTo>
                  <a:lnTo>
                    <a:pt x="464" y="33"/>
                  </a:lnTo>
                  <a:lnTo>
                    <a:pt x="463" y="39"/>
                  </a:lnTo>
                  <a:lnTo>
                    <a:pt x="460" y="46"/>
                  </a:lnTo>
                  <a:lnTo>
                    <a:pt x="457" y="52"/>
                  </a:lnTo>
                  <a:lnTo>
                    <a:pt x="453" y="56"/>
                  </a:lnTo>
                  <a:lnTo>
                    <a:pt x="449" y="60"/>
                  </a:lnTo>
                  <a:lnTo>
                    <a:pt x="443" y="63"/>
                  </a:lnTo>
                  <a:lnTo>
                    <a:pt x="437" y="65"/>
                  </a:lnTo>
                  <a:lnTo>
                    <a:pt x="430" y="66"/>
                  </a:lnTo>
                  <a:lnTo>
                    <a:pt x="43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03" name="Freeform 17">
              <a:extLst>
                <a:ext uri="{FF2B5EF4-FFF2-40B4-BE49-F238E27FC236}">
                  <a16:creationId xmlns:a16="http://schemas.microsoft.com/office/drawing/2014/main" id="{725C142F-5DC7-325F-6328-FE2405D64DE7}"/>
                </a:ext>
              </a:extLst>
            </p:cNvPr>
            <p:cNvSpPr>
              <a:spLocks/>
            </p:cNvSpPr>
            <p:nvPr/>
          </p:nvSpPr>
          <p:spPr bwMode="auto">
            <a:xfrm>
              <a:off x="3530600" y="2333625"/>
              <a:ext cx="106363" cy="14288"/>
            </a:xfrm>
            <a:custGeom>
              <a:avLst/>
              <a:gdLst>
                <a:gd name="T0" fmla="*/ 430 w 464"/>
                <a:gd name="T1" fmla="*/ 65 h 65"/>
                <a:gd name="T2" fmla="*/ 33 w 464"/>
                <a:gd name="T3" fmla="*/ 65 h 65"/>
                <a:gd name="T4" fmla="*/ 33 w 464"/>
                <a:gd name="T5" fmla="*/ 65 h 65"/>
                <a:gd name="T6" fmla="*/ 27 w 464"/>
                <a:gd name="T7" fmla="*/ 65 h 65"/>
                <a:gd name="T8" fmla="*/ 21 w 464"/>
                <a:gd name="T9" fmla="*/ 63 h 65"/>
                <a:gd name="T10" fmla="*/ 14 w 464"/>
                <a:gd name="T11" fmla="*/ 60 h 65"/>
                <a:gd name="T12" fmla="*/ 10 w 464"/>
                <a:gd name="T13" fmla="*/ 56 h 65"/>
                <a:gd name="T14" fmla="*/ 6 w 464"/>
                <a:gd name="T15" fmla="*/ 51 h 65"/>
                <a:gd name="T16" fmla="*/ 3 w 464"/>
                <a:gd name="T17" fmla="*/ 45 h 65"/>
                <a:gd name="T18" fmla="*/ 1 w 464"/>
                <a:gd name="T19" fmla="*/ 39 h 65"/>
                <a:gd name="T20" fmla="*/ 0 w 464"/>
                <a:gd name="T21" fmla="*/ 32 h 65"/>
                <a:gd name="T22" fmla="*/ 0 w 464"/>
                <a:gd name="T23" fmla="*/ 32 h 65"/>
                <a:gd name="T24" fmla="*/ 1 w 464"/>
                <a:gd name="T25" fmla="*/ 26 h 65"/>
                <a:gd name="T26" fmla="*/ 3 w 464"/>
                <a:gd name="T27" fmla="*/ 20 h 65"/>
                <a:gd name="T28" fmla="*/ 6 w 464"/>
                <a:gd name="T29" fmla="*/ 14 h 65"/>
                <a:gd name="T30" fmla="*/ 10 w 464"/>
                <a:gd name="T31" fmla="*/ 9 h 65"/>
                <a:gd name="T32" fmla="*/ 14 w 464"/>
                <a:gd name="T33" fmla="*/ 5 h 65"/>
                <a:gd name="T34" fmla="*/ 21 w 464"/>
                <a:gd name="T35" fmla="*/ 2 h 65"/>
                <a:gd name="T36" fmla="*/ 27 w 464"/>
                <a:gd name="T37" fmla="*/ 0 h 65"/>
                <a:gd name="T38" fmla="*/ 33 w 464"/>
                <a:gd name="T39" fmla="*/ 0 h 65"/>
                <a:gd name="T40" fmla="*/ 430 w 464"/>
                <a:gd name="T41" fmla="*/ 0 h 65"/>
                <a:gd name="T42" fmla="*/ 430 w 464"/>
                <a:gd name="T43" fmla="*/ 0 h 65"/>
                <a:gd name="T44" fmla="*/ 437 w 464"/>
                <a:gd name="T45" fmla="*/ 0 h 65"/>
                <a:gd name="T46" fmla="*/ 443 w 464"/>
                <a:gd name="T47" fmla="*/ 2 h 65"/>
                <a:gd name="T48" fmla="*/ 449 w 464"/>
                <a:gd name="T49" fmla="*/ 5 h 65"/>
                <a:gd name="T50" fmla="*/ 453 w 464"/>
                <a:gd name="T51" fmla="*/ 9 h 65"/>
                <a:gd name="T52" fmla="*/ 457 w 464"/>
                <a:gd name="T53" fmla="*/ 14 h 65"/>
                <a:gd name="T54" fmla="*/ 460 w 464"/>
                <a:gd name="T55" fmla="*/ 20 h 65"/>
                <a:gd name="T56" fmla="*/ 463 w 464"/>
                <a:gd name="T57" fmla="*/ 26 h 65"/>
                <a:gd name="T58" fmla="*/ 464 w 464"/>
                <a:gd name="T59" fmla="*/ 32 h 65"/>
                <a:gd name="T60" fmla="*/ 464 w 464"/>
                <a:gd name="T61" fmla="*/ 32 h 65"/>
                <a:gd name="T62" fmla="*/ 463 w 464"/>
                <a:gd name="T63" fmla="*/ 39 h 65"/>
                <a:gd name="T64" fmla="*/ 460 w 464"/>
                <a:gd name="T65" fmla="*/ 45 h 65"/>
                <a:gd name="T66" fmla="*/ 457 w 464"/>
                <a:gd name="T67" fmla="*/ 51 h 65"/>
                <a:gd name="T68" fmla="*/ 453 w 464"/>
                <a:gd name="T69" fmla="*/ 56 h 65"/>
                <a:gd name="T70" fmla="*/ 449 w 464"/>
                <a:gd name="T71" fmla="*/ 60 h 65"/>
                <a:gd name="T72" fmla="*/ 443 w 464"/>
                <a:gd name="T73" fmla="*/ 63 h 65"/>
                <a:gd name="T74" fmla="*/ 437 w 464"/>
                <a:gd name="T75" fmla="*/ 65 h 65"/>
                <a:gd name="T76" fmla="*/ 430 w 464"/>
                <a:gd name="T77" fmla="*/ 65 h 65"/>
                <a:gd name="T78" fmla="*/ 430 w 464"/>
                <a:gd name="T7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4" h="65">
                  <a:moveTo>
                    <a:pt x="430" y="65"/>
                  </a:moveTo>
                  <a:lnTo>
                    <a:pt x="33" y="65"/>
                  </a:lnTo>
                  <a:lnTo>
                    <a:pt x="33" y="65"/>
                  </a:lnTo>
                  <a:lnTo>
                    <a:pt x="27" y="65"/>
                  </a:lnTo>
                  <a:lnTo>
                    <a:pt x="21" y="63"/>
                  </a:lnTo>
                  <a:lnTo>
                    <a:pt x="14" y="60"/>
                  </a:lnTo>
                  <a:lnTo>
                    <a:pt x="10" y="56"/>
                  </a:lnTo>
                  <a:lnTo>
                    <a:pt x="6" y="51"/>
                  </a:lnTo>
                  <a:lnTo>
                    <a:pt x="3" y="45"/>
                  </a:lnTo>
                  <a:lnTo>
                    <a:pt x="1" y="39"/>
                  </a:lnTo>
                  <a:lnTo>
                    <a:pt x="0" y="32"/>
                  </a:lnTo>
                  <a:lnTo>
                    <a:pt x="0" y="32"/>
                  </a:lnTo>
                  <a:lnTo>
                    <a:pt x="1" y="26"/>
                  </a:lnTo>
                  <a:lnTo>
                    <a:pt x="3" y="20"/>
                  </a:lnTo>
                  <a:lnTo>
                    <a:pt x="6" y="14"/>
                  </a:lnTo>
                  <a:lnTo>
                    <a:pt x="10" y="9"/>
                  </a:lnTo>
                  <a:lnTo>
                    <a:pt x="14" y="5"/>
                  </a:lnTo>
                  <a:lnTo>
                    <a:pt x="21" y="2"/>
                  </a:lnTo>
                  <a:lnTo>
                    <a:pt x="27" y="0"/>
                  </a:lnTo>
                  <a:lnTo>
                    <a:pt x="33" y="0"/>
                  </a:lnTo>
                  <a:lnTo>
                    <a:pt x="430" y="0"/>
                  </a:lnTo>
                  <a:lnTo>
                    <a:pt x="430" y="0"/>
                  </a:lnTo>
                  <a:lnTo>
                    <a:pt x="437" y="0"/>
                  </a:lnTo>
                  <a:lnTo>
                    <a:pt x="443" y="2"/>
                  </a:lnTo>
                  <a:lnTo>
                    <a:pt x="449" y="5"/>
                  </a:lnTo>
                  <a:lnTo>
                    <a:pt x="453" y="9"/>
                  </a:lnTo>
                  <a:lnTo>
                    <a:pt x="457" y="14"/>
                  </a:lnTo>
                  <a:lnTo>
                    <a:pt x="460" y="20"/>
                  </a:lnTo>
                  <a:lnTo>
                    <a:pt x="463" y="26"/>
                  </a:lnTo>
                  <a:lnTo>
                    <a:pt x="464" y="32"/>
                  </a:lnTo>
                  <a:lnTo>
                    <a:pt x="464" y="32"/>
                  </a:lnTo>
                  <a:lnTo>
                    <a:pt x="463" y="39"/>
                  </a:lnTo>
                  <a:lnTo>
                    <a:pt x="460" y="45"/>
                  </a:lnTo>
                  <a:lnTo>
                    <a:pt x="457" y="51"/>
                  </a:lnTo>
                  <a:lnTo>
                    <a:pt x="453" y="56"/>
                  </a:lnTo>
                  <a:lnTo>
                    <a:pt x="449" y="60"/>
                  </a:lnTo>
                  <a:lnTo>
                    <a:pt x="443" y="63"/>
                  </a:lnTo>
                  <a:lnTo>
                    <a:pt x="437" y="65"/>
                  </a:lnTo>
                  <a:lnTo>
                    <a:pt x="430" y="65"/>
                  </a:lnTo>
                  <a:lnTo>
                    <a:pt x="430"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04" name="Freeform 18">
              <a:extLst>
                <a:ext uri="{FF2B5EF4-FFF2-40B4-BE49-F238E27FC236}">
                  <a16:creationId xmlns:a16="http://schemas.microsoft.com/office/drawing/2014/main" id="{0FB7E705-C958-0D9F-E0BC-41DC1685A34A}"/>
                </a:ext>
              </a:extLst>
            </p:cNvPr>
            <p:cNvSpPr>
              <a:spLocks/>
            </p:cNvSpPr>
            <p:nvPr/>
          </p:nvSpPr>
          <p:spPr bwMode="auto">
            <a:xfrm>
              <a:off x="3530600" y="2378075"/>
              <a:ext cx="106363" cy="15875"/>
            </a:xfrm>
            <a:custGeom>
              <a:avLst/>
              <a:gdLst>
                <a:gd name="T0" fmla="*/ 430 w 464"/>
                <a:gd name="T1" fmla="*/ 66 h 66"/>
                <a:gd name="T2" fmla="*/ 33 w 464"/>
                <a:gd name="T3" fmla="*/ 66 h 66"/>
                <a:gd name="T4" fmla="*/ 33 w 464"/>
                <a:gd name="T5" fmla="*/ 66 h 66"/>
                <a:gd name="T6" fmla="*/ 27 w 464"/>
                <a:gd name="T7" fmla="*/ 65 h 66"/>
                <a:gd name="T8" fmla="*/ 21 w 464"/>
                <a:gd name="T9" fmla="*/ 64 h 66"/>
                <a:gd name="T10" fmla="*/ 14 w 464"/>
                <a:gd name="T11" fmla="*/ 61 h 66"/>
                <a:gd name="T12" fmla="*/ 10 w 464"/>
                <a:gd name="T13" fmla="*/ 57 h 66"/>
                <a:gd name="T14" fmla="*/ 6 w 464"/>
                <a:gd name="T15" fmla="*/ 51 h 66"/>
                <a:gd name="T16" fmla="*/ 3 w 464"/>
                <a:gd name="T17" fmla="*/ 46 h 66"/>
                <a:gd name="T18" fmla="*/ 1 w 464"/>
                <a:gd name="T19" fmla="*/ 40 h 66"/>
                <a:gd name="T20" fmla="*/ 0 w 464"/>
                <a:gd name="T21" fmla="*/ 33 h 66"/>
                <a:gd name="T22" fmla="*/ 0 w 464"/>
                <a:gd name="T23" fmla="*/ 33 h 66"/>
                <a:gd name="T24" fmla="*/ 1 w 464"/>
                <a:gd name="T25" fmla="*/ 27 h 66"/>
                <a:gd name="T26" fmla="*/ 3 w 464"/>
                <a:gd name="T27" fmla="*/ 20 h 66"/>
                <a:gd name="T28" fmla="*/ 6 w 464"/>
                <a:gd name="T29" fmla="*/ 14 h 66"/>
                <a:gd name="T30" fmla="*/ 10 w 464"/>
                <a:gd name="T31" fmla="*/ 10 h 66"/>
                <a:gd name="T32" fmla="*/ 14 w 464"/>
                <a:gd name="T33" fmla="*/ 6 h 66"/>
                <a:gd name="T34" fmla="*/ 21 w 464"/>
                <a:gd name="T35" fmla="*/ 3 h 66"/>
                <a:gd name="T36" fmla="*/ 27 w 464"/>
                <a:gd name="T37" fmla="*/ 1 h 66"/>
                <a:gd name="T38" fmla="*/ 33 w 464"/>
                <a:gd name="T39" fmla="*/ 0 h 66"/>
                <a:gd name="T40" fmla="*/ 430 w 464"/>
                <a:gd name="T41" fmla="*/ 0 h 66"/>
                <a:gd name="T42" fmla="*/ 430 w 464"/>
                <a:gd name="T43" fmla="*/ 0 h 66"/>
                <a:gd name="T44" fmla="*/ 437 w 464"/>
                <a:gd name="T45" fmla="*/ 1 h 66"/>
                <a:gd name="T46" fmla="*/ 443 w 464"/>
                <a:gd name="T47" fmla="*/ 3 h 66"/>
                <a:gd name="T48" fmla="*/ 449 w 464"/>
                <a:gd name="T49" fmla="*/ 6 h 66"/>
                <a:gd name="T50" fmla="*/ 453 w 464"/>
                <a:gd name="T51" fmla="*/ 10 h 66"/>
                <a:gd name="T52" fmla="*/ 457 w 464"/>
                <a:gd name="T53" fmla="*/ 14 h 66"/>
                <a:gd name="T54" fmla="*/ 460 w 464"/>
                <a:gd name="T55" fmla="*/ 20 h 66"/>
                <a:gd name="T56" fmla="*/ 463 w 464"/>
                <a:gd name="T57" fmla="*/ 27 h 66"/>
                <a:gd name="T58" fmla="*/ 464 w 464"/>
                <a:gd name="T59" fmla="*/ 33 h 66"/>
                <a:gd name="T60" fmla="*/ 464 w 464"/>
                <a:gd name="T61" fmla="*/ 33 h 66"/>
                <a:gd name="T62" fmla="*/ 463 w 464"/>
                <a:gd name="T63" fmla="*/ 40 h 66"/>
                <a:gd name="T64" fmla="*/ 460 w 464"/>
                <a:gd name="T65" fmla="*/ 46 h 66"/>
                <a:gd name="T66" fmla="*/ 457 w 464"/>
                <a:gd name="T67" fmla="*/ 51 h 66"/>
                <a:gd name="T68" fmla="*/ 453 w 464"/>
                <a:gd name="T69" fmla="*/ 57 h 66"/>
                <a:gd name="T70" fmla="*/ 449 w 464"/>
                <a:gd name="T71" fmla="*/ 61 h 66"/>
                <a:gd name="T72" fmla="*/ 443 w 464"/>
                <a:gd name="T73" fmla="*/ 64 h 66"/>
                <a:gd name="T74" fmla="*/ 437 w 464"/>
                <a:gd name="T75" fmla="*/ 65 h 66"/>
                <a:gd name="T76" fmla="*/ 430 w 464"/>
                <a:gd name="T77" fmla="*/ 66 h 66"/>
                <a:gd name="T78" fmla="*/ 430 w 464"/>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4" h="66">
                  <a:moveTo>
                    <a:pt x="430" y="66"/>
                  </a:moveTo>
                  <a:lnTo>
                    <a:pt x="33" y="66"/>
                  </a:lnTo>
                  <a:lnTo>
                    <a:pt x="33" y="66"/>
                  </a:lnTo>
                  <a:lnTo>
                    <a:pt x="27" y="65"/>
                  </a:lnTo>
                  <a:lnTo>
                    <a:pt x="21" y="64"/>
                  </a:lnTo>
                  <a:lnTo>
                    <a:pt x="14" y="61"/>
                  </a:lnTo>
                  <a:lnTo>
                    <a:pt x="10" y="57"/>
                  </a:lnTo>
                  <a:lnTo>
                    <a:pt x="6" y="51"/>
                  </a:lnTo>
                  <a:lnTo>
                    <a:pt x="3" y="46"/>
                  </a:lnTo>
                  <a:lnTo>
                    <a:pt x="1" y="40"/>
                  </a:lnTo>
                  <a:lnTo>
                    <a:pt x="0" y="33"/>
                  </a:lnTo>
                  <a:lnTo>
                    <a:pt x="0" y="33"/>
                  </a:lnTo>
                  <a:lnTo>
                    <a:pt x="1" y="27"/>
                  </a:lnTo>
                  <a:lnTo>
                    <a:pt x="3" y="20"/>
                  </a:lnTo>
                  <a:lnTo>
                    <a:pt x="6" y="14"/>
                  </a:lnTo>
                  <a:lnTo>
                    <a:pt x="10" y="10"/>
                  </a:lnTo>
                  <a:lnTo>
                    <a:pt x="14" y="6"/>
                  </a:lnTo>
                  <a:lnTo>
                    <a:pt x="21" y="3"/>
                  </a:lnTo>
                  <a:lnTo>
                    <a:pt x="27" y="1"/>
                  </a:lnTo>
                  <a:lnTo>
                    <a:pt x="33" y="0"/>
                  </a:lnTo>
                  <a:lnTo>
                    <a:pt x="430" y="0"/>
                  </a:lnTo>
                  <a:lnTo>
                    <a:pt x="430" y="0"/>
                  </a:lnTo>
                  <a:lnTo>
                    <a:pt x="437" y="1"/>
                  </a:lnTo>
                  <a:lnTo>
                    <a:pt x="443" y="3"/>
                  </a:lnTo>
                  <a:lnTo>
                    <a:pt x="449" y="6"/>
                  </a:lnTo>
                  <a:lnTo>
                    <a:pt x="453" y="10"/>
                  </a:lnTo>
                  <a:lnTo>
                    <a:pt x="457" y="14"/>
                  </a:lnTo>
                  <a:lnTo>
                    <a:pt x="460" y="20"/>
                  </a:lnTo>
                  <a:lnTo>
                    <a:pt x="463" y="27"/>
                  </a:lnTo>
                  <a:lnTo>
                    <a:pt x="464" y="33"/>
                  </a:lnTo>
                  <a:lnTo>
                    <a:pt x="464" y="33"/>
                  </a:lnTo>
                  <a:lnTo>
                    <a:pt x="463" y="40"/>
                  </a:lnTo>
                  <a:lnTo>
                    <a:pt x="460" y="46"/>
                  </a:lnTo>
                  <a:lnTo>
                    <a:pt x="457" y="51"/>
                  </a:lnTo>
                  <a:lnTo>
                    <a:pt x="453" y="57"/>
                  </a:lnTo>
                  <a:lnTo>
                    <a:pt x="449" y="61"/>
                  </a:lnTo>
                  <a:lnTo>
                    <a:pt x="443" y="64"/>
                  </a:lnTo>
                  <a:lnTo>
                    <a:pt x="437" y="65"/>
                  </a:lnTo>
                  <a:lnTo>
                    <a:pt x="430" y="66"/>
                  </a:lnTo>
                  <a:lnTo>
                    <a:pt x="43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05" name="Freeform 19">
              <a:extLst>
                <a:ext uri="{FF2B5EF4-FFF2-40B4-BE49-F238E27FC236}">
                  <a16:creationId xmlns:a16="http://schemas.microsoft.com/office/drawing/2014/main" id="{16BAA656-E566-1B96-A87A-165CD1F4EA98}"/>
                </a:ext>
              </a:extLst>
            </p:cNvPr>
            <p:cNvSpPr>
              <a:spLocks/>
            </p:cNvSpPr>
            <p:nvPr/>
          </p:nvSpPr>
          <p:spPr bwMode="auto">
            <a:xfrm>
              <a:off x="3530600" y="2424113"/>
              <a:ext cx="106363" cy="14288"/>
            </a:xfrm>
            <a:custGeom>
              <a:avLst/>
              <a:gdLst>
                <a:gd name="T0" fmla="*/ 430 w 464"/>
                <a:gd name="T1" fmla="*/ 67 h 67"/>
                <a:gd name="T2" fmla="*/ 33 w 464"/>
                <a:gd name="T3" fmla="*/ 67 h 67"/>
                <a:gd name="T4" fmla="*/ 33 w 464"/>
                <a:gd name="T5" fmla="*/ 67 h 67"/>
                <a:gd name="T6" fmla="*/ 27 w 464"/>
                <a:gd name="T7" fmla="*/ 66 h 67"/>
                <a:gd name="T8" fmla="*/ 21 w 464"/>
                <a:gd name="T9" fmla="*/ 64 h 67"/>
                <a:gd name="T10" fmla="*/ 14 w 464"/>
                <a:gd name="T11" fmla="*/ 60 h 67"/>
                <a:gd name="T12" fmla="*/ 10 w 464"/>
                <a:gd name="T13" fmla="*/ 56 h 67"/>
                <a:gd name="T14" fmla="*/ 6 w 464"/>
                <a:gd name="T15" fmla="*/ 52 h 67"/>
                <a:gd name="T16" fmla="*/ 3 w 464"/>
                <a:gd name="T17" fmla="*/ 46 h 67"/>
                <a:gd name="T18" fmla="*/ 1 w 464"/>
                <a:gd name="T19" fmla="*/ 40 h 67"/>
                <a:gd name="T20" fmla="*/ 0 w 464"/>
                <a:gd name="T21" fmla="*/ 34 h 67"/>
                <a:gd name="T22" fmla="*/ 0 w 464"/>
                <a:gd name="T23" fmla="*/ 34 h 67"/>
                <a:gd name="T24" fmla="*/ 1 w 464"/>
                <a:gd name="T25" fmla="*/ 26 h 67"/>
                <a:gd name="T26" fmla="*/ 3 w 464"/>
                <a:gd name="T27" fmla="*/ 20 h 67"/>
                <a:gd name="T28" fmla="*/ 6 w 464"/>
                <a:gd name="T29" fmla="*/ 15 h 67"/>
                <a:gd name="T30" fmla="*/ 10 w 464"/>
                <a:gd name="T31" fmla="*/ 10 h 67"/>
                <a:gd name="T32" fmla="*/ 14 w 464"/>
                <a:gd name="T33" fmla="*/ 6 h 67"/>
                <a:gd name="T34" fmla="*/ 21 w 464"/>
                <a:gd name="T35" fmla="*/ 3 h 67"/>
                <a:gd name="T36" fmla="*/ 27 w 464"/>
                <a:gd name="T37" fmla="*/ 1 h 67"/>
                <a:gd name="T38" fmla="*/ 33 w 464"/>
                <a:gd name="T39" fmla="*/ 0 h 67"/>
                <a:gd name="T40" fmla="*/ 430 w 464"/>
                <a:gd name="T41" fmla="*/ 0 h 67"/>
                <a:gd name="T42" fmla="*/ 430 w 464"/>
                <a:gd name="T43" fmla="*/ 0 h 67"/>
                <a:gd name="T44" fmla="*/ 437 w 464"/>
                <a:gd name="T45" fmla="*/ 1 h 67"/>
                <a:gd name="T46" fmla="*/ 443 w 464"/>
                <a:gd name="T47" fmla="*/ 3 h 67"/>
                <a:gd name="T48" fmla="*/ 449 w 464"/>
                <a:gd name="T49" fmla="*/ 6 h 67"/>
                <a:gd name="T50" fmla="*/ 453 w 464"/>
                <a:gd name="T51" fmla="*/ 10 h 67"/>
                <a:gd name="T52" fmla="*/ 457 w 464"/>
                <a:gd name="T53" fmla="*/ 15 h 67"/>
                <a:gd name="T54" fmla="*/ 460 w 464"/>
                <a:gd name="T55" fmla="*/ 20 h 67"/>
                <a:gd name="T56" fmla="*/ 463 w 464"/>
                <a:gd name="T57" fmla="*/ 26 h 67"/>
                <a:gd name="T58" fmla="*/ 464 w 464"/>
                <a:gd name="T59" fmla="*/ 34 h 67"/>
                <a:gd name="T60" fmla="*/ 464 w 464"/>
                <a:gd name="T61" fmla="*/ 34 h 67"/>
                <a:gd name="T62" fmla="*/ 463 w 464"/>
                <a:gd name="T63" fmla="*/ 40 h 67"/>
                <a:gd name="T64" fmla="*/ 460 w 464"/>
                <a:gd name="T65" fmla="*/ 46 h 67"/>
                <a:gd name="T66" fmla="*/ 457 w 464"/>
                <a:gd name="T67" fmla="*/ 52 h 67"/>
                <a:gd name="T68" fmla="*/ 453 w 464"/>
                <a:gd name="T69" fmla="*/ 56 h 67"/>
                <a:gd name="T70" fmla="*/ 449 w 464"/>
                <a:gd name="T71" fmla="*/ 60 h 67"/>
                <a:gd name="T72" fmla="*/ 443 w 464"/>
                <a:gd name="T73" fmla="*/ 64 h 67"/>
                <a:gd name="T74" fmla="*/ 437 w 464"/>
                <a:gd name="T75" fmla="*/ 66 h 67"/>
                <a:gd name="T76" fmla="*/ 430 w 464"/>
                <a:gd name="T77" fmla="*/ 67 h 67"/>
                <a:gd name="T78" fmla="*/ 430 w 464"/>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4" h="67">
                  <a:moveTo>
                    <a:pt x="430" y="67"/>
                  </a:moveTo>
                  <a:lnTo>
                    <a:pt x="33" y="67"/>
                  </a:lnTo>
                  <a:lnTo>
                    <a:pt x="33" y="67"/>
                  </a:lnTo>
                  <a:lnTo>
                    <a:pt x="27" y="66"/>
                  </a:lnTo>
                  <a:lnTo>
                    <a:pt x="21" y="64"/>
                  </a:lnTo>
                  <a:lnTo>
                    <a:pt x="14" y="60"/>
                  </a:lnTo>
                  <a:lnTo>
                    <a:pt x="10" y="56"/>
                  </a:lnTo>
                  <a:lnTo>
                    <a:pt x="6" y="52"/>
                  </a:lnTo>
                  <a:lnTo>
                    <a:pt x="3" y="46"/>
                  </a:lnTo>
                  <a:lnTo>
                    <a:pt x="1" y="40"/>
                  </a:lnTo>
                  <a:lnTo>
                    <a:pt x="0" y="34"/>
                  </a:lnTo>
                  <a:lnTo>
                    <a:pt x="0" y="34"/>
                  </a:lnTo>
                  <a:lnTo>
                    <a:pt x="1" y="26"/>
                  </a:lnTo>
                  <a:lnTo>
                    <a:pt x="3" y="20"/>
                  </a:lnTo>
                  <a:lnTo>
                    <a:pt x="6" y="15"/>
                  </a:lnTo>
                  <a:lnTo>
                    <a:pt x="10" y="10"/>
                  </a:lnTo>
                  <a:lnTo>
                    <a:pt x="14" y="6"/>
                  </a:lnTo>
                  <a:lnTo>
                    <a:pt x="21" y="3"/>
                  </a:lnTo>
                  <a:lnTo>
                    <a:pt x="27" y="1"/>
                  </a:lnTo>
                  <a:lnTo>
                    <a:pt x="33" y="0"/>
                  </a:lnTo>
                  <a:lnTo>
                    <a:pt x="430" y="0"/>
                  </a:lnTo>
                  <a:lnTo>
                    <a:pt x="430" y="0"/>
                  </a:lnTo>
                  <a:lnTo>
                    <a:pt x="437" y="1"/>
                  </a:lnTo>
                  <a:lnTo>
                    <a:pt x="443" y="3"/>
                  </a:lnTo>
                  <a:lnTo>
                    <a:pt x="449" y="6"/>
                  </a:lnTo>
                  <a:lnTo>
                    <a:pt x="453" y="10"/>
                  </a:lnTo>
                  <a:lnTo>
                    <a:pt x="457" y="15"/>
                  </a:lnTo>
                  <a:lnTo>
                    <a:pt x="460" y="20"/>
                  </a:lnTo>
                  <a:lnTo>
                    <a:pt x="463" y="26"/>
                  </a:lnTo>
                  <a:lnTo>
                    <a:pt x="464" y="34"/>
                  </a:lnTo>
                  <a:lnTo>
                    <a:pt x="464" y="34"/>
                  </a:lnTo>
                  <a:lnTo>
                    <a:pt x="463" y="40"/>
                  </a:lnTo>
                  <a:lnTo>
                    <a:pt x="460" y="46"/>
                  </a:lnTo>
                  <a:lnTo>
                    <a:pt x="457" y="52"/>
                  </a:lnTo>
                  <a:lnTo>
                    <a:pt x="453" y="56"/>
                  </a:lnTo>
                  <a:lnTo>
                    <a:pt x="449" y="60"/>
                  </a:lnTo>
                  <a:lnTo>
                    <a:pt x="443" y="64"/>
                  </a:lnTo>
                  <a:lnTo>
                    <a:pt x="437" y="66"/>
                  </a:lnTo>
                  <a:lnTo>
                    <a:pt x="430" y="67"/>
                  </a:lnTo>
                  <a:lnTo>
                    <a:pt x="430"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06" name="Freeform 20">
              <a:extLst>
                <a:ext uri="{FF2B5EF4-FFF2-40B4-BE49-F238E27FC236}">
                  <a16:creationId xmlns:a16="http://schemas.microsoft.com/office/drawing/2014/main" id="{F28C7122-DC5E-58C1-A59F-396076807BD4}"/>
                </a:ext>
              </a:extLst>
            </p:cNvPr>
            <p:cNvSpPr>
              <a:spLocks/>
            </p:cNvSpPr>
            <p:nvPr/>
          </p:nvSpPr>
          <p:spPr bwMode="auto">
            <a:xfrm>
              <a:off x="3494088" y="2289175"/>
              <a:ext cx="22225" cy="14288"/>
            </a:xfrm>
            <a:custGeom>
              <a:avLst/>
              <a:gdLst>
                <a:gd name="T0" fmla="*/ 67 w 99"/>
                <a:gd name="T1" fmla="*/ 66 h 66"/>
                <a:gd name="T2" fmla="*/ 34 w 99"/>
                <a:gd name="T3" fmla="*/ 66 h 66"/>
                <a:gd name="T4" fmla="*/ 34 w 99"/>
                <a:gd name="T5" fmla="*/ 66 h 66"/>
                <a:gd name="T6" fmla="*/ 26 w 99"/>
                <a:gd name="T7" fmla="*/ 65 h 66"/>
                <a:gd name="T8" fmla="*/ 20 w 99"/>
                <a:gd name="T9" fmla="*/ 63 h 66"/>
                <a:gd name="T10" fmla="*/ 15 w 99"/>
                <a:gd name="T11" fmla="*/ 60 h 66"/>
                <a:gd name="T12" fmla="*/ 10 w 99"/>
                <a:gd name="T13" fmla="*/ 56 h 66"/>
                <a:gd name="T14" fmla="*/ 6 w 99"/>
                <a:gd name="T15" fmla="*/ 52 h 66"/>
                <a:gd name="T16" fmla="*/ 3 w 99"/>
                <a:gd name="T17" fmla="*/ 46 h 66"/>
                <a:gd name="T18" fmla="*/ 0 w 99"/>
                <a:gd name="T19" fmla="*/ 39 h 66"/>
                <a:gd name="T20" fmla="*/ 0 w 99"/>
                <a:gd name="T21" fmla="*/ 33 h 66"/>
                <a:gd name="T22" fmla="*/ 0 w 99"/>
                <a:gd name="T23" fmla="*/ 33 h 66"/>
                <a:gd name="T24" fmla="*/ 0 w 99"/>
                <a:gd name="T25" fmla="*/ 26 h 66"/>
                <a:gd name="T26" fmla="*/ 3 w 99"/>
                <a:gd name="T27" fmla="*/ 20 h 66"/>
                <a:gd name="T28" fmla="*/ 6 w 99"/>
                <a:gd name="T29" fmla="*/ 15 h 66"/>
                <a:gd name="T30" fmla="*/ 10 w 99"/>
                <a:gd name="T31" fmla="*/ 9 h 66"/>
                <a:gd name="T32" fmla="*/ 15 w 99"/>
                <a:gd name="T33" fmla="*/ 5 h 66"/>
                <a:gd name="T34" fmla="*/ 20 w 99"/>
                <a:gd name="T35" fmla="*/ 2 h 66"/>
                <a:gd name="T36" fmla="*/ 26 w 99"/>
                <a:gd name="T37" fmla="*/ 0 h 66"/>
                <a:gd name="T38" fmla="*/ 34 w 99"/>
                <a:gd name="T39" fmla="*/ 0 h 66"/>
                <a:gd name="T40" fmla="*/ 67 w 99"/>
                <a:gd name="T41" fmla="*/ 0 h 66"/>
                <a:gd name="T42" fmla="*/ 67 w 99"/>
                <a:gd name="T43" fmla="*/ 0 h 66"/>
                <a:gd name="T44" fmla="*/ 73 w 99"/>
                <a:gd name="T45" fmla="*/ 0 h 66"/>
                <a:gd name="T46" fmla="*/ 79 w 99"/>
                <a:gd name="T47" fmla="*/ 2 h 66"/>
                <a:gd name="T48" fmla="*/ 84 w 99"/>
                <a:gd name="T49" fmla="*/ 5 h 66"/>
                <a:gd name="T50" fmla="*/ 89 w 99"/>
                <a:gd name="T51" fmla="*/ 9 h 66"/>
                <a:gd name="T52" fmla="*/ 94 w 99"/>
                <a:gd name="T53" fmla="*/ 15 h 66"/>
                <a:gd name="T54" fmla="*/ 97 w 99"/>
                <a:gd name="T55" fmla="*/ 20 h 66"/>
                <a:gd name="T56" fmla="*/ 99 w 99"/>
                <a:gd name="T57" fmla="*/ 26 h 66"/>
                <a:gd name="T58" fmla="*/ 99 w 99"/>
                <a:gd name="T59" fmla="*/ 33 h 66"/>
                <a:gd name="T60" fmla="*/ 99 w 99"/>
                <a:gd name="T61" fmla="*/ 33 h 66"/>
                <a:gd name="T62" fmla="*/ 99 w 99"/>
                <a:gd name="T63" fmla="*/ 39 h 66"/>
                <a:gd name="T64" fmla="*/ 97 w 99"/>
                <a:gd name="T65" fmla="*/ 46 h 66"/>
                <a:gd name="T66" fmla="*/ 94 w 99"/>
                <a:gd name="T67" fmla="*/ 52 h 66"/>
                <a:gd name="T68" fmla="*/ 89 w 99"/>
                <a:gd name="T69" fmla="*/ 56 h 66"/>
                <a:gd name="T70" fmla="*/ 84 w 99"/>
                <a:gd name="T71" fmla="*/ 60 h 66"/>
                <a:gd name="T72" fmla="*/ 79 w 99"/>
                <a:gd name="T73" fmla="*/ 63 h 66"/>
                <a:gd name="T74" fmla="*/ 73 w 99"/>
                <a:gd name="T75" fmla="*/ 65 h 66"/>
                <a:gd name="T76" fmla="*/ 67 w 99"/>
                <a:gd name="T77" fmla="*/ 66 h 66"/>
                <a:gd name="T78" fmla="*/ 67 w 99"/>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9" h="66">
                  <a:moveTo>
                    <a:pt x="67" y="66"/>
                  </a:moveTo>
                  <a:lnTo>
                    <a:pt x="34" y="66"/>
                  </a:lnTo>
                  <a:lnTo>
                    <a:pt x="34" y="66"/>
                  </a:lnTo>
                  <a:lnTo>
                    <a:pt x="26" y="65"/>
                  </a:lnTo>
                  <a:lnTo>
                    <a:pt x="20" y="63"/>
                  </a:lnTo>
                  <a:lnTo>
                    <a:pt x="15" y="60"/>
                  </a:lnTo>
                  <a:lnTo>
                    <a:pt x="10" y="56"/>
                  </a:lnTo>
                  <a:lnTo>
                    <a:pt x="6" y="52"/>
                  </a:lnTo>
                  <a:lnTo>
                    <a:pt x="3" y="46"/>
                  </a:lnTo>
                  <a:lnTo>
                    <a:pt x="0" y="39"/>
                  </a:lnTo>
                  <a:lnTo>
                    <a:pt x="0" y="33"/>
                  </a:lnTo>
                  <a:lnTo>
                    <a:pt x="0" y="33"/>
                  </a:lnTo>
                  <a:lnTo>
                    <a:pt x="0" y="26"/>
                  </a:lnTo>
                  <a:lnTo>
                    <a:pt x="3" y="20"/>
                  </a:lnTo>
                  <a:lnTo>
                    <a:pt x="6" y="15"/>
                  </a:lnTo>
                  <a:lnTo>
                    <a:pt x="10" y="9"/>
                  </a:lnTo>
                  <a:lnTo>
                    <a:pt x="15" y="5"/>
                  </a:lnTo>
                  <a:lnTo>
                    <a:pt x="20" y="2"/>
                  </a:lnTo>
                  <a:lnTo>
                    <a:pt x="26" y="0"/>
                  </a:lnTo>
                  <a:lnTo>
                    <a:pt x="34" y="0"/>
                  </a:lnTo>
                  <a:lnTo>
                    <a:pt x="67" y="0"/>
                  </a:lnTo>
                  <a:lnTo>
                    <a:pt x="67" y="0"/>
                  </a:lnTo>
                  <a:lnTo>
                    <a:pt x="73" y="0"/>
                  </a:lnTo>
                  <a:lnTo>
                    <a:pt x="79" y="2"/>
                  </a:lnTo>
                  <a:lnTo>
                    <a:pt x="84" y="5"/>
                  </a:lnTo>
                  <a:lnTo>
                    <a:pt x="89" y="9"/>
                  </a:lnTo>
                  <a:lnTo>
                    <a:pt x="94" y="15"/>
                  </a:lnTo>
                  <a:lnTo>
                    <a:pt x="97" y="20"/>
                  </a:lnTo>
                  <a:lnTo>
                    <a:pt x="99" y="26"/>
                  </a:lnTo>
                  <a:lnTo>
                    <a:pt x="99" y="33"/>
                  </a:lnTo>
                  <a:lnTo>
                    <a:pt x="99" y="33"/>
                  </a:lnTo>
                  <a:lnTo>
                    <a:pt x="99" y="39"/>
                  </a:lnTo>
                  <a:lnTo>
                    <a:pt x="97" y="46"/>
                  </a:lnTo>
                  <a:lnTo>
                    <a:pt x="94" y="52"/>
                  </a:lnTo>
                  <a:lnTo>
                    <a:pt x="89" y="56"/>
                  </a:lnTo>
                  <a:lnTo>
                    <a:pt x="84" y="60"/>
                  </a:lnTo>
                  <a:lnTo>
                    <a:pt x="79" y="63"/>
                  </a:lnTo>
                  <a:lnTo>
                    <a:pt x="73" y="65"/>
                  </a:lnTo>
                  <a:lnTo>
                    <a:pt x="67" y="66"/>
                  </a:lnTo>
                  <a:lnTo>
                    <a:pt x="6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07" name="Freeform 21">
              <a:extLst>
                <a:ext uri="{FF2B5EF4-FFF2-40B4-BE49-F238E27FC236}">
                  <a16:creationId xmlns:a16="http://schemas.microsoft.com/office/drawing/2014/main" id="{34CE0683-917A-C589-3E0E-BADD934DD5A0}"/>
                </a:ext>
              </a:extLst>
            </p:cNvPr>
            <p:cNvSpPr>
              <a:spLocks/>
            </p:cNvSpPr>
            <p:nvPr/>
          </p:nvSpPr>
          <p:spPr bwMode="auto">
            <a:xfrm>
              <a:off x="3494088" y="2333625"/>
              <a:ext cx="22225" cy="14288"/>
            </a:xfrm>
            <a:custGeom>
              <a:avLst/>
              <a:gdLst>
                <a:gd name="T0" fmla="*/ 67 w 99"/>
                <a:gd name="T1" fmla="*/ 65 h 65"/>
                <a:gd name="T2" fmla="*/ 34 w 99"/>
                <a:gd name="T3" fmla="*/ 65 h 65"/>
                <a:gd name="T4" fmla="*/ 34 w 99"/>
                <a:gd name="T5" fmla="*/ 65 h 65"/>
                <a:gd name="T6" fmla="*/ 26 w 99"/>
                <a:gd name="T7" fmla="*/ 65 h 65"/>
                <a:gd name="T8" fmla="*/ 20 w 99"/>
                <a:gd name="T9" fmla="*/ 63 h 65"/>
                <a:gd name="T10" fmla="*/ 15 w 99"/>
                <a:gd name="T11" fmla="*/ 60 h 65"/>
                <a:gd name="T12" fmla="*/ 10 w 99"/>
                <a:gd name="T13" fmla="*/ 56 h 65"/>
                <a:gd name="T14" fmla="*/ 6 w 99"/>
                <a:gd name="T15" fmla="*/ 51 h 65"/>
                <a:gd name="T16" fmla="*/ 3 w 99"/>
                <a:gd name="T17" fmla="*/ 45 h 65"/>
                <a:gd name="T18" fmla="*/ 0 w 99"/>
                <a:gd name="T19" fmla="*/ 39 h 65"/>
                <a:gd name="T20" fmla="*/ 0 w 99"/>
                <a:gd name="T21" fmla="*/ 32 h 65"/>
                <a:gd name="T22" fmla="*/ 0 w 99"/>
                <a:gd name="T23" fmla="*/ 32 h 65"/>
                <a:gd name="T24" fmla="*/ 0 w 99"/>
                <a:gd name="T25" fmla="*/ 26 h 65"/>
                <a:gd name="T26" fmla="*/ 3 w 99"/>
                <a:gd name="T27" fmla="*/ 20 h 65"/>
                <a:gd name="T28" fmla="*/ 6 w 99"/>
                <a:gd name="T29" fmla="*/ 14 h 65"/>
                <a:gd name="T30" fmla="*/ 10 w 99"/>
                <a:gd name="T31" fmla="*/ 9 h 65"/>
                <a:gd name="T32" fmla="*/ 15 w 99"/>
                <a:gd name="T33" fmla="*/ 5 h 65"/>
                <a:gd name="T34" fmla="*/ 20 w 99"/>
                <a:gd name="T35" fmla="*/ 2 h 65"/>
                <a:gd name="T36" fmla="*/ 26 w 99"/>
                <a:gd name="T37" fmla="*/ 0 h 65"/>
                <a:gd name="T38" fmla="*/ 34 w 99"/>
                <a:gd name="T39" fmla="*/ 0 h 65"/>
                <a:gd name="T40" fmla="*/ 67 w 99"/>
                <a:gd name="T41" fmla="*/ 0 h 65"/>
                <a:gd name="T42" fmla="*/ 67 w 99"/>
                <a:gd name="T43" fmla="*/ 0 h 65"/>
                <a:gd name="T44" fmla="*/ 73 w 99"/>
                <a:gd name="T45" fmla="*/ 0 h 65"/>
                <a:gd name="T46" fmla="*/ 79 w 99"/>
                <a:gd name="T47" fmla="*/ 2 h 65"/>
                <a:gd name="T48" fmla="*/ 84 w 99"/>
                <a:gd name="T49" fmla="*/ 5 h 65"/>
                <a:gd name="T50" fmla="*/ 89 w 99"/>
                <a:gd name="T51" fmla="*/ 9 h 65"/>
                <a:gd name="T52" fmla="*/ 94 w 99"/>
                <a:gd name="T53" fmla="*/ 14 h 65"/>
                <a:gd name="T54" fmla="*/ 97 w 99"/>
                <a:gd name="T55" fmla="*/ 20 h 65"/>
                <a:gd name="T56" fmla="*/ 99 w 99"/>
                <a:gd name="T57" fmla="*/ 26 h 65"/>
                <a:gd name="T58" fmla="*/ 99 w 99"/>
                <a:gd name="T59" fmla="*/ 32 h 65"/>
                <a:gd name="T60" fmla="*/ 99 w 99"/>
                <a:gd name="T61" fmla="*/ 32 h 65"/>
                <a:gd name="T62" fmla="*/ 99 w 99"/>
                <a:gd name="T63" fmla="*/ 39 h 65"/>
                <a:gd name="T64" fmla="*/ 97 w 99"/>
                <a:gd name="T65" fmla="*/ 45 h 65"/>
                <a:gd name="T66" fmla="*/ 94 w 99"/>
                <a:gd name="T67" fmla="*/ 51 h 65"/>
                <a:gd name="T68" fmla="*/ 89 w 99"/>
                <a:gd name="T69" fmla="*/ 56 h 65"/>
                <a:gd name="T70" fmla="*/ 84 w 99"/>
                <a:gd name="T71" fmla="*/ 60 h 65"/>
                <a:gd name="T72" fmla="*/ 79 w 99"/>
                <a:gd name="T73" fmla="*/ 63 h 65"/>
                <a:gd name="T74" fmla="*/ 73 w 99"/>
                <a:gd name="T75" fmla="*/ 65 h 65"/>
                <a:gd name="T76" fmla="*/ 67 w 99"/>
                <a:gd name="T77" fmla="*/ 65 h 65"/>
                <a:gd name="T78" fmla="*/ 67 w 99"/>
                <a:gd name="T7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9" h="65">
                  <a:moveTo>
                    <a:pt x="67" y="65"/>
                  </a:moveTo>
                  <a:lnTo>
                    <a:pt x="34" y="65"/>
                  </a:lnTo>
                  <a:lnTo>
                    <a:pt x="34" y="65"/>
                  </a:lnTo>
                  <a:lnTo>
                    <a:pt x="26" y="65"/>
                  </a:lnTo>
                  <a:lnTo>
                    <a:pt x="20" y="63"/>
                  </a:lnTo>
                  <a:lnTo>
                    <a:pt x="15" y="60"/>
                  </a:lnTo>
                  <a:lnTo>
                    <a:pt x="10" y="56"/>
                  </a:lnTo>
                  <a:lnTo>
                    <a:pt x="6" y="51"/>
                  </a:lnTo>
                  <a:lnTo>
                    <a:pt x="3" y="45"/>
                  </a:lnTo>
                  <a:lnTo>
                    <a:pt x="0" y="39"/>
                  </a:lnTo>
                  <a:lnTo>
                    <a:pt x="0" y="32"/>
                  </a:lnTo>
                  <a:lnTo>
                    <a:pt x="0" y="32"/>
                  </a:lnTo>
                  <a:lnTo>
                    <a:pt x="0" y="26"/>
                  </a:lnTo>
                  <a:lnTo>
                    <a:pt x="3" y="20"/>
                  </a:lnTo>
                  <a:lnTo>
                    <a:pt x="6" y="14"/>
                  </a:lnTo>
                  <a:lnTo>
                    <a:pt x="10" y="9"/>
                  </a:lnTo>
                  <a:lnTo>
                    <a:pt x="15" y="5"/>
                  </a:lnTo>
                  <a:lnTo>
                    <a:pt x="20" y="2"/>
                  </a:lnTo>
                  <a:lnTo>
                    <a:pt x="26" y="0"/>
                  </a:lnTo>
                  <a:lnTo>
                    <a:pt x="34" y="0"/>
                  </a:lnTo>
                  <a:lnTo>
                    <a:pt x="67" y="0"/>
                  </a:lnTo>
                  <a:lnTo>
                    <a:pt x="67" y="0"/>
                  </a:lnTo>
                  <a:lnTo>
                    <a:pt x="73" y="0"/>
                  </a:lnTo>
                  <a:lnTo>
                    <a:pt x="79" y="2"/>
                  </a:lnTo>
                  <a:lnTo>
                    <a:pt x="84" y="5"/>
                  </a:lnTo>
                  <a:lnTo>
                    <a:pt x="89" y="9"/>
                  </a:lnTo>
                  <a:lnTo>
                    <a:pt x="94" y="14"/>
                  </a:lnTo>
                  <a:lnTo>
                    <a:pt x="97" y="20"/>
                  </a:lnTo>
                  <a:lnTo>
                    <a:pt x="99" y="26"/>
                  </a:lnTo>
                  <a:lnTo>
                    <a:pt x="99" y="32"/>
                  </a:lnTo>
                  <a:lnTo>
                    <a:pt x="99" y="32"/>
                  </a:lnTo>
                  <a:lnTo>
                    <a:pt x="99" y="39"/>
                  </a:lnTo>
                  <a:lnTo>
                    <a:pt x="97" y="45"/>
                  </a:lnTo>
                  <a:lnTo>
                    <a:pt x="94" y="51"/>
                  </a:lnTo>
                  <a:lnTo>
                    <a:pt x="89" y="56"/>
                  </a:lnTo>
                  <a:lnTo>
                    <a:pt x="84" y="60"/>
                  </a:lnTo>
                  <a:lnTo>
                    <a:pt x="79" y="63"/>
                  </a:lnTo>
                  <a:lnTo>
                    <a:pt x="73" y="65"/>
                  </a:lnTo>
                  <a:lnTo>
                    <a:pt x="67" y="65"/>
                  </a:lnTo>
                  <a:lnTo>
                    <a:pt x="67"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08" name="Freeform 22">
              <a:extLst>
                <a:ext uri="{FF2B5EF4-FFF2-40B4-BE49-F238E27FC236}">
                  <a16:creationId xmlns:a16="http://schemas.microsoft.com/office/drawing/2014/main" id="{FC8CF748-FDBE-EE77-4904-E3EFB7AC7824}"/>
                </a:ext>
              </a:extLst>
            </p:cNvPr>
            <p:cNvSpPr>
              <a:spLocks/>
            </p:cNvSpPr>
            <p:nvPr/>
          </p:nvSpPr>
          <p:spPr bwMode="auto">
            <a:xfrm>
              <a:off x="3494088" y="2378075"/>
              <a:ext cx="22225" cy="15875"/>
            </a:xfrm>
            <a:custGeom>
              <a:avLst/>
              <a:gdLst>
                <a:gd name="T0" fmla="*/ 67 w 99"/>
                <a:gd name="T1" fmla="*/ 66 h 66"/>
                <a:gd name="T2" fmla="*/ 34 w 99"/>
                <a:gd name="T3" fmla="*/ 66 h 66"/>
                <a:gd name="T4" fmla="*/ 34 w 99"/>
                <a:gd name="T5" fmla="*/ 66 h 66"/>
                <a:gd name="T6" fmla="*/ 26 w 99"/>
                <a:gd name="T7" fmla="*/ 65 h 66"/>
                <a:gd name="T8" fmla="*/ 20 w 99"/>
                <a:gd name="T9" fmla="*/ 64 h 66"/>
                <a:gd name="T10" fmla="*/ 15 w 99"/>
                <a:gd name="T11" fmla="*/ 61 h 66"/>
                <a:gd name="T12" fmla="*/ 10 w 99"/>
                <a:gd name="T13" fmla="*/ 57 h 66"/>
                <a:gd name="T14" fmla="*/ 6 w 99"/>
                <a:gd name="T15" fmla="*/ 51 h 66"/>
                <a:gd name="T16" fmla="*/ 3 w 99"/>
                <a:gd name="T17" fmla="*/ 46 h 66"/>
                <a:gd name="T18" fmla="*/ 0 w 99"/>
                <a:gd name="T19" fmla="*/ 40 h 66"/>
                <a:gd name="T20" fmla="*/ 0 w 99"/>
                <a:gd name="T21" fmla="*/ 33 h 66"/>
                <a:gd name="T22" fmla="*/ 0 w 99"/>
                <a:gd name="T23" fmla="*/ 33 h 66"/>
                <a:gd name="T24" fmla="*/ 0 w 99"/>
                <a:gd name="T25" fmla="*/ 27 h 66"/>
                <a:gd name="T26" fmla="*/ 3 w 99"/>
                <a:gd name="T27" fmla="*/ 20 h 66"/>
                <a:gd name="T28" fmla="*/ 6 w 99"/>
                <a:gd name="T29" fmla="*/ 14 h 66"/>
                <a:gd name="T30" fmla="*/ 10 w 99"/>
                <a:gd name="T31" fmla="*/ 10 h 66"/>
                <a:gd name="T32" fmla="*/ 15 w 99"/>
                <a:gd name="T33" fmla="*/ 6 h 66"/>
                <a:gd name="T34" fmla="*/ 20 w 99"/>
                <a:gd name="T35" fmla="*/ 3 h 66"/>
                <a:gd name="T36" fmla="*/ 26 w 99"/>
                <a:gd name="T37" fmla="*/ 1 h 66"/>
                <a:gd name="T38" fmla="*/ 34 w 99"/>
                <a:gd name="T39" fmla="*/ 0 h 66"/>
                <a:gd name="T40" fmla="*/ 67 w 99"/>
                <a:gd name="T41" fmla="*/ 0 h 66"/>
                <a:gd name="T42" fmla="*/ 67 w 99"/>
                <a:gd name="T43" fmla="*/ 0 h 66"/>
                <a:gd name="T44" fmla="*/ 73 w 99"/>
                <a:gd name="T45" fmla="*/ 1 h 66"/>
                <a:gd name="T46" fmla="*/ 79 w 99"/>
                <a:gd name="T47" fmla="*/ 3 h 66"/>
                <a:gd name="T48" fmla="*/ 84 w 99"/>
                <a:gd name="T49" fmla="*/ 6 h 66"/>
                <a:gd name="T50" fmla="*/ 89 w 99"/>
                <a:gd name="T51" fmla="*/ 10 h 66"/>
                <a:gd name="T52" fmla="*/ 94 w 99"/>
                <a:gd name="T53" fmla="*/ 14 h 66"/>
                <a:gd name="T54" fmla="*/ 97 w 99"/>
                <a:gd name="T55" fmla="*/ 20 h 66"/>
                <a:gd name="T56" fmla="*/ 99 w 99"/>
                <a:gd name="T57" fmla="*/ 27 h 66"/>
                <a:gd name="T58" fmla="*/ 99 w 99"/>
                <a:gd name="T59" fmla="*/ 33 h 66"/>
                <a:gd name="T60" fmla="*/ 99 w 99"/>
                <a:gd name="T61" fmla="*/ 33 h 66"/>
                <a:gd name="T62" fmla="*/ 99 w 99"/>
                <a:gd name="T63" fmla="*/ 40 h 66"/>
                <a:gd name="T64" fmla="*/ 97 w 99"/>
                <a:gd name="T65" fmla="*/ 46 h 66"/>
                <a:gd name="T66" fmla="*/ 94 w 99"/>
                <a:gd name="T67" fmla="*/ 51 h 66"/>
                <a:gd name="T68" fmla="*/ 89 w 99"/>
                <a:gd name="T69" fmla="*/ 57 h 66"/>
                <a:gd name="T70" fmla="*/ 84 w 99"/>
                <a:gd name="T71" fmla="*/ 61 h 66"/>
                <a:gd name="T72" fmla="*/ 79 w 99"/>
                <a:gd name="T73" fmla="*/ 64 h 66"/>
                <a:gd name="T74" fmla="*/ 73 w 99"/>
                <a:gd name="T75" fmla="*/ 65 h 66"/>
                <a:gd name="T76" fmla="*/ 67 w 99"/>
                <a:gd name="T77" fmla="*/ 66 h 66"/>
                <a:gd name="T78" fmla="*/ 67 w 99"/>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9" h="66">
                  <a:moveTo>
                    <a:pt x="67" y="66"/>
                  </a:moveTo>
                  <a:lnTo>
                    <a:pt x="34" y="66"/>
                  </a:lnTo>
                  <a:lnTo>
                    <a:pt x="34" y="66"/>
                  </a:lnTo>
                  <a:lnTo>
                    <a:pt x="26" y="65"/>
                  </a:lnTo>
                  <a:lnTo>
                    <a:pt x="20" y="64"/>
                  </a:lnTo>
                  <a:lnTo>
                    <a:pt x="15" y="61"/>
                  </a:lnTo>
                  <a:lnTo>
                    <a:pt x="10" y="57"/>
                  </a:lnTo>
                  <a:lnTo>
                    <a:pt x="6" y="51"/>
                  </a:lnTo>
                  <a:lnTo>
                    <a:pt x="3" y="46"/>
                  </a:lnTo>
                  <a:lnTo>
                    <a:pt x="0" y="40"/>
                  </a:lnTo>
                  <a:lnTo>
                    <a:pt x="0" y="33"/>
                  </a:lnTo>
                  <a:lnTo>
                    <a:pt x="0" y="33"/>
                  </a:lnTo>
                  <a:lnTo>
                    <a:pt x="0" y="27"/>
                  </a:lnTo>
                  <a:lnTo>
                    <a:pt x="3" y="20"/>
                  </a:lnTo>
                  <a:lnTo>
                    <a:pt x="6" y="14"/>
                  </a:lnTo>
                  <a:lnTo>
                    <a:pt x="10" y="10"/>
                  </a:lnTo>
                  <a:lnTo>
                    <a:pt x="15" y="6"/>
                  </a:lnTo>
                  <a:lnTo>
                    <a:pt x="20" y="3"/>
                  </a:lnTo>
                  <a:lnTo>
                    <a:pt x="26" y="1"/>
                  </a:lnTo>
                  <a:lnTo>
                    <a:pt x="34" y="0"/>
                  </a:lnTo>
                  <a:lnTo>
                    <a:pt x="67" y="0"/>
                  </a:lnTo>
                  <a:lnTo>
                    <a:pt x="67" y="0"/>
                  </a:lnTo>
                  <a:lnTo>
                    <a:pt x="73" y="1"/>
                  </a:lnTo>
                  <a:lnTo>
                    <a:pt x="79" y="3"/>
                  </a:lnTo>
                  <a:lnTo>
                    <a:pt x="84" y="6"/>
                  </a:lnTo>
                  <a:lnTo>
                    <a:pt x="89" y="10"/>
                  </a:lnTo>
                  <a:lnTo>
                    <a:pt x="94" y="14"/>
                  </a:lnTo>
                  <a:lnTo>
                    <a:pt x="97" y="20"/>
                  </a:lnTo>
                  <a:lnTo>
                    <a:pt x="99" y="27"/>
                  </a:lnTo>
                  <a:lnTo>
                    <a:pt x="99" y="33"/>
                  </a:lnTo>
                  <a:lnTo>
                    <a:pt x="99" y="33"/>
                  </a:lnTo>
                  <a:lnTo>
                    <a:pt x="99" y="40"/>
                  </a:lnTo>
                  <a:lnTo>
                    <a:pt x="97" y="46"/>
                  </a:lnTo>
                  <a:lnTo>
                    <a:pt x="94" y="51"/>
                  </a:lnTo>
                  <a:lnTo>
                    <a:pt x="89" y="57"/>
                  </a:lnTo>
                  <a:lnTo>
                    <a:pt x="84" y="61"/>
                  </a:lnTo>
                  <a:lnTo>
                    <a:pt x="79" y="64"/>
                  </a:lnTo>
                  <a:lnTo>
                    <a:pt x="73" y="65"/>
                  </a:lnTo>
                  <a:lnTo>
                    <a:pt x="67" y="66"/>
                  </a:lnTo>
                  <a:lnTo>
                    <a:pt x="6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09" name="Freeform 23">
              <a:extLst>
                <a:ext uri="{FF2B5EF4-FFF2-40B4-BE49-F238E27FC236}">
                  <a16:creationId xmlns:a16="http://schemas.microsoft.com/office/drawing/2014/main" id="{CBACB1CB-1F17-761C-0AC5-7B396187399D}"/>
                </a:ext>
              </a:extLst>
            </p:cNvPr>
            <p:cNvSpPr>
              <a:spLocks/>
            </p:cNvSpPr>
            <p:nvPr/>
          </p:nvSpPr>
          <p:spPr bwMode="auto">
            <a:xfrm>
              <a:off x="3494088" y="2424113"/>
              <a:ext cx="22225" cy="14288"/>
            </a:xfrm>
            <a:custGeom>
              <a:avLst/>
              <a:gdLst>
                <a:gd name="T0" fmla="*/ 67 w 99"/>
                <a:gd name="T1" fmla="*/ 67 h 67"/>
                <a:gd name="T2" fmla="*/ 34 w 99"/>
                <a:gd name="T3" fmla="*/ 67 h 67"/>
                <a:gd name="T4" fmla="*/ 34 w 99"/>
                <a:gd name="T5" fmla="*/ 67 h 67"/>
                <a:gd name="T6" fmla="*/ 26 w 99"/>
                <a:gd name="T7" fmla="*/ 66 h 67"/>
                <a:gd name="T8" fmla="*/ 20 w 99"/>
                <a:gd name="T9" fmla="*/ 64 h 67"/>
                <a:gd name="T10" fmla="*/ 15 w 99"/>
                <a:gd name="T11" fmla="*/ 60 h 67"/>
                <a:gd name="T12" fmla="*/ 10 w 99"/>
                <a:gd name="T13" fmla="*/ 56 h 67"/>
                <a:gd name="T14" fmla="*/ 6 w 99"/>
                <a:gd name="T15" fmla="*/ 52 h 67"/>
                <a:gd name="T16" fmla="*/ 3 w 99"/>
                <a:gd name="T17" fmla="*/ 46 h 67"/>
                <a:gd name="T18" fmla="*/ 0 w 99"/>
                <a:gd name="T19" fmla="*/ 40 h 67"/>
                <a:gd name="T20" fmla="*/ 0 w 99"/>
                <a:gd name="T21" fmla="*/ 34 h 67"/>
                <a:gd name="T22" fmla="*/ 0 w 99"/>
                <a:gd name="T23" fmla="*/ 34 h 67"/>
                <a:gd name="T24" fmla="*/ 0 w 99"/>
                <a:gd name="T25" fmla="*/ 26 h 67"/>
                <a:gd name="T26" fmla="*/ 3 w 99"/>
                <a:gd name="T27" fmla="*/ 20 h 67"/>
                <a:gd name="T28" fmla="*/ 6 w 99"/>
                <a:gd name="T29" fmla="*/ 15 h 67"/>
                <a:gd name="T30" fmla="*/ 10 w 99"/>
                <a:gd name="T31" fmla="*/ 10 h 67"/>
                <a:gd name="T32" fmla="*/ 15 w 99"/>
                <a:gd name="T33" fmla="*/ 6 h 67"/>
                <a:gd name="T34" fmla="*/ 20 w 99"/>
                <a:gd name="T35" fmla="*/ 3 h 67"/>
                <a:gd name="T36" fmla="*/ 26 w 99"/>
                <a:gd name="T37" fmla="*/ 1 h 67"/>
                <a:gd name="T38" fmla="*/ 34 w 99"/>
                <a:gd name="T39" fmla="*/ 0 h 67"/>
                <a:gd name="T40" fmla="*/ 67 w 99"/>
                <a:gd name="T41" fmla="*/ 0 h 67"/>
                <a:gd name="T42" fmla="*/ 67 w 99"/>
                <a:gd name="T43" fmla="*/ 0 h 67"/>
                <a:gd name="T44" fmla="*/ 73 w 99"/>
                <a:gd name="T45" fmla="*/ 1 h 67"/>
                <a:gd name="T46" fmla="*/ 79 w 99"/>
                <a:gd name="T47" fmla="*/ 3 h 67"/>
                <a:gd name="T48" fmla="*/ 84 w 99"/>
                <a:gd name="T49" fmla="*/ 6 h 67"/>
                <a:gd name="T50" fmla="*/ 89 w 99"/>
                <a:gd name="T51" fmla="*/ 10 h 67"/>
                <a:gd name="T52" fmla="*/ 94 w 99"/>
                <a:gd name="T53" fmla="*/ 15 h 67"/>
                <a:gd name="T54" fmla="*/ 97 w 99"/>
                <a:gd name="T55" fmla="*/ 20 h 67"/>
                <a:gd name="T56" fmla="*/ 99 w 99"/>
                <a:gd name="T57" fmla="*/ 26 h 67"/>
                <a:gd name="T58" fmla="*/ 99 w 99"/>
                <a:gd name="T59" fmla="*/ 34 h 67"/>
                <a:gd name="T60" fmla="*/ 99 w 99"/>
                <a:gd name="T61" fmla="*/ 34 h 67"/>
                <a:gd name="T62" fmla="*/ 99 w 99"/>
                <a:gd name="T63" fmla="*/ 40 h 67"/>
                <a:gd name="T64" fmla="*/ 97 w 99"/>
                <a:gd name="T65" fmla="*/ 46 h 67"/>
                <a:gd name="T66" fmla="*/ 94 w 99"/>
                <a:gd name="T67" fmla="*/ 52 h 67"/>
                <a:gd name="T68" fmla="*/ 89 w 99"/>
                <a:gd name="T69" fmla="*/ 56 h 67"/>
                <a:gd name="T70" fmla="*/ 84 w 99"/>
                <a:gd name="T71" fmla="*/ 60 h 67"/>
                <a:gd name="T72" fmla="*/ 79 w 99"/>
                <a:gd name="T73" fmla="*/ 64 h 67"/>
                <a:gd name="T74" fmla="*/ 73 w 99"/>
                <a:gd name="T75" fmla="*/ 66 h 67"/>
                <a:gd name="T76" fmla="*/ 67 w 99"/>
                <a:gd name="T77" fmla="*/ 67 h 67"/>
                <a:gd name="T78" fmla="*/ 67 w 99"/>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9" h="67">
                  <a:moveTo>
                    <a:pt x="67" y="67"/>
                  </a:moveTo>
                  <a:lnTo>
                    <a:pt x="34" y="67"/>
                  </a:lnTo>
                  <a:lnTo>
                    <a:pt x="34" y="67"/>
                  </a:lnTo>
                  <a:lnTo>
                    <a:pt x="26" y="66"/>
                  </a:lnTo>
                  <a:lnTo>
                    <a:pt x="20" y="64"/>
                  </a:lnTo>
                  <a:lnTo>
                    <a:pt x="15" y="60"/>
                  </a:lnTo>
                  <a:lnTo>
                    <a:pt x="10" y="56"/>
                  </a:lnTo>
                  <a:lnTo>
                    <a:pt x="6" y="52"/>
                  </a:lnTo>
                  <a:lnTo>
                    <a:pt x="3" y="46"/>
                  </a:lnTo>
                  <a:lnTo>
                    <a:pt x="0" y="40"/>
                  </a:lnTo>
                  <a:lnTo>
                    <a:pt x="0" y="34"/>
                  </a:lnTo>
                  <a:lnTo>
                    <a:pt x="0" y="34"/>
                  </a:lnTo>
                  <a:lnTo>
                    <a:pt x="0" y="26"/>
                  </a:lnTo>
                  <a:lnTo>
                    <a:pt x="3" y="20"/>
                  </a:lnTo>
                  <a:lnTo>
                    <a:pt x="6" y="15"/>
                  </a:lnTo>
                  <a:lnTo>
                    <a:pt x="10" y="10"/>
                  </a:lnTo>
                  <a:lnTo>
                    <a:pt x="15" y="6"/>
                  </a:lnTo>
                  <a:lnTo>
                    <a:pt x="20" y="3"/>
                  </a:lnTo>
                  <a:lnTo>
                    <a:pt x="26" y="1"/>
                  </a:lnTo>
                  <a:lnTo>
                    <a:pt x="34" y="0"/>
                  </a:lnTo>
                  <a:lnTo>
                    <a:pt x="67" y="0"/>
                  </a:lnTo>
                  <a:lnTo>
                    <a:pt x="67" y="0"/>
                  </a:lnTo>
                  <a:lnTo>
                    <a:pt x="73" y="1"/>
                  </a:lnTo>
                  <a:lnTo>
                    <a:pt x="79" y="3"/>
                  </a:lnTo>
                  <a:lnTo>
                    <a:pt x="84" y="6"/>
                  </a:lnTo>
                  <a:lnTo>
                    <a:pt x="89" y="10"/>
                  </a:lnTo>
                  <a:lnTo>
                    <a:pt x="94" y="15"/>
                  </a:lnTo>
                  <a:lnTo>
                    <a:pt x="97" y="20"/>
                  </a:lnTo>
                  <a:lnTo>
                    <a:pt x="99" y="26"/>
                  </a:lnTo>
                  <a:lnTo>
                    <a:pt x="99" y="34"/>
                  </a:lnTo>
                  <a:lnTo>
                    <a:pt x="99" y="34"/>
                  </a:lnTo>
                  <a:lnTo>
                    <a:pt x="99" y="40"/>
                  </a:lnTo>
                  <a:lnTo>
                    <a:pt x="97" y="46"/>
                  </a:lnTo>
                  <a:lnTo>
                    <a:pt x="94" y="52"/>
                  </a:lnTo>
                  <a:lnTo>
                    <a:pt x="89" y="56"/>
                  </a:lnTo>
                  <a:lnTo>
                    <a:pt x="84" y="60"/>
                  </a:lnTo>
                  <a:lnTo>
                    <a:pt x="79" y="64"/>
                  </a:lnTo>
                  <a:lnTo>
                    <a:pt x="73" y="66"/>
                  </a:lnTo>
                  <a:lnTo>
                    <a:pt x="67" y="67"/>
                  </a:lnTo>
                  <a:lnTo>
                    <a:pt x="67"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210" name="Group 209">
            <a:extLst>
              <a:ext uri="{FF2B5EF4-FFF2-40B4-BE49-F238E27FC236}">
                <a16:creationId xmlns:a16="http://schemas.microsoft.com/office/drawing/2014/main" id="{813FB0E8-62A1-D329-FCEC-E88631FCDD82}"/>
              </a:ext>
            </a:extLst>
          </p:cNvPr>
          <p:cNvGrpSpPr/>
          <p:nvPr/>
        </p:nvGrpSpPr>
        <p:grpSpPr>
          <a:xfrm>
            <a:off x="1138304" y="5601339"/>
            <a:ext cx="285750" cy="360363"/>
            <a:chOff x="3425825" y="2168525"/>
            <a:chExt cx="285750" cy="360363"/>
          </a:xfrm>
          <a:solidFill>
            <a:schemeClr val="bg1"/>
          </a:solidFill>
        </p:grpSpPr>
        <p:sp>
          <p:nvSpPr>
            <p:cNvPr id="211" name="Freeform 13">
              <a:extLst>
                <a:ext uri="{FF2B5EF4-FFF2-40B4-BE49-F238E27FC236}">
                  <a16:creationId xmlns:a16="http://schemas.microsoft.com/office/drawing/2014/main" id="{4B583F08-DBAC-BACC-6206-1327EFD481EF}"/>
                </a:ext>
              </a:extLst>
            </p:cNvPr>
            <p:cNvSpPr>
              <a:spLocks/>
            </p:cNvSpPr>
            <p:nvPr/>
          </p:nvSpPr>
          <p:spPr bwMode="auto">
            <a:xfrm>
              <a:off x="3425825" y="2198688"/>
              <a:ext cx="285750" cy="330200"/>
            </a:xfrm>
            <a:custGeom>
              <a:avLst/>
              <a:gdLst>
                <a:gd name="T0" fmla="*/ 34 w 1257"/>
                <a:gd name="T1" fmla="*/ 1456 h 1456"/>
                <a:gd name="T2" fmla="*/ 27 w 1257"/>
                <a:gd name="T3" fmla="*/ 1456 h 1456"/>
                <a:gd name="T4" fmla="*/ 15 w 1257"/>
                <a:gd name="T5" fmla="*/ 1451 h 1456"/>
                <a:gd name="T6" fmla="*/ 6 w 1257"/>
                <a:gd name="T7" fmla="*/ 1442 h 1456"/>
                <a:gd name="T8" fmla="*/ 1 w 1257"/>
                <a:gd name="T9" fmla="*/ 1430 h 1456"/>
                <a:gd name="T10" fmla="*/ 0 w 1257"/>
                <a:gd name="T11" fmla="*/ 34 h 1456"/>
                <a:gd name="T12" fmla="*/ 1 w 1257"/>
                <a:gd name="T13" fmla="*/ 27 h 1456"/>
                <a:gd name="T14" fmla="*/ 6 w 1257"/>
                <a:gd name="T15" fmla="*/ 15 h 1456"/>
                <a:gd name="T16" fmla="*/ 15 w 1257"/>
                <a:gd name="T17" fmla="*/ 7 h 1456"/>
                <a:gd name="T18" fmla="*/ 27 w 1257"/>
                <a:gd name="T19" fmla="*/ 2 h 1456"/>
                <a:gd name="T20" fmla="*/ 166 w 1257"/>
                <a:gd name="T21" fmla="*/ 0 h 1456"/>
                <a:gd name="T22" fmla="*/ 172 w 1257"/>
                <a:gd name="T23" fmla="*/ 2 h 1456"/>
                <a:gd name="T24" fmla="*/ 185 w 1257"/>
                <a:gd name="T25" fmla="*/ 7 h 1456"/>
                <a:gd name="T26" fmla="*/ 193 w 1257"/>
                <a:gd name="T27" fmla="*/ 15 h 1456"/>
                <a:gd name="T28" fmla="*/ 198 w 1257"/>
                <a:gd name="T29" fmla="*/ 27 h 1456"/>
                <a:gd name="T30" fmla="*/ 199 w 1257"/>
                <a:gd name="T31" fmla="*/ 34 h 1456"/>
                <a:gd name="T32" fmla="*/ 196 w 1257"/>
                <a:gd name="T33" fmla="*/ 47 h 1456"/>
                <a:gd name="T34" fmla="*/ 189 w 1257"/>
                <a:gd name="T35" fmla="*/ 57 h 1456"/>
                <a:gd name="T36" fmla="*/ 178 w 1257"/>
                <a:gd name="T37" fmla="*/ 65 h 1456"/>
                <a:gd name="T38" fmla="*/ 166 w 1257"/>
                <a:gd name="T39" fmla="*/ 67 h 1456"/>
                <a:gd name="T40" fmla="*/ 67 w 1257"/>
                <a:gd name="T41" fmla="*/ 1390 h 1456"/>
                <a:gd name="T42" fmla="*/ 1190 w 1257"/>
                <a:gd name="T43" fmla="*/ 67 h 1456"/>
                <a:gd name="T44" fmla="*/ 1091 w 1257"/>
                <a:gd name="T45" fmla="*/ 67 h 1456"/>
                <a:gd name="T46" fmla="*/ 1079 w 1257"/>
                <a:gd name="T47" fmla="*/ 65 h 1456"/>
                <a:gd name="T48" fmla="*/ 1068 w 1257"/>
                <a:gd name="T49" fmla="*/ 57 h 1456"/>
                <a:gd name="T50" fmla="*/ 1061 w 1257"/>
                <a:gd name="T51" fmla="*/ 47 h 1456"/>
                <a:gd name="T52" fmla="*/ 1058 w 1257"/>
                <a:gd name="T53" fmla="*/ 34 h 1456"/>
                <a:gd name="T54" fmla="*/ 1059 w 1257"/>
                <a:gd name="T55" fmla="*/ 27 h 1456"/>
                <a:gd name="T56" fmla="*/ 1064 w 1257"/>
                <a:gd name="T57" fmla="*/ 15 h 1456"/>
                <a:gd name="T58" fmla="*/ 1074 w 1257"/>
                <a:gd name="T59" fmla="*/ 7 h 1456"/>
                <a:gd name="T60" fmla="*/ 1085 w 1257"/>
                <a:gd name="T61" fmla="*/ 2 h 1456"/>
                <a:gd name="T62" fmla="*/ 1224 w 1257"/>
                <a:gd name="T63" fmla="*/ 0 h 1456"/>
                <a:gd name="T64" fmla="*/ 1231 w 1257"/>
                <a:gd name="T65" fmla="*/ 2 h 1456"/>
                <a:gd name="T66" fmla="*/ 1242 w 1257"/>
                <a:gd name="T67" fmla="*/ 7 h 1456"/>
                <a:gd name="T68" fmla="*/ 1252 w 1257"/>
                <a:gd name="T69" fmla="*/ 15 h 1456"/>
                <a:gd name="T70" fmla="*/ 1257 w 1257"/>
                <a:gd name="T71" fmla="*/ 27 h 1456"/>
                <a:gd name="T72" fmla="*/ 1257 w 1257"/>
                <a:gd name="T73" fmla="*/ 1423 h 1456"/>
                <a:gd name="T74" fmla="*/ 1257 w 1257"/>
                <a:gd name="T75" fmla="*/ 1430 h 1456"/>
                <a:gd name="T76" fmla="*/ 1252 w 1257"/>
                <a:gd name="T77" fmla="*/ 1442 h 1456"/>
                <a:gd name="T78" fmla="*/ 1242 w 1257"/>
                <a:gd name="T79" fmla="*/ 1451 h 1456"/>
                <a:gd name="T80" fmla="*/ 1231 w 1257"/>
                <a:gd name="T81" fmla="*/ 1456 h 1456"/>
                <a:gd name="T82" fmla="*/ 1224 w 1257"/>
                <a:gd name="T83" fmla="*/ 1456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7" h="1456">
                  <a:moveTo>
                    <a:pt x="1224" y="1456"/>
                  </a:moveTo>
                  <a:lnTo>
                    <a:pt x="34" y="1456"/>
                  </a:lnTo>
                  <a:lnTo>
                    <a:pt x="34" y="1456"/>
                  </a:lnTo>
                  <a:lnTo>
                    <a:pt x="27" y="1456"/>
                  </a:lnTo>
                  <a:lnTo>
                    <a:pt x="21" y="1454"/>
                  </a:lnTo>
                  <a:lnTo>
                    <a:pt x="15" y="1451"/>
                  </a:lnTo>
                  <a:lnTo>
                    <a:pt x="10" y="1447"/>
                  </a:lnTo>
                  <a:lnTo>
                    <a:pt x="6" y="1442"/>
                  </a:lnTo>
                  <a:lnTo>
                    <a:pt x="4" y="1437"/>
                  </a:lnTo>
                  <a:lnTo>
                    <a:pt x="1" y="1430"/>
                  </a:lnTo>
                  <a:lnTo>
                    <a:pt x="0" y="1423"/>
                  </a:lnTo>
                  <a:lnTo>
                    <a:pt x="0" y="34"/>
                  </a:lnTo>
                  <a:lnTo>
                    <a:pt x="0" y="34"/>
                  </a:lnTo>
                  <a:lnTo>
                    <a:pt x="1" y="27"/>
                  </a:lnTo>
                  <a:lnTo>
                    <a:pt x="4" y="21"/>
                  </a:lnTo>
                  <a:lnTo>
                    <a:pt x="6" y="15"/>
                  </a:lnTo>
                  <a:lnTo>
                    <a:pt x="10" y="11"/>
                  </a:lnTo>
                  <a:lnTo>
                    <a:pt x="15" y="7"/>
                  </a:lnTo>
                  <a:lnTo>
                    <a:pt x="21" y="4"/>
                  </a:lnTo>
                  <a:lnTo>
                    <a:pt x="27" y="2"/>
                  </a:lnTo>
                  <a:lnTo>
                    <a:pt x="34" y="0"/>
                  </a:lnTo>
                  <a:lnTo>
                    <a:pt x="166" y="0"/>
                  </a:lnTo>
                  <a:lnTo>
                    <a:pt x="166" y="0"/>
                  </a:lnTo>
                  <a:lnTo>
                    <a:pt x="172" y="2"/>
                  </a:lnTo>
                  <a:lnTo>
                    <a:pt x="178" y="4"/>
                  </a:lnTo>
                  <a:lnTo>
                    <a:pt x="185" y="7"/>
                  </a:lnTo>
                  <a:lnTo>
                    <a:pt x="189" y="11"/>
                  </a:lnTo>
                  <a:lnTo>
                    <a:pt x="193" y="15"/>
                  </a:lnTo>
                  <a:lnTo>
                    <a:pt x="196" y="21"/>
                  </a:lnTo>
                  <a:lnTo>
                    <a:pt x="198" y="27"/>
                  </a:lnTo>
                  <a:lnTo>
                    <a:pt x="199" y="34"/>
                  </a:lnTo>
                  <a:lnTo>
                    <a:pt x="199" y="34"/>
                  </a:lnTo>
                  <a:lnTo>
                    <a:pt x="198" y="41"/>
                  </a:lnTo>
                  <a:lnTo>
                    <a:pt x="196" y="47"/>
                  </a:lnTo>
                  <a:lnTo>
                    <a:pt x="193" y="52"/>
                  </a:lnTo>
                  <a:lnTo>
                    <a:pt x="189" y="57"/>
                  </a:lnTo>
                  <a:lnTo>
                    <a:pt x="185" y="62"/>
                  </a:lnTo>
                  <a:lnTo>
                    <a:pt x="178" y="65"/>
                  </a:lnTo>
                  <a:lnTo>
                    <a:pt x="172" y="67"/>
                  </a:lnTo>
                  <a:lnTo>
                    <a:pt x="166" y="67"/>
                  </a:lnTo>
                  <a:lnTo>
                    <a:pt x="67" y="67"/>
                  </a:lnTo>
                  <a:lnTo>
                    <a:pt x="67" y="1390"/>
                  </a:lnTo>
                  <a:lnTo>
                    <a:pt x="1190" y="1390"/>
                  </a:lnTo>
                  <a:lnTo>
                    <a:pt x="1190" y="67"/>
                  </a:lnTo>
                  <a:lnTo>
                    <a:pt x="1091" y="67"/>
                  </a:lnTo>
                  <a:lnTo>
                    <a:pt x="1091" y="67"/>
                  </a:lnTo>
                  <a:lnTo>
                    <a:pt x="1085" y="67"/>
                  </a:lnTo>
                  <a:lnTo>
                    <a:pt x="1079" y="65"/>
                  </a:lnTo>
                  <a:lnTo>
                    <a:pt x="1074" y="62"/>
                  </a:lnTo>
                  <a:lnTo>
                    <a:pt x="1068" y="57"/>
                  </a:lnTo>
                  <a:lnTo>
                    <a:pt x="1064" y="52"/>
                  </a:lnTo>
                  <a:lnTo>
                    <a:pt x="1061" y="47"/>
                  </a:lnTo>
                  <a:lnTo>
                    <a:pt x="1059" y="41"/>
                  </a:lnTo>
                  <a:lnTo>
                    <a:pt x="1058" y="34"/>
                  </a:lnTo>
                  <a:lnTo>
                    <a:pt x="1058" y="34"/>
                  </a:lnTo>
                  <a:lnTo>
                    <a:pt x="1059" y="27"/>
                  </a:lnTo>
                  <a:lnTo>
                    <a:pt x="1061" y="21"/>
                  </a:lnTo>
                  <a:lnTo>
                    <a:pt x="1064" y="15"/>
                  </a:lnTo>
                  <a:lnTo>
                    <a:pt x="1068" y="11"/>
                  </a:lnTo>
                  <a:lnTo>
                    <a:pt x="1074" y="7"/>
                  </a:lnTo>
                  <a:lnTo>
                    <a:pt x="1079" y="4"/>
                  </a:lnTo>
                  <a:lnTo>
                    <a:pt x="1085" y="2"/>
                  </a:lnTo>
                  <a:lnTo>
                    <a:pt x="1091" y="0"/>
                  </a:lnTo>
                  <a:lnTo>
                    <a:pt x="1224" y="0"/>
                  </a:lnTo>
                  <a:lnTo>
                    <a:pt x="1224" y="0"/>
                  </a:lnTo>
                  <a:lnTo>
                    <a:pt x="1231" y="2"/>
                  </a:lnTo>
                  <a:lnTo>
                    <a:pt x="1237" y="4"/>
                  </a:lnTo>
                  <a:lnTo>
                    <a:pt x="1242" y="7"/>
                  </a:lnTo>
                  <a:lnTo>
                    <a:pt x="1247" y="11"/>
                  </a:lnTo>
                  <a:lnTo>
                    <a:pt x="1252" y="15"/>
                  </a:lnTo>
                  <a:lnTo>
                    <a:pt x="1255" y="21"/>
                  </a:lnTo>
                  <a:lnTo>
                    <a:pt x="1257" y="27"/>
                  </a:lnTo>
                  <a:lnTo>
                    <a:pt x="1257" y="34"/>
                  </a:lnTo>
                  <a:lnTo>
                    <a:pt x="1257" y="1423"/>
                  </a:lnTo>
                  <a:lnTo>
                    <a:pt x="1257" y="1423"/>
                  </a:lnTo>
                  <a:lnTo>
                    <a:pt x="1257" y="1430"/>
                  </a:lnTo>
                  <a:lnTo>
                    <a:pt x="1255" y="1437"/>
                  </a:lnTo>
                  <a:lnTo>
                    <a:pt x="1252" y="1442"/>
                  </a:lnTo>
                  <a:lnTo>
                    <a:pt x="1247" y="1447"/>
                  </a:lnTo>
                  <a:lnTo>
                    <a:pt x="1242" y="1451"/>
                  </a:lnTo>
                  <a:lnTo>
                    <a:pt x="1237" y="1454"/>
                  </a:lnTo>
                  <a:lnTo>
                    <a:pt x="1231" y="1456"/>
                  </a:lnTo>
                  <a:lnTo>
                    <a:pt x="1224" y="1456"/>
                  </a:lnTo>
                  <a:lnTo>
                    <a:pt x="1224" y="1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12" name="Freeform 14">
              <a:extLst>
                <a:ext uri="{FF2B5EF4-FFF2-40B4-BE49-F238E27FC236}">
                  <a16:creationId xmlns:a16="http://schemas.microsoft.com/office/drawing/2014/main" id="{86C87012-2EEA-A36D-D3F0-E246AC0F8AFA}"/>
                </a:ext>
              </a:extLst>
            </p:cNvPr>
            <p:cNvSpPr>
              <a:spLocks noEditPoints="1"/>
            </p:cNvSpPr>
            <p:nvPr/>
          </p:nvSpPr>
          <p:spPr bwMode="auto">
            <a:xfrm>
              <a:off x="3486150" y="2168525"/>
              <a:ext cx="165100" cy="74613"/>
            </a:xfrm>
            <a:custGeom>
              <a:avLst/>
              <a:gdLst>
                <a:gd name="T0" fmla="*/ 33 w 728"/>
                <a:gd name="T1" fmla="*/ 330 h 330"/>
                <a:gd name="T2" fmla="*/ 15 w 728"/>
                <a:gd name="T3" fmla="*/ 325 h 330"/>
                <a:gd name="T4" fmla="*/ 2 w 728"/>
                <a:gd name="T5" fmla="*/ 311 h 330"/>
                <a:gd name="T6" fmla="*/ 0 w 728"/>
                <a:gd name="T7" fmla="*/ 165 h 330"/>
                <a:gd name="T8" fmla="*/ 2 w 728"/>
                <a:gd name="T9" fmla="*/ 152 h 330"/>
                <a:gd name="T10" fmla="*/ 15 w 728"/>
                <a:gd name="T11" fmla="*/ 138 h 330"/>
                <a:gd name="T12" fmla="*/ 33 w 728"/>
                <a:gd name="T13" fmla="*/ 131 h 330"/>
                <a:gd name="T14" fmla="*/ 205 w 728"/>
                <a:gd name="T15" fmla="*/ 118 h 330"/>
                <a:gd name="T16" fmla="*/ 222 w 728"/>
                <a:gd name="T17" fmla="*/ 80 h 330"/>
                <a:gd name="T18" fmla="*/ 248 w 728"/>
                <a:gd name="T19" fmla="*/ 47 h 330"/>
                <a:gd name="T20" fmla="*/ 282 w 728"/>
                <a:gd name="T21" fmla="*/ 22 h 330"/>
                <a:gd name="T22" fmla="*/ 320 w 728"/>
                <a:gd name="T23" fmla="*/ 5 h 330"/>
                <a:gd name="T24" fmla="*/ 364 w 728"/>
                <a:gd name="T25" fmla="*/ 0 h 330"/>
                <a:gd name="T26" fmla="*/ 393 w 728"/>
                <a:gd name="T27" fmla="*/ 2 h 330"/>
                <a:gd name="T28" fmla="*/ 434 w 728"/>
                <a:gd name="T29" fmla="*/ 16 h 330"/>
                <a:gd name="T30" fmla="*/ 469 w 728"/>
                <a:gd name="T31" fmla="*/ 37 h 330"/>
                <a:gd name="T32" fmla="*/ 497 w 728"/>
                <a:gd name="T33" fmla="*/ 67 h 330"/>
                <a:gd name="T34" fmla="*/ 518 w 728"/>
                <a:gd name="T35" fmla="*/ 105 h 330"/>
                <a:gd name="T36" fmla="*/ 695 w 728"/>
                <a:gd name="T37" fmla="*/ 131 h 330"/>
                <a:gd name="T38" fmla="*/ 707 w 728"/>
                <a:gd name="T39" fmla="*/ 135 h 330"/>
                <a:gd name="T40" fmla="*/ 722 w 728"/>
                <a:gd name="T41" fmla="*/ 146 h 330"/>
                <a:gd name="T42" fmla="*/ 728 w 728"/>
                <a:gd name="T43" fmla="*/ 165 h 330"/>
                <a:gd name="T44" fmla="*/ 727 w 728"/>
                <a:gd name="T45" fmla="*/ 304 h 330"/>
                <a:gd name="T46" fmla="*/ 717 w 728"/>
                <a:gd name="T47" fmla="*/ 321 h 330"/>
                <a:gd name="T48" fmla="*/ 701 w 728"/>
                <a:gd name="T49" fmla="*/ 329 h 330"/>
                <a:gd name="T50" fmla="*/ 67 w 728"/>
                <a:gd name="T51" fmla="*/ 264 h 330"/>
                <a:gd name="T52" fmla="*/ 496 w 728"/>
                <a:gd name="T53" fmla="*/ 198 h 330"/>
                <a:gd name="T54" fmla="*/ 483 w 728"/>
                <a:gd name="T55" fmla="*/ 196 h 330"/>
                <a:gd name="T56" fmla="*/ 468 w 728"/>
                <a:gd name="T57" fmla="*/ 183 h 330"/>
                <a:gd name="T58" fmla="*/ 463 w 728"/>
                <a:gd name="T59" fmla="*/ 165 h 330"/>
                <a:gd name="T60" fmla="*/ 461 w 728"/>
                <a:gd name="T61" fmla="*/ 145 h 330"/>
                <a:gd name="T62" fmla="*/ 450 w 728"/>
                <a:gd name="T63" fmla="*/ 118 h 330"/>
                <a:gd name="T64" fmla="*/ 434 w 728"/>
                <a:gd name="T65" fmla="*/ 95 h 330"/>
                <a:gd name="T66" fmla="*/ 411 w 728"/>
                <a:gd name="T67" fmla="*/ 78 h 330"/>
                <a:gd name="T68" fmla="*/ 383 w 728"/>
                <a:gd name="T69" fmla="*/ 67 h 330"/>
                <a:gd name="T70" fmla="*/ 364 w 728"/>
                <a:gd name="T71" fmla="*/ 65 h 330"/>
                <a:gd name="T72" fmla="*/ 335 w 728"/>
                <a:gd name="T73" fmla="*/ 70 h 330"/>
                <a:gd name="T74" fmla="*/ 309 w 728"/>
                <a:gd name="T75" fmla="*/ 83 h 330"/>
                <a:gd name="T76" fmla="*/ 287 w 728"/>
                <a:gd name="T77" fmla="*/ 101 h 330"/>
                <a:gd name="T78" fmla="*/ 272 w 728"/>
                <a:gd name="T79" fmla="*/ 126 h 330"/>
                <a:gd name="T80" fmla="*/ 265 w 728"/>
                <a:gd name="T81" fmla="*/ 155 h 330"/>
                <a:gd name="T82" fmla="*/ 264 w 728"/>
                <a:gd name="T83" fmla="*/ 172 h 330"/>
                <a:gd name="T84" fmla="*/ 255 w 728"/>
                <a:gd name="T85" fmla="*/ 188 h 330"/>
                <a:gd name="T86" fmla="*/ 238 w 728"/>
                <a:gd name="T87" fmla="*/ 198 h 330"/>
                <a:gd name="T88" fmla="*/ 67 w 728"/>
                <a:gd name="T89" fmla="*/ 26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8" h="330">
                  <a:moveTo>
                    <a:pt x="695" y="330"/>
                  </a:moveTo>
                  <a:lnTo>
                    <a:pt x="33" y="330"/>
                  </a:lnTo>
                  <a:lnTo>
                    <a:pt x="33" y="330"/>
                  </a:lnTo>
                  <a:lnTo>
                    <a:pt x="26" y="329"/>
                  </a:lnTo>
                  <a:lnTo>
                    <a:pt x="20" y="328"/>
                  </a:lnTo>
                  <a:lnTo>
                    <a:pt x="15" y="325"/>
                  </a:lnTo>
                  <a:lnTo>
                    <a:pt x="10" y="321"/>
                  </a:lnTo>
                  <a:lnTo>
                    <a:pt x="5" y="316"/>
                  </a:lnTo>
                  <a:lnTo>
                    <a:pt x="2" y="311"/>
                  </a:lnTo>
                  <a:lnTo>
                    <a:pt x="0" y="304"/>
                  </a:lnTo>
                  <a:lnTo>
                    <a:pt x="0" y="297"/>
                  </a:lnTo>
                  <a:lnTo>
                    <a:pt x="0" y="165"/>
                  </a:lnTo>
                  <a:lnTo>
                    <a:pt x="0" y="165"/>
                  </a:lnTo>
                  <a:lnTo>
                    <a:pt x="0" y="158"/>
                  </a:lnTo>
                  <a:lnTo>
                    <a:pt x="2" y="152"/>
                  </a:lnTo>
                  <a:lnTo>
                    <a:pt x="5" y="146"/>
                  </a:lnTo>
                  <a:lnTo>
                    <a:pt x="10" y="142"/>
                  </a:lnTo>
                  <a:lnTo>
                    <a:pt x="15" y="138"/>
                  </a:lnTo>
                  <a:lnTo>
                    <a:pt x="20" y="135"/>
                  </a:lnTo>
                  <a:lnTo>
                    <a:pt x="26" y="133"/>
                  </a:lnTo>
                  <a:lnTo>
                    <a:pt x="33" y="131"/>
                  </a:lnTo>
                  <a:lnTo>
                    <a:pt x="202" y="131"/>
                  </a:lnTo>
                  <a:lnTo>
                    <a:pt x="202" y="131"/>
                  </a:lnTo>
                  <a:lnTo>
                    <a:pt x="205" y="118"/>
                  </a:lnTo>
                  <a:lnTo>
                    <a:pt x="209" y="105"/>
                  </a:lnTo>
                  <a:lnTo>
                    <a:pt x="216" y="92"/>
                  </a:lnTo>
                  <a:lnTo>
                    <a:pt x="222" y="80"/>
                  </a:lnTo>
                  <a:lnTo>
                    <a:pt x="230" y="67"/>
                  </a:lnTo>
                  <a:lnTo>
                    <a:pt x="238" y="57"/>
                  </a:lnTo>
                  <a:lnTo>
                    <a:pt x="248" y="47"/>
                  </a:lnTo>
                  <a:lnTo>
                    <a:pt x="258" y="37"/>
                  </a:lnTo>
                  <a:lnTo>
                    <a:pt x="269" y="29"/>
                  </a:lnTo>
                  <a:lnTo>
                    <a:pt x="282" y="22"/>
                  </a:lnTo>
                  <a:lnTo>
                    <a:pt x="294" y="16"/>
                  </a:lnTo>
                  <a:lnTo>
                    <a:pt x="307" y="9"/>
                  </a:lnTo>
                  <a:lnTo>
                    <a:pt x="320" y="5"/>
                  </a:lnTo>
                  <a:lnTo>
                    <a:pt x="335" y="2"/>
                  </a:lnTo>
                  <a:lnTo>
                    <a:pt x="349" y="0"/>
                  </a:lnTo>
                  <a:lnTo>
                    <a:pt x="364" y="0"/>
                  </a:lnTo>
                  <a:lnTo>
                    <a:pt x="364" y="0"/>
                  </a:lnTo>
                  <a:lnTo>
                    <a:pt x="378" y="0"/>
                  </a:lnTo>
                  <a:lnTo>
                    <a:pt x="393" y="2"/>
                  </a:lnTo>
                  <a:lnTo>
                    <a:pt x="407" y="5"/>
                  </a:lnTo>
                  <a:lnTo>
                    <a:pt x="420" y="9"/>
                  </a:lnTo>
                  <a:lnTo>
                    <a:pt x="434" y="16"/>
                  </a:lnTo>
                  <a:lnTo>
                    <a:pt x="446" y="22"/>
                  </a:lnTo>
                  <a:lnTo>
                    <a:pt x="458" y="29"/>
                  </a:lnTo>
                  <a:lnTo>
                    <a:pt x="469" y="37"/>
                  </a:lnTo>
                  <a:lnTo>
                    <a:pt x="479" y="47"/>
                  </a:lnTo>
                  <a:lnTo>
                    <a:pt x="489" y="57"/>
                  </a:lnTo>
                  <a:lnTo>
                    <a:pt x="497" y="67"/>
                  </a:lnTo>
                  <a:lnTo>
                    <a:pt x="505" y="80"/>
                  </a:lnTo>
                  <a:lnTo>
                    <a:pt x="512" y="92"/>
                  </a:lnTo>
                  <a:lnTo>
                    <a:pt x="518" y="105"/>
                  </a:lnTo>
                  <a:lnTo>
                    <a:pt x="522" y="118"/>
                  </a:lnTo>
                  <a:lnTo>
                    <a:pt x="526" y="131"/>
                  </a:lnTo>
                  <a:lnTo>
                    <a:pt x="695" y="131"/>
                  </a:lnTo>
                  <a:lnTo>
                    <a:pt x="695" y="131"/>
                  </a:lnTo>
                  <a:lnTo>
                    <a:pt x="701" y="133"/>
                  </a:lnTo>
                  <a:lnTo>
                    <a:pt x="707" y="135"/>
                  </a:lnTo>
                  <a:lnTo>
                    <a:pt x="713" y="138"/>
                  </a:lnTo>
                  <a:lnTo>
                    <a:pt x="717" y="142"/>
                  </a:lnTo>
                  <a:lnTo>
                    <a:pt x="722" y="146"/>
                  </a:lnTo>
                  <a:lnTo>
                    <a:pt x="725" y="152"/>
                  </a:lnTo>
                  <a:lnTo>
                    <a:pt x="727" y="158"/>
                  </a:lnTo>
                  <a:lnTo>
                    <a:pt x="728" y="165"/>
                  </a:lnTo>
                  <a:lnTo>
                    <a:pt x="728" y="297"/>
                  </a:lnTo>
                  <a:lnTo>
                    <a:pt x="728" y="297"/>
                  </a:lnTo>
                  <a:lnTo>
                    <a:pt x="727" y="304"/>
                  </a:lnTo>
                  <a:lnTo>
                    <a:pt x="725" y="311"/>
                  </a:lnTo>
                  <a:lnTo>
                    <a:pt x="722" y="316"/>
                  </a:lnTo>
                  <a:lnTo>
                    <a:pt x="717" y="321"/>
                  </a:lnTo>
                  <a:lnTo>
                    <a:pt x="713" y="325"/>
                  </a:lnTo>
                  <a:lnTo>
                    <a:pt x="707" y="328"/>
                  </a:lnTo>
                  <a:lnTo>
                    <a:pt x="701" y="329"/>
                  </a:lnTo>
                  <a:lnTo>
                    <a:pt x="695" y="330"/>
                  </a:lnTo>
                  <a:lnTo>
                    <a:pt x="695" y="330"/>
                  </a:lnTo>
                  <a:close/>
                  <a:moveTo>
                    <a:pt x="67" y="264"/>
                  </a:moveTo>
                  <a:lnTo>
                    <a:pt x="662" y="264"/>
                  </a:lnTo>
                  <a:lnTo>
                    <a:pt x="662" y="198"/>
                  </a:lnTo>
                  <a:lnTo>
                    <a:pt x="496" y="198"/>
                  </a:lnTo>
                  <a:lnTo>
                    <a:pt x="496" y="198"/>
                  </a:lnTo>
                  <a:lnTo>
                    <a:pt x="489" y="198"/>
                  </a:lnTo>
                  <a:lnTo>
                    <a:pt x="483" y="196"/>
                  </a:lnTo>
                  <a:lnTo>
                    <a:pt x="477" y="193"/>
                  </a:lnTo>
                  <a:lnTo>
                    <a:pt x="472" y="188"/>
                  </a:lnTo>
                  <a:lnTo>
                    <a:pt x="468" y="183"/>
                  </a:lnTo>
                  <a:lnTo>
                    <a:pt x="465" y="178"/>
                  </a:lnTo>
                  <a:lnTo>
                    <a:pt x="464" y="172"/>
                  </a:lnTo>
                  <a:lnTo>
                    <a:pt x="463" y="165"/>
                  </a:lnTo>
                  <a:lnTo>
                    <a:pt x="463" y="165"/>
                  </a:lnTo>
                  <a:lnTo>
                    <a:pt x="462" y="155"/>
                  </a:lnTo>
                  <a:lnTo>
                    <a:pt x="461" y="145"/>
                  </a:lnTo>
                  <a:lnTo>
                    <a:pt x="459" y="136"/>
                  </a:lnTo>
                  <a:lnTo>
                    <a:pt x="455" y="126"/>
                  </a:lnTo>
                  <a:lnTo>
                    <a:pt x="450" y="118"/>
                  </a:lnTo>
                  <a:lnTo>
                    <a:pt x="446" y="110"/>
                  </a:lnTo>
                  <a:lnTo>
                    <a:pt x="440" y="101"/>
                  </a:lnTo>
                  <a:lnTo>
                    <a:pt x="434" y="95"/>
                  </a:lnTo>
                  <a:lnTo>
                    <a:pt x="427" y="88"/>
                  </a:lnTo>
                  <a:lnTo>
                    <a:pt x="419" y="83"/>
                  </a:lnTo>
                  <a:lnTo>
                    <a:pt x="411" y="78"/>
                  </a:lnTo>
                  <a:lnTo>
                    <a:pt x="402" y="74"/>
                  </a:lnTo>
                  <a:lnTo>
                    <a:pt x="394" y="70"/>
                  </a:lnTo>
                  <a:lnTo>
                    <a:pt x="383" y="67"/>
                  </a:lnTo>
                  <a:lnTo>
                    <a:pt x="374" y="66"/>
                  </a:lnTo>
                  <a:lnTo>
                    <a:pt x="364" y="65"/>
                  </a:lnTo>
                  <a:lnTo>
                    <a:pt x="364" y="65"/>
                  </a:lnTo>
                  <a:lnTo>
                    <a:pt x="353" y="66"/>
                  </a:lnTo>
                  <a:lnTo>
                    <a:pt x="344" y="67"/>
                  </a:lnTo>
                  <a:lnTo>
                    <a:pt x="335" y="70"/>
                  </a:lnTo>
                  <a:lnTo>
                    <a:pt x="325" y="74"/>
                  </a:lnTo>
                  <a:lnTo>
                    <a:pt x="316" y="78"/>
                  </a:lnTo>
                  <a:lnTo>
                    <a:pt x="309" y="83"/>
                  </a:lnTo>
                  <a:lnTo>
                    <a:pt x="300" y="88"/>
                  </a:lnTo>
                  <a:lnTo>
                    <a:pt x="293" y="95"/>
                  </a:lnTo>
                  <a:lnTo>
                    <a:pt x="287" y="101"/>
                  </a:lnTo>
                  <a:lnTo>
                    <a:pt x="282" y="110"/>
                  </a:lnTo>
                  <a:lnTo>
                    <a:pt x="277" y="118"/>
                  </a:lnTo>
                  <a:lnTo>
                    <a:pt x="272" y="126"/>
                  </a:lnTo>
                  <a:lnTo>
                    <a:pt x="269" y="136"/>
                  </a:lnTo>
                  <a:lnTo>
                    <a:pt x="266" y="145"/>
                  </a:lnTo>
                  <a:lnTo>
                    <a:pt x="265" y="155"/>
                  </a:lnTo>
                  <a:lnTo>
                    <a:pt x="264" y="165"/>
                  </a:lnTo>
                  <a:lnTo>
                    <a:pt x="264" y="165"/>
                  </a:lnTo>
                  <a:lnTo>
                    <a:pt x="264" y="172"/>
                  </a:lnTo>
                  <a:lnTo>
                    <a:pt x="262" y="178"/>
                  </a:lnTo>
                  <a:lnTo>
                    <a:pt x="259" y="183"/>
                  </a:lnTo>
                  <a:lnTo>
                    <a:pt x="255" y="188"/>
                  </a:lnTo>
                  <a:lnTo>
                    <a:pt x="250" y="193"/>
                  </a:lnTo>
                  <a:lnTo>
                    <a:pt x="245" y="196"/>
                  </a:lnTo>
                  <a:lnTo>
                    <a:pt x="238" y="198"/>
                  </a:lnTo>
                  <a:lnTo>
                    <a:pt x="231" y="198"/>
                  </a:lnTo>
                  <a:lnTo>
                    <a:pt x="67" y="198"/>
                  </a:lnTo>
                  <a:lnTo>
                    <a:pt x="67"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13" name="Freeform 15">
              <a:extLst>
                <a:ext uri="{FF2B5EF4-FFF2-40B4-BE49-F238E27FC236}">
                  <a16:creationId xmlns:a16="http://schemas.microsoft.com/office/drawing/2014/main" id="{8649A620-C0F7-89A9-28BB-8DFEC8BA580C}"/>
                </a:ext>
              </a:extLst>
            </p:cNvPr>
            <p:cNvSpPr>
              <a:spLocks/>
            </p:cNvSpPr>
            <p:nvPr/>
          </p:nvSpPr>
          <p:spPr bwMode="auto">
            <a:xfrm>
              <a:off x="3455988" y="2228850"/>
              <a:ext cx="225425" cy="269875"/>
            </a:xfrm>
            <a:custGeom>
              <a:avLst/>
              <a:gdLst>
                <a:gd name="T0" fmla="*/ 958 w 991"/>
                <a:gd name="T1" fmla="*/ 1191 h 1191"/>
                <a:gd name="T2" fmla="*/ 33 w 991"/>
                <a:gd name="T3" fmla="*/ 1191 h 1191"/>
                <a:gd name="T4" fmla="*/ 33 w 991"/>
                <a:gd name="T5" fmla="*/ 1191 h 1191"/>
                <a:gd name="T6" fmla="*/ 26 w 991"/>
                <a:gd name="T7" fmla="*/ 1191 h 1191"/>
                <a:gd name="T8" fmla="*/ 20 w 991"/>
                <a:gd name="T9" fmla="*/ 1189 h 1191"/>
                <a:gd name="T10" fmla="*/ 14 w 991"/>
                <a:gd name="T11" fmla="*/ 1186 h 1191"/>
                <a:gd name="T12" fmla="*/ 9 w 991"/>
                <a:gd name="T13" fmla="*/ 1181 h 1191"/>
                <a:gd name="T14" fmla="*/ 5 w 991"/>
                <a:gd name="T15" fmla="*/ 1176 h 1191"/>
                <a:gd name="T16" fmla="*/ 2 w 991"/>
                <a:gd name="T17" fmla="*/ 1171 h 1191"/>
                <a:gd name="T18" fmla="*/ 0 w 991"/>
                <a:gd name="T19" fmla="*/ 1165 h 1191"/>
                <a:gd name="T20" fmla="*/ 0 w 991"/>
                <a:gd name="T21" fmla="*/ 1159 h 1191"/>
                <a:gd name="T22" fmla="*/ 0 w 991"/>
                <a:gd name="T23" fmla="*/ 33 h 1191"/>
                <a:gd name="T24" fmla="*/ 0 w 991"/>
                <a:gd name="T25" fmla="*/ 33 h 1191"/>
                <a:gd name="T26" fmla="*/ 0 w 991"/>
                <a:gd name="T27" fmla="*/ 27 h 1191"/>
                <a:gd name="T28" fmla="*/ 2 w 991"/>
                <a:gd name="T29" fmla="*/ 21 h 1191"/>
                <a:gd name="T30" fmla="*/ 5 w 991"/>
                <a:gd name="T31" fmla="*/ 15 h 1191"/>
                <a:gd name="T32" fmla="*/ 9 w 991"/>
                <a:gd name="T33" fmla="*/ 10 h 1191"/>
                <a:gd name="T34" fmla="*/ 14 w 991"/>
                <a:gd name="T35" fmla="*/ 6 h 1191"/>
                <a:gd name="T36" fmla="*/ 20 w 991"/>
                <a:gd name="T37" fmla="*/ 3 h 1191"/>
                <a:gd name="T38" fmla="*/ 26 w 991"/>
                <a:gd name="T39" fmla="*/ 1 h 1191"/>
                <a:gd name="T40" fmla="*/ 33 w 991"/>
                <a:gd name="T41" fmla="*/ 0 h 1191"/>
                <a:gd name="T42" fmla="*/ 33 w 991"/>
                <a:gd name="T43" fmla="*/ 0 h 1191"/>
                <a:gd name="T44" fmla="*/ 39 w 991"/>
                <a:gd name="T45" fmla="*/ 1 h 1191"/>
                <a:gd name="T46" fmla="*/ 45 w 991"/>
                <a:gd name="T47" fmla="*/ 3 h 1191"/>
                <a:gd name="T48" fmla="*/ 52 w 991"/>
                <a:gd name="T49" fmla="*/ 6 h 1191"/>
                <a:gd name="T50" fmla="*/ 56 w 991"/>
                <a:gd name="T51" fmla="*/ 10 h 1191"/>
                <a:gd name="T52" fmla="*/ 60 w 991"/>
                <a:gd name="T53" fmla="*/ 15 h 1191"/>
                <a:gd name="T54" fmla="*/ 63 w 991"/>
                <a:gd name="T55" fmla="*/ 21 h 1191"/>
                <a:gd name="T56" fmla="*/ 65 w 991"/>
                <a:gd name="T57" fmla="*/ 27 h 1191"/>
                <a:gd name="T58" fmla="*/ 66 w 991"/>
                <a:gd name="T59" fmla="*/ 33 h 1191"/>
                <a:gd name="T60" fmla="*/ 66 w 991"/>
                <a:gd name="T61" fmla="*/ 1126 h 1191"/>
                <a:gd name="T62" fmla="*/ 925 w 991"/>
                <a:gd name="T63" fmla="*/ 1126 h 1191"/>
                <a:gd name="T64" fmla="*/ 925 w 991"/>
                <a:gd name="T65" fmla="*/ 33 h 1191"/>
                <a:gd name="T66" fmla="*/ 925 w 991"/>
                <a:gd name="T67" fmla="*/ 33 h 1191"/>
                <a:gd name="T68" fmla="*/ 926 w 991"/>
                <a:gd name="T69" fmla="*/ 27 h 1191"/>
                <a:gd name="T70" fmla="*/ 928 w 991"/>
                <a:gd name="T71" fmla="*/ 21 h 1191"/>
                <a:gd name="T72" fmla="*/ 931 w 991"/>
                <a:gd name="T73" fmla="*/ 15 h 1191"/>
                <a:gd name="T74" fmla="*/ 935 w 991"/>
                <a:gd name="T75" fmla="*/ 10 h 1191"/>
                <a:gd name="T76" fmla="*/ 941 w 991"/>
                <a:gd name="T77" fmla="*/ 6 h 1191"/>
                <a:gd name="T78" fmla="*/ 946 w 991"/>
                <a:gd name="T79" fmla="*/ 3 h 1191"/>
                <a:gd name="T80" fmla="*/ 952 w 991"/>
                <a:gd name="T81" fmla="*/ 1 h 1191"/>
                <a:gd name="T82" fmla="*/ 958 w 991"/>
                <a:gd name="T83" fmla="*/ 0 h 1191"/>
                <a:gd name="T84" fmla="*/ 958 w 991"/>
                <a:gd name="T85" fmla="*/ 0 h 1191"/>
                <a:gd name="T86" fmla="*/ 965 w 991"/>
                <a:gd name="T87" fmla="*/ 1 h 1191"/>
                <a:gd name="T88" fmla="*/ 972 w 991"/>
                <a:gd name="T89" fmla="*/ 3 h 1191"/>
                <a:gd name="T90" fmla="*/ 977 w 991"/>
                <a:gd name="T91" fmla="*/ 6 h 1191"/>
                <a:gd name="T92" fmla="*/ 982 w 991"/>
                <a:gd name="T93" fmla="*/ 10 h 1191"/>
                <a:gd name="T94" fmla="*/ 986 w 991"/>
                <a:gd name="T95" fmla="*/ 15 h 1191"/>
                <a:gd name="T96" fmla="*/ 989 w 991"/>
                <a:gd name="T97" fmla="*/ 21 h 1191"/>
                <a:gd name="T98" fmla="*/ 991 w 991"/>
                <a:gd name="T99" fmla="*/ 27 h 1191"/>
                <a:gd name="T100" fmla="*/ 991 w 991"/>
                <a:gd name="T101" fmla="*/ 33 h 1191"/>
                <a:gd name="T102" fmla="*/ 991 w 991"/>
                <a:gd name="T103" fmla="*/ 1159 h 1191"/>
                <a:gd name="T104" fmla="*/ 991 w 991"/>
                <a:gd name="T105" fmla="*/ 1159 h 1191"/>
                <a:gd name="T106" fmla="*/ 991 w 991"/>
                <a:gd name="T107" fmla="*/ 1165 h 1191"/>
                <a:gd name="T108" fmla="*/ 989 w 991"/>
                <a:gd name="T109" fmla="*/ 1171 h 1191"/>
                <a:gd name="T110" fmla="*/ 986 w 991"/>
                <a:gd name="T111" fmla="*/ 1176 h 1191"/>
                <a:gd name="T112" fmla="*/ 982 w 991"/>
                <a:gd name="T113" fmla="*/ 1181 h 1191"/>
                <a:gd name="T114" fmla="*/ 977 w 991"/>
                <a:gd name="T115" fmla="*/ 1186 h 1191"/>
                <a:gd name="T116" fmla="*/ 972 w 991"/>
                <a:gd name="T117" fmla="*/ 1189 h 1191"/>
                <a:gd name="T118" fmla="*/ 965 w 991"/>
                <a:gd name="T119" fmla="*/ 1191 h 1191"/>
                <a:gd name="T120" fmla="*/ 958 w 991"/>
                <a:gd name="T121" fmla="*/ 1191 h 1191"/>
                <a:gd name="T122" fmla="*/ 958 w 991"/>
                <a:gd name="T123" fmla="*/ 119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1" h="1191">
                  <a:moveTo>
                    <a:pt x="958" y="1191"/>
                  </a:moveTo>
                  <a:lnTo>
                    <a:pt x="33" y="1191"/>
                  </a:lnTo>
                  <a:lnTo>
                    <a:pt x="33" y="1191"/>
                  </a:lnTo>
                  <a:lnTo>
                    <a:pt x="26" y="1191"/>
                  </a:lnTo>
                  <a:lnTo>
                    <a:pt x="20" y="1189"/>
                  </a:lnTo>
                  <a:lnTo>
                    <a:pt x="14" y="1186"/>
                  </a:lnTo>
                  <a:lnTo>
                    <a:pt x="9" y="1181"/>
                  </a:lnTo>
                  <a:lnTo>
                    <a:pt x="5" y="1176"/>
                  </a:lnTo>
                  <a:lnTo>
                    <a:pt x="2" y="1171"/>
                  </a:lnTo>
                  <a:lnTo>
                    <a:pt x="0" y="1165"/>
                  </a:lnTo>
                  <a:lnTo>
                    <a:pt x="0" y="1159"/>
                  </a:lnTo>
                  <a:lnTo>
                    <a:pt x="0" y="33"/>
                  </a:lnTo>
                  <a:lnTo>
                    <a:pt x="0" y="33"/>
                  </a:lnTo>
                  <a:lnTo>
                    <a:pt x="0" y="27"/>
                  </a:lnTo>
                  <a:lnTo>
                    <a:pt x="2" y="21"/>
                  </a:lnTo>
                  <a:lnTo>
                    <a:pt x="5" y="15"/>
                  </a:lnTo>
                  <a:lnTo>
                    <a:pt x="9" y="10"/>
                  </a:lnTo>
                  <a:lnTo>
                    <a:pt x="14" y="6"/>
                  </a:lnTo>
                  <a:lnTo>
                    <a:pt x="20" y="3"/>
                  </a:lnTo>
                  <a:lnTo>
                    <a:pt x="26" y="1"/>
                  </a:lnTo>
                  <a:lnTo>
                    <a:pt x="33" y="0"/>
                  </a:lnTo>
                  <a:lnTo>
                    <a:pt x="33" y="0"/>
                  </a:lnTo>
                  <a:lnTo>
                    <a:pt x="39" y="1"/>
                  </a:lnTo>
                  <a:lnTo>
                    <a:pt x="45" y="3"/>
                  </a:lnTo>
                  <a:lnTo>
                    <a:pt x="52" y="6"/>
                  </a:lnTo>
                  <a:lnTo>
                    <a:pt x="56" y="10"/>
                  </a:lnTo>
                  <a:lnTo>
                    <a:pt x="60" y="15"/>
                  </a:lnTo>
                  <a:lnTo>
                    <a:pt x="63" y="21"/>
                  </a:lnTo>
                  <a:lnTo>
                    <a:pt x="65" y="27"/>
                  </a:lnTo>
                  <a:lnTo>
                    <a:pt x="66" y="33"/>
                  </a:lnTo>
                  <a:lnTo>
                    <a:pt x="66" y="1126"/>
                  </a:lnTo>
                  <a:lnTo>
                    <a:pt x="925" y="1126"/>
                  </a:lnTo>
                  <a:lnTo>
                    <a:pt x="925" y="33"/>
                  </a:lnTo>
                  <a:lnTo>
                    <a:pt x="925" y="33"/>
                  </a:lnTo>
                  <a:lnTo>
                    <a:pt x="926" y="27"/>
                  </a:lnTo>
                  <a:lnTo>
                    <a:pt x="928" y="21"/>
                  </a:lnTo>
                  <a:lnTo>
                    <a:pt x="931" y="15"/>
                  </a:lnTo>
                  <a:lnTo>
                    <a:pt x="935" y="10"/>
                  </a:lnTo>
                  <a:lnTo>
                    <a:pt x="941" y="6"/>
                  </a:lnTo>
                  <a:lnTo>
                    <a:pt x="946" y="3"/>
                  </a:lnTo>
                  <a:lnTo>
                    <a:pt x="952" y="1"/>
                  </a:lnTo>
                  <a:lnTo>
                    <a:pt x="958" y="0"/>
                  </a:lnTo>
                  <a:lnTo>
                    <a:pt x="958" y="0"/>
                  </a:lnTo>
                  <a:lnTo>
                    <a:pt x="965" y="1"/>
                  </a:lnTo>
                  <a:lnTo>
                    <a:pt x="972" y="3"/>
                  </a:lnTo>
                  <a:lnTo>
                    <a:pt x="977" y="6"/>
                  </a:lnTo>
                  <a:lnTo>
                    <a:pt x="982" y="10"/>
                  </a:lnTo>
                  <a:lnTo>
                    <a:pt x="986" y="15"/>
                  </a:lnTo>
                  <a:lnTo>
                    <a:pt x="989" y="21"/>
                  </a:lnTo>
                  <a:lnTo>
                    <a:pt x="991" y="27"/>
                  </a:lnTo>
                  <a:lnTo>
                    <a:pt x="991" y="33"/>
                  </a:lnTo>
                  <a:lnTo>
                    <a:pt x="991" y="1159"/>
                  </a:lnTo>
                  <a:lnTo>
                    <a:pt x="991" y="1159"/>
                  </a:lnTo>
                  <a:lnTo>
                    <a:pt x="991" y="1165"/>
                  </a:lnTo>
                  <a:lnTo>
                    <a:pt x="989" y="1171"/>
                  </a:lnTo>
                  <a:lnTo>
                    <a:pt x="986" y="1176"/>
                  </a:lnTo>
                  <a:lnTo>
                    <a:pt x="982" y="1181"/>
                  </a:lnTo>
                  <a:lnTo>
                    <a:pt x="977" y="1186"/>
                  </a:lnTo>
                  <a:lnTo>
                    <a:pt x="972" y="1189"/>
                  </a:lnTo>
                  <a:lnTo>
                    <a:pt x="965" y="1191"/>
                  </a:lnTo>
                  <a:lnTo>
                    <a:pt x="958" y="1191"/>
                  </a:lnTo>
                  <a:lnTo>
                    <a:pt x="958" y="1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14" name="Freeform 16">
              <a:extLst>
                <a:ext uri="{FF2B5EF4-FFF2-40B4-BE49-F238E27FC236}">
                  <a16:creationId xmlns:a16="http://schemas.microsoft.com/office/drawing/2014/main" id="{E842FA14-CA47-E2DB-242D-B199E4401350}"/>
                </a:ext>
              </a:extLst>
            </p:cNvPr>
            <p:cNvSpPr>
              <a:spLocks/>
            </p:cNvSpPr>
            <p:nvPr/>
          </p:nvSpPr>
          <p:spPr bwMode="auto">
            <a:xfrm>
              <a:off x="3530600" y="2289175"/>
              <a:ext cx="106363" cy="14288"/>
            </a:xfrm>
            <a:custGeom>
              <a:avLst/>
              <a:gdLst>
                <a:gd name="T0" fmla="*/ 430 w 464"/>
                <a:gd name="T1" fmla="*/ 66 h 66"/>
                <a:gd name="T2" fmla="*/ 33 w 464"/>
                <a:gd name="T3" fmla="*/ 66 h 66"/>
                <a:gd name="T4" fmla="*/ 33 w 464"/>
                <a:gd name="T5" fmla="*/ 66 h 66"/>
                <a:gd name="T6" fmla="*/ 27 w 464"/>
                <a:gd name="T7" fmla="*/ 65 h 66"/>
                <a:gd name="T8" fmla="*/ 21 w 464"/>
                <a:gd name="T9" fmla="*/ 63 h 66"/>
                <a:gd name="T10" fmla="*/ 14 w 464"/>
                <a:gd name="T11" fmla="*/ 60 h 66"/>
                <a:gd name="T12" fmla="*/ 10 w 464"/>
                <a:gd name="T13" fmla="*/ 56 h 66"/>
                <a:gd name="T14" fmla="*/ 6 w 464"/>
                <a:gd name="T15" fmla="*/ 52 h 66"/>
                <a:gd name="T16" fmla="*/ 3 w 464"/>
                <a:gd name="T17" fmla="*/ 46 h 66"/>
                <a:gd name="T18" fmla="*/ 1 w 464"/>
                <a:gd name="T19" fmla="*/ 39 h 66"/>
                <a:gd name="T20" fmla="*/ 0 w 464"/>
                <a:gd name="T21" fmla="*/ 33 h 66"/>
                <a:gd name="T22" fmla="*/ 0 w 464"/>
                <a:gd name="T23" fmla="*/ 33 h 66"/>
                <a:gd name="T24" fmla="*/ 1 w 464"/>
                <a:gd name="T25" fmla="*/ 26 h 66"/>
                <a:gd name="T26" fmla="*/ 3 w 464"/>
                <a:gd name="T27" fmla="*/ 20 h 66"/>
                <a:gd name="T28" fmla="*/ 6 w 464"/>
                <a:gd name="T29" fmla="*/ 15 h 66"/>
                <a:gd name="T30" fmla="*/ 10 w 464"/>
                <a:gd name="T31" fmla="*/ 9 h 66"/>
                <a:gd name="T32" fmla="*/ 14 w 464"/>
                <a:gd name="T33" fmla="*/ 5 h 66"/>
                <a:gd name="T34" fmla="*/ 21 w 464"/>
                <a:gd name="T35" fmla="*/ 2 h 66"/>
                <a:gd name="T36" fmla="*/ 27 w 464"/>
                <a:gd name="T37" fmla="*/ 0 h 66"/>
                <a:gd name="T38" fmla="*/ 33 w 464"/>
                <a:gd name="T39" fmla="*/ 0 h 66"/>
                <a:gd name="T40" fmla="*/ 430 w 464"/>
                <a:gd name="T41" fmla="*/ 0 h 66"/>
                <a:gd name="T42" fmla="*/ 430 w 464"/>
                <a:gd name="T43" fmla="*/ 0 h 66"/>
                <a:gd name="T44" fmla="*/ 437 w 464"/>
                <a:gd name="T45" fmla="*/ 0 h 66"/>
                <a:gd name="T46" fmla="*/ 443 w 464"/>
                <a:gd name="T47" fmla="*/ 2 h 66"/>
                <a:gd name="T48" fmla="*/ 449 w 464"/>
                <a:gd name="T49" fmla="*/ 5 h 66"/>
                <a:gd name="T50" fmla="*/ 453 w 464"/>
                <a:gd name="T51" fmla="*/ 9 h 66"/>
                <a:gd name="T52" fmla="*/ 457 w 464"/>
                <a:gd name="T53" fmla="*/ 15 h 66"/>
                <a:gd name="T54" fmla="*/ 460 w 464"/>
                <a:gd name="T55" fmla="*/ 20 h 66"/>
                <a:gd name="T56" fmla="*/ 463 w 464"/>
                <a:gd name="T57" fmla="*/ 26 h 66"/>
                <a:gd name="T58" fmla="*/ 464 w 464"/>
                <a:gd name="T59" fmla="*/ 33 h 66"/>
                <a:gd name="T60" fmla="*/ 464 w 464"/>
                <a:gd name="T61" fmla="*/ 33 h 66"/>
                <a:gd name="T62" fmla="*/ 463 w 464"/>
                <a:gd name="T63" fmla="*/ 39 h 66"/>
                <a:gd name="T64" fmla="*/ 460 w 464"/>
                <a:gd name="T65" fmla="*/ 46 h 66"/>
                <a:gd name="T66" fmla="*/ 457 w 464"/>
                <a:gd name="T67" fmla="*/ 52 h 66"/>
                <a:gd name="T68" fmla="*/ 453 w 464"/>
                <a:gd name="T69" fmla="*/ 56 h 66"/>
                <a:gd name="T70" fmla="*/ 449 w 464"/>
                <a:gd name="T71" fmla="*/ 60 h 66"/>
                <a:gd name="T72" fmla="*/ 443 w 464"/>
                <a:gd name="T73" fmla="*/ 63 h 66"/>
                <a:gd name="T74" fmla="*/ 437 w 464"/>
                <a:gd name="T75" fmla="*/ 65 h 66"/>
                <a:gd name="T76" fmla="*/ 430 w 464"/>
                <a:gd name="T77" fmla="*/ 66 h 66"/>
                <a:gd name="T78" fmla="*/ 430 w 464"/>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4" h="66">
                  <a:moveTo>
                    <a:pt x="430" y="66"/>
                  </a:moveTo>
                  <a:lnTo>
                    <a:pt x="33" y="66"/>
                  </a:lnTo>
                  <a:lnTo>
                    <a:pt x="33" y="66"/>
                  </a:lnTo>
                  <a:lnTo>
                    <a:pt x="27" y="65"/>
                  </a:lnTo>
                  <a:lnTo>
                    <a:pt x="21" y="63"/>
                  </a:lnTo>
                  <a:lnTo>
                    <a:pt x="14" y="60"/>
                  </a:lnTo>
                  <a:lnTo>
                    <a:pt x="10" y="56"/>
                  </a:lnTo>
                  <a:lnTo>
                    <a:pt x="6" y="52"/>
                  </a:lnTo>
                  <a:lnTo>
                    <a:pt x="3" y="46"/>
                  </a:lnTo>
                  <a:lnTo>
                    <a:pt x="1" y="39"/>
                  </a:lnTo>
                  <a:lnTo>
                    <a:pt x="0" y="33"/>
                  </a:lnTo>
                  <a:lnTo>
                    <a:pt x="0" y="33"/>
                  </a:lnTo>
                  <a:lnTo>
                    <a:pt x="1" y="26"/>
                  </a:lnTo>
                  <a:lnTo>
                    <a:pt x="3" y="20"/>
                  </a:lnTo>
                  <a:lnTo>
                    <a:pt x="6" y="15"/>
                  </a:lnTo>
                  <a:lnTo>
                    <a:pt x="10" y="9"/>
                  </a:lnTo>
                  <a:lnTo>
                    <a:pt x="14" y="5"/>
                  </a:lnTo>
                  <a:lnTo>
                    <a:pt x="21" y="2"/>
                  </a:lnTo>
                  <a:lnTo>
                    <a:pt x="27" y="0"/>
                  </a:lnTo>
                  <a:lnTo>
                    <a:pt x="33" y="0"/>
                  </a:lnTo>
                  <a:lnTo>
                    <a:pt x="430" y="0"/>
                  </a:lnTo>
                  <a:lnTo>
                    <a:pt x="430" y="0"/>
                  </a:lnTo>
                  <a:lnTo>
                    <a:pt x="437" y="0"/>
                  </a:lnTo>
                  <a:lnTo>
                    <a:pt x="443" y="2"/>
                  </a:lnTo>
                  <a:lnTo>
                    <a:pt x="449" y="5"/>
                  </a:lnTo>
                  <a:lnTo>
                    <a:pt x="453" y="9"/>
                  </a:lnTo>
                  <a:lnTo>
                    <a:pt x="457" y="15"/>
                  </a:lnTo>
                  <a:lnTo>
                    <a:pt x="460" y="20"/>
                  </a:lnTo>
                  <a:lnTo>
                    <a:pt x="463" y="26"/>
                  </a:lnTo>
                  <a:lnTo>
                    <a:pt x="464" y="33"/>
                  </a:lnTo>
                  <a:lnTo>
                    <a:pt x="464" y="33"/>
                  </a:lnTo>
                  <a:lnTo>
                    <a:pt x="463" y="39"/>
                  </a:lnTo>
                  <a:lnTo>
                    <a:pt x="460" y="46"/>
                  </a:lnTo>
                  <a:lnTo>
                    <a:pt x="457" y="52"/>
                  </a:lnTo>
                  <a:lnTo>
                    <a:pt x="453" y="56"/>
                  </a:lnTo>
                  <a:lnTo>
                    <a:pt x="449" y="60"/>
                  </a:lnTo>
                  <a:lnTo>
                    <a:pt x="443" y="63"/>
                  </a:lnTo>
                  <a:lnTo>
                    <a:pt x="437" y="65"/>
                  </a:lnTo>
                  <a:lnTo>
                    <a:pt x="430" y="66"/>
                  </a:lnTo>
                  <a:lnTo>
                    <a:pt x="43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15" name="Freeform 17">
              <a:extLst>
                <a:ext uri="{FF2B5EF4-FFF2-40B4-BE49-F238E27FC236}">
                  <a16:creationId xmlns:a16="http://schemas.microsoft.com/office/drawing/2014/main" id="{5C675FC3-4A14-F128-8B85-60F2900D6925}"/>
                </a:ext>
              </a:extLst>
            </p:cNvPr>
            <p:cNvSpPr>
              <a:spLocks/>
            </p:cNvSpPr>
            <p:nvPr/>
          </p:nvSpPr>
          <p:spPr bwMode="auto">
            <a:xfrm>
              <a:off x="3530600" y="2333625"/>
              <a:ext cx="106363" cy="14288"/>
            </a:xfrm>
            <a:custGeom>
              <a:avLst/>
              <a:gdLst>
                <a:gd name="T0" fmla="*/ 430 w 464"/>
                <a:gd name="T1" fmla="*/ 65 h 65"/>
                <a:gd name="T2" fmla="*/ 33 w 464"/>
                <a:gd name="T3" fmla="*/ 65 h 65"/>
                <a:gd name="T4" fmla="*/ 33 w 464"/>
                <a:gd name="T5" fmla="*/ 65 h 65"/>
                <a:gd name="T6" fmla="*/ 27 w 464"/>
                <a:gd name="T7" fmla="*/ 65 h 65"/>
                <a:gd name="T8" fmla="*/ 21 w 464"/>
                <a:gd name="T9" fmla="*/ 63 h 65"/>
                <a:gd name="T10" fmla="*/ 14 w 464"/>
                <a:gd name="T11" fmla="*/ 60 h 65"/>
                <a:gd name="T12" fmla="*/ 10 w 464"/>
                <a:gd name="T13" fmla="*/ 56 h 65"/>
                <a:gd name="T14" fmla="*/ 6 w 464"/>
                <a:gd name="T15" fmla="*/ 51 h 65"/>
                <a:gd name="T16" fmla="*/ 3 w 464"/>
                <a:gd name="T17" fmla="*/ 45 h 65"/>
                <a:gd name="T18" fmla="*/ 1 w 464"/>
                <a:gd name="T19" fmla="*/ 39 h 65"/>
                <a:gd name="T20" fmla="*/ 0 w 464"/>
                <a:gd name="T21" fmla="*/ 32 h 65"/>
                <a:gd name="T22" fmla="*/ 0 w 464"/>
                <a:gd name="T23" fmla="*/ 32 h 65"/>
                <a:gd name="T24" fmla="*/ 1 w 464"/>
                <a:gd name="T25" fmla="*/ 26 h 65"/>
                <a:gd name="T26" fmla="*/ 3 w 464"/>
                <a:gd name="T27" fmla="*/ 20 h 65"/>
                <a:gd name="T28" fmla="*/ 6 w 464"/>
                <a:gd name="T29" fmla="*/ 14 h 65"/>
                <a:gd name="T30" fmla="*/ 10 w 464"/>
                <a:gd name="T31" fmla="*/ 9 h 65"/>
                <a:gd name="T32" fmla="*/ 14 w 464"/>
                <a:gd name="T33" fmla="*/ 5 h 65"/>
                <a:gd name="T34" fmla="*/ 21 w 464"/>
                <a:gd name="T35" fmla="*/ 2 h 65"/>
                <a:gd name="T36" fmla="*/ 27 w 464"/>
                <a:gd name="T37" fmla="*/ 0 h 65"/>
                <a:gd name="T38" fmla="*/ 33 w 464"/>
                <a:gd name="T39" fmla="*/ 0 h 65"/>
                <a:gd name="T40" fmla="*/ 430 w 464"/>
                <a:gd name="T41" fmla="*/ 0 h 65"/>
                <a:gd name="T42" fmla="*/ 430 w 464"/>
                <a:gd name="T43" fmla="*/ 0 h 65"/>
                <a:gd name="T44" fmla="*/ 437 w 464"/>
                <a:gd name="T45" fmla="*/ 0 h 65"/>
                <a:gd name="T46" fmla="*/ 443 w 464"/>
                <a:gd name="T47" fmla="*/ 2 h 65"/>
                <a:gd name="T48" fmla="*/ 449 w 464"/>
                <a:gd name="T49" fmla="*/ 5 h 65"/>
                <a:gd name="T50" fmla="*/ 453 w 464"/>
                <a:gd name="T51" fmla="*/ 9 h 65"/>
                <a:gd name="T52" fmla="*/ 457 w 464"/>
                <a:gd name="T53" fmla="*/ 14 h 65"/>
                <a:gd name="T54" fmla="*/ 460 w 464"/>
                <a:gd name="T55" fmla="*/ 20 h 65"/>
                <a:gd name="T56" fmla="*/ 463 w 464"/>
                <a:gd name="T57" fmla="*/ 26 h 65"/>
                <a:gd name="T58" fmla="*/ 464 w 464"/>
                <a:gd name="T59" fmla="*/ 32 h 65"/>
                <a:gd name="T60" fmla="*/ 464 w 464"/>
                <a:gd name="T61" fmla="*/ 32 h 65"/>
                <a:gd name="T62" fmla="*/ 463 w 464"/>
                <a:gd name="T63" fmla="*/ 39 h 65"/>
                <a:gd name="T64" fmla="*/ 460 w 464"/>
                <a:gd name="T65" fmla="*/ 45 h 65"/>
                <a:gd name="T66" fmla="*/ 457 w 464"/>
                <a:gd name="T67" fmla="*/ 51 h 65"/>
                <a:gd name="T68" fmla="*/ 453 w 464"/>
                <a:gd name="T69" fmla="*/ 56 h 65"/>
                <a:gd name="T70" fmla="*/ 449 w 464"/>
                <a:gd name="T71" fmla="*/ 60 h 65"/>
                <a:gd name="T72" fmla="*/ 443 w 464"/>
                <a:gd name="T73" fmla="*/ 63 h 65"/>
                <a:gd name="T74" fmla="*/ 437 w 464"/>
                <a:gd name="T75" fmla="*/ 65 h 65"/>
                <a:gd name="T76" fmla="*/ 430 w 464"/>
                <a:gd name="T77" fmla="*/ 65 h 65"/>
                <a:gd name="T78" fmla="*/ 430 w 464"/>
                <a:gd name="T7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4" h="65">
                  <a:moveTo>
                    <a:pt x="430" y="65"/>
                  </a:moveTo>
                  <a:lnTo>
                    <a:pt x="33" y="65"/>
                  </a:lnTo>
                  <a:lnTo>
                    <a:pt x="33" y="65"/>
                  </a:lnTo>
                  <a:lnTo>
                    <a:pt x="27" y="65"/>
                  </a:lnTo>
                  <a:lnTo>
                    <a:pt x="21" y="63"/>
                  </a:lnTo>
                  <a:lnTo>
                    <a:pt x="14" y="60"/>
                  </a:lnTo>
                  <a:lnTo>
                    <a:pt x="10" y="56"/>
                  </a:lnTo>
                  <a:lnTo>
                    <a:pt x="6" y="51"/>
                  </a:lnTo>
                  <a:lnTo>
                    <a:pt x="3" y="45"/>
                  </a:lnTo>
                  <a:lnTo>
                    <a:pt x="1" y="39"/>
                  </a:lnTo>
                  <a:lnTo>
                    <a:pt x="0" y="32"/>
                  </a:lnTo>
                  <a:lnTo>
                    <a:pt x="0" y="32"/>
                  </a:lnTo>
                  <a:lnTo>
                    <a:pt x="1" y="26"/>
                  </a:lnTo>
                  <a:lnTo>
                    <a:pt x="3" y="20"/>
                  </a:lnTo>
                  <a:lnTo>
                    <a:pt x="6" y="14"/>
                  </a:lnTo>
                  <a:lnTo>
                    <a:pt x="10" y="9"/>
                  </a:lnTo>
                  <a:lnTo>
                    <a:pt x="14" y="5"/>
                  </a:lnTo>
                  <a:lnTo>
                    <a:pt x="21" y="2"/>
                  </a:lnTo>
                  <a:lnTo>
                    <a:pt x="27" y="0"/>
                  </a:lnTo>
                  <a:lnTo>
                    <a:pt x="33" y="0"/>
                  </a:lnTo>
                  <a:lnTo>
                    <a:pt x="430" y="0"/>
                  </a:lnTo>
                  <a:lnTo>
                    <a:pt x="430" y="0"/>
                  </a:lnTo>
                  <a:lnTo>
                    <a:pt x="437" y="0"/>
                  </a:lnTo>
                  <a:lnTo>
                    <a:pt x="443" y="2"/>
                  </a:lnTo>
                  <a:lnTo>
                    <a:pt x="449" y="5"/>
                  </a:lnTo>
                  <a:lnTo>
                    <a:pt x="453" y="9"/>
                  </a:lnTo>
                  <a:lnTo>
                    <a:pt x="457" y="14"/>
                  </a:lnTo>
                  <a:lnTo>
                    <a:pt x="460" y="20"/>
                  </a:lnTo>
                  <a:lnTo>
                    <a:pt x="463" y="26"/>
                  </a:lnTo>
                  <a:lnTo>
                    <a:pt x="464" y="32"/>
                  </a:lnTo>
                  <a:lnTo>
                    <a:pt x="464" y="32"/>
                  </a:lnTo>
                  <a:lnTo>
                    <a:pt x="463" y="39"/>
                  </a:lnTo>
                  <a:lnTo>
                    <a:pt x="460" y="45"/>
                  </a:lnTo>
                  <a:lnTo>
                    <a:pt x="457" y="51"/>
                  </a:lnTo>
                  <a:lnTo>
                    <a:pt x="453" y="56"/>
                  </a:lnTo>
                  <a:lnTo>
                    <a:pt x="449" y="60"/>
                  </a:lnTo>
                  <a:lnTo>
                    <a:pt x="443" y="63"/>
                  </a:lnTo>
                  <a:lnTo>
                    <a:pt x="437" y="65"/>
                  </a:lnTo>
                  <a:lnTo>
                    <a:pt x="430" y="65"/>
                  </a:lnTo>
                  <a:lnTo>
                    <a:pt x="430"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16" name="Freeform 18">
              <a:extLst>
                <a:ext uri="{FF2B5EF4-FFF2-40B4-BE49-F238E27FC236}">
                  <a16:creationId xmlns:a16="http://schemas.microsoft.com/office/drawing/2014/main" id="{673249AD-9DC3-CBAA-F215-1500D235CD6E}"/>
                </a:ext>
              </a:extLst>
            </p:cNvPr>
            <p:cNvSpPr>
              <a:spLocks/>
            </p:cNvSpPr>
            <p:nvPr/>
          </p:nvSpPr>
          <p:spPr bwMode="auto">
            <a:xfrm>
              <a:off x="3530600" y="2378075"/>
              <a:ext cx="106363" cy="15875"/>
            </a:xfrm>
            <a:custGeom>
              <a:avLst/>
              <a:gdLst>
                <a:gd name="T0" fmla="*/ 430 w 464"/>
                <a:gd name="T1" fmla="*/ 66 h 66"/>
                <a:gd name="T2" fmla="*/ 33 w 464"/>
                <a:gd name="T3" fmla="*/ 66 h 66"/>
                <a:gd name="T4" fmla="*/ 33 w 464"/>
                <a:gd name="T5" fmla="*/ 66 h 66"/>
                <a:gd name="T6" fmla="*/ 27 w 464"/>
                <a:gd name="T7" fmla="*/ 65 h 66"/>
                <a:gd name="T8" fmla="*/ 21 w 464"/>
                <a:gd name="T9" fmla="*/ 64 h 66"/>
                <a:gd name="T10" fmla="*/ 14 w 464"/>
                <a:gd name="T11" fmla="*/ 61 h 66"/>
                <a:gd name="T12" fmla="*/ 10 w 464"/>
                <a:gd name="T13" fmla="*/ 57 h 66"/>
                <a:gd name="T14" fmla="*/ 6 w 464"/>
                <a:gd name="T15" fmla="*/ 51 h 66"/>
                <a:gd name="T16" fmla="*/ 3 w 464"/>
                <a:gd name="T17" fmla="*/ 46 h 66"/>
                <a:gd name="T18" fmla="*/ 1 w 464"/>
                <a:gd name="T19" fmla="*/ 40 h 66"/>
                <a:gd name="T20" fmla="*/ 0 w 464"/>
                <a:gd name="T21" fmla="*/ 33 h 66"/>
                <a:gd name="T22" fmla="*/ 0 w 464"/>
                <a:gd name="T23" fmla="*/ 33 h 66"/>
                <a:gd name="T24" fmla="*/ 1 w 464"/>
                <a:gd name="T25" fmla="*/ 27 h 66"/>
                <a:gd name="T26" fmla="*/ 3 w 464"/>
                <a:gd name="T27" fmla="*/ 20 h 66"/>
                <a:gd name="T28" fmla="*/ 6 w 464"/>
                <a:gd name="T29" fmla="*/ 14 h 66"/>
                <a:gd name="T30" fmla="*/ 10 w 464"/>
                <a:gd name="T31" fmla="*/ 10 h 66"/>
                <a:gd name="T32" fmla="*/ 14 w 464"/>
                <a:gd name="T33" fmla="*/ 6 h 66"/>
                <a:gd name="T34" fmla="*/ 21 w 464"/>
                <a:gd name="T35" fmla="*/ 3 h 66"/>
                <a:gd name="T36" fmla="*/ 27 w 464"/>
                <a:gd name="T37" fmla="*/ 1 h 66"/>
                <a:gd name="T38" fmla="*/ 33 w 464"/>
                <a:gd name="T39" fmla="*/ 0 h 66"/>
                <a:gd name="T40" fmla="*/ 430 w 464"/>
                <a:gd name="T41" fmla="*/ 0 h 66"/>
                <a:gd name="T42" fmla="*/ 430 w 464"/>
                <a:gd name="T43" fmla="*/ 0 h 66"/>
                <a:gd name="T44" fmla="*/ 437 w 464"/>
                <a:gd name="T45" fmla="*/ 1 h 66"/>
                <a:gd name="T46" fmla="*/ 443 w 464"/>
                <a:gd name="T47" fmla="*/ 3 h 66"/>
                <a:gd name="T48" fmla="*/ 449 w 464"/>
                <a:gd name="T49" fmla="*/ 6 h 66"/>
                <a:gd name="T50" fmla="*/ 453 w 464"/>
                <a:gd name="T51" fmla="*/ 10 h 66"/>
                <a:gd name="T52" fmla="*/ 457 w 464"/>
                <a:gd name="T53" fmla="*/ 14 h 66"/>
                <a:gd name="T54" fmla="*/ 460 w 464"/>
                <a:gd name="T55" fmla="*/ 20 h 66"/>
                <a:gd name="T56" fmla="*/ 463 w 464"/>
                <a:gd name="T57" fmla="*/ 27 h 66"/>
                <a:gd name="T58" fmla="*/ 464 w 464"/>
                <a:gd name="T59" fmla="*/ 33 h 66"/>
                <a:gd name="T60" fmla="*/ 464 w 464"/>
                <a:gd name="T61" fmla="*/ 33 h 66"/>
                <a:gd name="T62" fmla="*/ 463 w 464"/>
                <a:gd name="T63" fmla="*/ 40 h 66"/>
                <a:gd name="T64" fmla="*/ 460 w 464"/>
                <a:gd name="T65" fmla="*/ 46 h 66"/>
                <a:gd name="T66" fmla="*/ 457 w 464"/>
                <a:gd name="T67" fmla="*/ 51 h 66"/>
                <a:gd name="T68" fmla="*/ 453 w 464"/>
                <a:gd name="T69" fmla="*/ 57 h 66"/>
                <a:gd name="T70" fmla="*/ 449 w 464"/>
                <a:gd name="T71" fmla="*/ 61 h 66"/>
                <a:gd name="T72" fmla="*/ 443 w 464"/>
                <a:gd name="T73" fmla="*/ 64 h 66"/>
                <a:gd name="T74" fmla="*/ 437 w 464"/>
                <a:gd name="T75" fmla="*/ 65 h 66"/>
                <a:gd name="T76" fmla="*/ 430 w 464"/>
                <a:gd name="T77" fmla="*/ 66 h 66"/>
                <a:gd name="T78" fmla="*/ 430 w 464"/>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4" h="66">
                  <a:moveTo>
                    <a:pt x="430" y="66"/>
                  </a:moveTo>
                  <a:lnTo>
                    <a:pt x="33" y="66"/>
                  </a:lnTo>
                  <a:lnTo>
                    <a:pt x="33" y="66"/>
                  </a:lnTo>
                  <a:lnTo>
                    <a:pt x="27" y="65"/>
                  </a:lnTo>
                  <a:lnTo>
                    <a:pt x="21" y="64"/>
                  </a:lnTo>
                  <a:lnTo>
                    <a:pt x="14" y="61"/>
                  </a:lnTo>
                  <a:lnTo>
                    <a:pt x="10" y="57"/>
                  </a:lnTo>
                  <a:lnTo>
                    <a:pt x="6" y="51"/>
                  </a:lnTo>
                  <a:lnTo>
                    <a:pt x="3" y="46"/>
                  </a:lnTo>
                  <a:lnTo>
                    <a:pt x="1" y="40"/>
                  </a:lnTo>
                  <a:lnTo>
                    <a:pt x="0" y="33"/>
                  </a:lnTo>
                  <a:lnTo>
                    <a:pt x="0" y="33"/>
                  </a:lnTo>
                  <a:lnTo>
                    <a:pt x="1" y="27"/>
                  </a:lnTo>
                  <a:lnTo>
                    <a:pt x="3" y="20"/>
                  </a:lnTo>
                  <a:lnTo>
                    <a:pt x="6" y="14"/>
                  </a:lnTo>
                  <a:lnTo>
                    <a:pt x="10" y="10"/>
                  </a:lnTo>
                  <a:lnTo>
                    <a:pt x="14" y="6"/>
                  </a:lnTo>
                  <a:lnTo>
                    <a:pt x="21" y="3"/>
                  </a:lnTo>
                  <a:lnTo>
                    <a:pt x="27" y="1"/>
                  </a:lnTo>
                  <a:lnTo>
                    <a:pt x="33" y="0"/>
                  </a:lnTo>
                  <a:lnTo>
                    <a:pt x="430" y="0"/>
                  </a:lnTo>
                  <a:lnTo>
                    <a:pt x="430" y="0"/>
                  </a:lnTo>
                  <a:lnTo>
                    <a:pt x="437" y="1"/>
                  </a:lnTo>
                  <a:lnTo>
                    <a:pt x="443" y="3"/>
                  </a:lnTo>
                  <a:lnTo>
                    <a:pt x="449" y="6"/>
                  </a:lnTo>
                  <a:lnTo>
                    <a:pt x="453" y="10"/>
                  </a:lnTo>
                  <a:lnTo>
                    <a:pt x="457" y="14"/>
                  </a:lnTo>
                  <a:lnTo>
                    <a:pt x="460" y="20"/>
                  </a:lnTo>
                  <a:lnTo>
                    <a:pt x="463" y="27"/>
                  </a:lnTo>
                  <a:lnTo>
                    <a:pt x="464" y="33"/>
                  </a:lnTo>
                  <a:lnTo>
                    <a:pt x="464" y="33"/>
                  </a:lnTo>
                  <a:lnTo>
                    <a:pt x="463" y="40"/>
                  </a:lnTo>
                  <a:lnTo>
                    <a:pt x="460" y="46"/>
                  </a:lnTo>
                  <a:lnTo>
                    <a:pt x="457" y="51"/>
                  </a:lnTo>
                  <a:lnTo>
                    <a:pt x="453" y="57"/>
                  </a:lnTo>
                  <a:lnTo>
                    <a:pt x="449" y="61"/>
                  </a:lnTo>
                  <a:lnTo>
                    <a:pt x="443" y="64"/>
                  </a:lnTo>
                  <a:lnTo>
                    <a:pt x="437" y="65"/>
                  </a:lnTo>
                  <a:lnTo>
                    <a:pt x="430" y="66"/>
                  </a:lnTo>
                  <a:lnTo>
                    <a:pt x="43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17" name="Freeform 19">
              <a:extLst>
                <a:ext uri="{FF2B5EF4-FFF2-40B4-BE49-F238E27FC236}">
                  <a16:creationId xmlns:a16="http://schemas.microsoft.com/office/drawing/2014/main" id="{79869CED-7613-FC16-7105-3558749A4F78}"/>
                </a:ext>
              </a:extLst>
            </p:cNvPr>
            <p:cNvSpPr>
              <a:spLocks/>
            </p:cNvSpPr>
            <p:nvPr/>
          </p:nvSpPr>
          <p:spPr bwMode="auto">
            <a:xfrm>
              <a:off x="3530600" y="2424113"/>
              <a:ext cx="106363" cy="14288"/>
            </a:xfrm>
            <a:custGeom>
              <a:avLst/>
              <a:gdLst>
                <a:gd name="T0" fmla="*/ 430 w 464"/>
                <a:gd name="T1" fmla="*/ 67 h 67"/>
                <a:gd name="T2" fmla="*/ 33 w 464"/>
                <a:gd name="T3" fmla="*/ 67 h 67"/>
                <a:gd name="T4" fmla="*/ 33 w 464"/>
                <a:gd name="T5" fmla="*/ 67 h 67"/>
                <a:gd name="T6" fmla="*/ 27 w 464"/>
                <a:gd name="T7" fmla="*/ 66 h 67"/>
                <a:gd name="T8" fmla="*/ 21 w 464"/>
                <a:gd name="T9" fmla="*/ 64 h 67"/>
                <a:gd name="T10" fmla="*/ 14 w 464"/>
                <a:gd name="T11" fmla="*/ 60 h 67"/>
                <a:gd name="T12" fmla="*/ 10 w 464"/>
                <a:gd name="T13" fmla="*/ 56 h 67"/>
                <a:gd name="T14" fmla="*/ 6 w 464"/>
                <a:gd name="T15" fmla="*/ 52 h 67"/>
                <a:gd name="T16" fmla="*/ 3 w 464"/>
                <a:gd name="T17" fmla="*/ 46 h 67"/>
                <a:gd name="T18" fmla="*/ 1 w 464"/>
                <a:gd name="T19" fmla="*/ 40 h 67"/>
                <a:gd name="T20" fmla="*/ 0 w 464"/>
                <a:gd name="T21" fmla="*/ 34 h 67"/>
                <a:gd name="T22" fmla="*/ 0 w 464"/>
                <a:gd name="T23" fmla="*/ 34 h 67"/>
                <a:gd name="T24" fmla="*/ 1 w 464"/>
                <a:gd name="T25" fmla="*/ 26 h 67"/>
                <a:gd name="T26" fmla="*/ 3 w 464"/>
                <a:gd name="T27" fmla="*/ 20 h 67"/>
                <a:gd name="T28" fmla="*/ 6 w 464"/>
                <a:gd name="T29" fmla="*/ 15 h 67"/>
                <a:gd name="T30" fmla="*/ 10 w 464"/>
                <a:gd name="T31" fmla="*/ 10 h 67"/>
                <a:gd name="T32" fmla="*/ 14 w 464"/>
                <a:gd name="T33" fmla="*/ 6 h 67"/>
                <a:gd name="T34" fmla="*/ 21 w 464"/>
                <a:gd name="T35" fmla="*/ 3 h 67"/>
                <a:gd name="T36" fmla="*/ 27 w 464"/>
                <a:gd name="T37" fmla="*/ 1 h 67"/>
                <a:gd name="T38" fmla="*/ 33 w 464"/>
                <a:gd name="T39" fmla="*/ 0 h 67"/>
                <a:gd name="T40" fmla="*/ 430 w 464"/>
                <a:gd name="T41" fmla="*/ 0 h 67"/>
                <a:gd name="T42" fmla="*/ 430 w 464"/>
                <a:gd name="T43" fmla="*/ 0 h 67"/>
                <a:gd name="T44" fmla="*/ 437 w 464"/>
                <a:gd name="T45" fmla="*/ 1 h 67"/>
                <a:gd name="T46" fmla="*/ 443 w 464"/>
                <a:gd name="T47" fmla="*/ 3 h 67"/>
                <a:gd name="T48" fmla="*/ 449 w 464"/>
                <a:gd name="T49" fmla="*/ 6 h 67"/>
                <a:gd name="T50" fmla="*/ 453 w 464"/>
                <a:gd name="T51" fmla="*/ 10 h 67"/>
                <a:gd name="T52" fmla="*/ 457 w 464"/>
                <a:gd name="T53" fmla="*/ 15 h 67"/>
                <a:gd name="T54" fmla="*/ 460 w 464"/>
                <a:gd name="T55" fmla="*/ 20 h 67"/>
                <a:gd name="T56" fmla="*/ 463 w 464"/>
                <a:gd name="T57" fmla="*/ 26 h 67"/>
                <a:gd name="T58" fmla="*/ 464 w 464"/>
                <a:gd name="T59" fmla="*/ 34 h 67"/>
                <a:gd name="T60" fmla="*/ 464 w 464"/>
                <a:gd name="T61" fmla="*/ 34 h 67"/>
                <a:gd name="T62" fmla="*/ 463 w 464"/>
                <a:gd name="T63" fmla="*/ 40 h 67"/>
                <a:gd name="T64" fmla="*/ 460 w 464"/>
                <a:gd name="T65" fmla="*/ 46 h 67"/>
                <a:gd name="T66" fmla="*/ 457 w 464"/>
                <a:gd name="T67" fmla="*/ 52 h 67"/>
                <a:gd name="T68" fmla="*/ 453 w 464"/>
                <a:gd name="T69" fmla="*/ 56 h 67"/>
                <a:gd name="T70" fmla="*/ 449 w 464"/>
                <a:gd name="T71" fmla="*/ 60 h 67"/>
                <a:gd name="T72" fmla="*/ 443 w 464"/>
                <a:gd name="T73" fmla="*/ 64 h 67"/>
                <a:gd name="T74" fmla="*/ 437 w 464"/>
                <a:gd name="T75" fmla="*/ 66 h 67"/>
                <a:gd name="T76" fmla="*/ 430 w 464"/>
                <a:gd name="T77" fmla="*/ 67 h 67"/>
                <a:gd name="T78" fmla="*/ 430 w 464"/>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4" h="67">
                  <a:moveTo>
                    <a:pt x="430" y="67"/>
                  </a:moveTo>
                  <a:lnTo>
                    <a:pt x="33" y="67"/>
                  </a:lnTo>
                  <a:lnTo>
                    <a:pt x="33" y="67"/>
                  </a:lnTo>
                  <a:lnTo>
                    <a:pt x="27" y="66"/>
                  </a:lnTo>
                  <a:lnTo>
                    <a:pt x="21" y="64"/>
                  </a:lnTo>
                  <a:lnTo>
                    <a:pt x="14" y="60"/>
                  </a:lnTo>
                  <a:lnTo>
                    <a:pt x="10" y="56"/>
                  </a:lnTo>
                  <a:lnTo>
                    <a:pt x="6" y="52"/>
                  </a:lnTo>
                  <a:lnTo>
                    <a:pt x="3" y="46"/>
                  </a:lnTo>
                  <a:lnTo>
                    <a:pt x="1" y="40"/>
                  </a:lnTo>
                  <a:lnTo>
                    <a:pt x="0" y="34"/>
                  </a:lnTo>
                  <a:lnTo>
                    <a:pt x="0" y="34"/>
                  </a:lnTo>
                  <a:lnTo>
                    <a:pt x="1" y="26"/>
                  </a:lnTo>
                  <a:lnTo>
                    <a:pt x="3" y="20"/>
                  </a:lnTo>
                  <a:lnTo>
                    <a:pt x="6" y="15"/>
                  </a:lnTo>
                  <a:lnTo>
                    <a:pt x="10" y="10"/>
                  </a:lnTo>
                  <a:lnTo>
                    <a:pt x="14" y="6"/>
                  </a:lnTo>
                  <a:lnTo>
                    <a:pt x="21" y="3"/>
                  </a:lnTo>
                  <a:lnTo>
                    <a:pt x="27" y="1"/>
                  </a:lnTo>
                  <a:lnTo>
                    <a:pt x="33" y="0"/>
                  </a:lnTo>
                  <a:lnTo>
                    <a:pt x="430" y="0"/>
                  </a:lnTo>
                  <a:lnTo>
                    <a:pt x="430" y="0"/>
                  </a:lnTo>
                  <a:lnTo>
                    <a:pt x="437" y="1"/>
                  </a:lnTo>
                  <a:lnTo>
                    <a:pt x="443" y="3"/>
                  </a:lnTo>
                  <a:lnTo>
                    <a:pt x="449" y="6"/>
                  </a:lnTo>
                  <a:lnTo>
                    <a:pt x="453" y="10"/>
                  </a:lnTo>
                  <a:lnTo>
                    <a:pt x="457" y="15"/>
                  </a:lnTo>
                  <a:lnTo>
                    <a:pt x="460" y="20"/>
                  </a:lnTo>
                  <a:lnTo>
                    <a:pt x="463" y="26"/>
                  </a:lnTo>
                  <a:lnTo>
                    <a:pt x="464" y="34"/>
                  </a:lnTo>
                  <a:lnTo>
                    <a:pt x="464" y="34"/>
                  </a:lnTo>
                  <a:lnTo>
                    <a:pt x="463" y="40"/>
                  </a:lnTo>
                  <a:lnTo>
                    <a:pt x="460" y="46"/>
                  </a:lnTo>
                  <a:lnTo>
                    <a:pt x="457" y="52"/>
                  </a:lnTo>
                  <a:lnTo>
                    <a:pt x="453" y="56"/>
                  </a:lnTo>
                  <a:lnTo>
                    <a:pt x="449" y="60"/>
                  </a:lnTo>
                  <a:lnTo>
                    <a:pt x="443" y="64"/>
                  </a:lnTo>
                  <a:lnTo>
                    <a:pt x="437" y="66"/>
                  </a:lnTo>
                  <a:lnTo>
                    <a:pt x="430" y="67"/>
                  </a:lnTo>
                  <a:lnTo>
                    <a:pt x="430"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18" name="Freeform 20">
              <a:extLst>
                <a:ext uri="{FF2B5EF4-FFF2-40B4-BE49-F238E27FC236}">
                  <a16:creationId xmlns:a16="http://schemas.microsoft.com/office/drawing/2014/main" id="{93F4E185-F4CF-04A7-C0BC-1F0F4795270E}"/>
                </a:ext>
              </a:extLst>
            </p:cNvPr>
            <p:cNvSpPr>
              <a:spLocks/>
            </p:cNvSpPr>
            <p:nvPr/>
          </p:nvSpPr>
          <p:spPr bwMode="auto">
            <a:xfrm>
              <a:off x="3494088" y="2289175"/>
              <a:ext cx="22225" cy="14288"/>
            </a:xfrm>
            <a:custGeom>
              <a:avLst/>
              <a:gdLst>
                <a:gd name="T0" fmla="*/ 67 w 99"/>
                <a:gd name="T1" fmla="*/ 66 h 66"/>
                <a:gd name="T2" fmla="*/ 34 w 99"/>
                <a:gd name="T3" fmla="*/ 66 h 66"/>
                <a:gd name="T4" fmla="*/ 34 w 99"/>
                <a:gd name="T5" fmla="*/ 66 h 66"/>
                <a:gd name="T6" fmla="*/ 26 w 99"/>
                <a:gd name="T7" fmla="*/ 65 h 66"/>
                <a:gd name="T8" fmla="*/ 20 w 99"/>
                <a:gd name="T9" fmla="*/ 63 h 66"/>
                <a:gd name="T10" fmla="*/ 15 w 99"/>
                <a:gd name="T11" fmla="*/ 60 h 66"/>
                <a:gd name="T12" fmla="*/ 10 w 99"/>
                <a:gd name="T13" fmla="*/ 56 h 66"/>
                <a:gd name="T14" fmla="*/ 6 w 99"/>
                <a:gd name="T15" fmla="*/ 52 h 66"/>
                <a:gd name="T16" fmla="*/ 3 w 99"/>
                <a:gd name="T17" fmla="*/ 46 h 66"/>
                <a:gd name="T18" fmla="*/ 0 w 99"/>
                <a:gd name="T19" fmla="*/ 39 h 66"/>
                <a:gd name="T20" fmla="*/ 0 w 99"/>
                <a:gd name="T21" fmla="*/ 33 h 66"/>
                <a:gd name="T22" fmla="*/ 0 w 99"/>
                <a:gd name="T23" fmla="*/ 33 h 66"/>
                <a:gd name="T24" fmla="*/ 0 w 99"/>
                <a:gd name="T25" fmla="*/ 26 h 66"/>
                <a:gd name="T26" fmla="*/ 3 w 99"/>
                <a:gd name="T27" fmla="*/ 20 h 66"/>
                <a:gd name="T28" fmla="*/ 6 w 99"/>
                <a:gd name="T29" fmla="*/ 15 h 66"/>
                <a:gd name="T30" fmla="*/ 10 w 99"/>
                <a:gd name="T31" fmla="*/ 9 h 66"/>
                <a:gd name="T32" fmla="*/ 15 w 99"/>
                <a:gd name="T33" fmla="*/ 5 h 66"/>
                <a:gd name="T34" fmla="*/ 20 w 99"/>
                <a:gd name="T35" fmla="*/ 2 h 66"/>
                <a:gd name="T36" fmla="*/ 26 w 99"/>
                <a:gd name="T37" fmla="*/ 0 h 66"/>
                <a:gd name="T38" fmla="*/ 34 w 99"/>
                <a:gd name="T39" fmla="*/ 0 h 66"/>
                <a:gd name="T40" fmla="*/ 67 w 99"/>
                <a:gd name="T41" fmla="*/ 0 h 66"/>
                <a:gd name="T42" fmla="*/ 67 w 99"/>
                <a:gd name="T43" fmla="*/ 0 h 66"/>
                <a:gd name="T44" fmla="*/ 73 w 99"/>
                <a:gd name="T45" fmla="*/ 0 h 66"/>
                <a:gd name="T46" fmla="*/ 79 w 99"/>
                <a:gd name="T47" fmla="*/ 2 h 66"/>
                <a:gd name="T48" fmla="*/ 84 w 99"/>
                <a:gd name="T49" fmla="*/ 5 h 66"/>
                <a:gd name="T50" fmla="*/ 89 w 99"/>
                <a:gd name="T51" fmla="*/ 9 h 66"/>
                <a:gd name="T52" fmla="*/ 94 w 99"/>
                <a:gd name="T53" fmla="*/ 15 h 66"/>
                <a:gd name="T54" fmla="*/ 97 w 99"/>
                <a:gd name="T55" fmla="*/ 20 h 66"/>
                <a:gd name="T56" fmla="*/ 99 w 99"/>
                <a:gd name="T57" fmla="*/ 26 h 66"/>
                <a:gd name="T58" fmla="*/ 99 w 99"/>
                <a:gd name="T59" fmla="*/ 33 h 66"/>
                <a:gd name="T60" fmla="*/ 99 w 99"/>
                <a:gd name="T61" fmla="*/ 33 h 66"/>
                <a:gd name="T62" fmla="*/ 99 w 99"/>
                <a:gd name="T63" fmla="*/ 39 h 66"/>
                <a:gd name="T64" fmla="*/ 97 w 99"/>
                <a:gd name="T65" fmla="*/ 46 h 66"/>
                <a:gd name="T66" fmla="*/ 94 w 99"/>
                <a:gd name="T67" fmla="*/ 52 h 66"/>
                <a:gd name="T68" fmla="*/ 89 w 99"/>
                <a:gd name="T69" fmla="*/ 56 h 66"/>
                <a:gd name="T70" fmla="*/ 84 w 99"/>
                <a:gd name="T71" fmla="*/ 60 h 66"/>
                <a:gd name="T72" fmla="*/ 79 w 99"/>
                <a:gd name="T73" fmla="*/ 63 h 66"/>
                <a:gd name="T74" fmla="*/ 73 w 99"/>
                <a:gd name="T75" fmla="*/ 65 h 66"/>
                <a:gd name="T76" fmla="*/ 67 w 99"/>
                <a:gd name="T77" fmla="*/ 66 h 66"/>
                <a:gd name="T78" fmla="*/ 67 w 99"/>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9" h="66">
                  <a:moveTo>
                    <a:pt x="67" y="66"/>
                  </a:moveTo>
                  <a:lnTo>
                    <a:pt x="34" y="66"/>
                  </a:lnTo>
                  <a:lnTo>
                    <a:pt x="34" y="66"/>
                  </a:lnTo>
                  <a:lnTo>
                    <a:pt x="26" y="65"/>
                  </a:lnTo>
                  <a:lnTo>
                    <a:pt x="20" y="63"/>
                  </a:lnTo>
                  <a:lnTo>
                    <a:pt x="15" y="60"/>
                  </a:lnTo>
                  <a:lnTo>
                    <a:pt x="10" y="56"/>
                  </a:lnTo>
                  <a:lnTo>
                    <a:pt x="6" y="52"/>
                  </a:lnTo>
                  <a:lnTo>
                    <a:pt x="3" y="46"/>
                  </a:lnTo>
                  <a:lnTo>
                    <a:pt x="0" y="39"/>
                  </a:lnTo>
                  <a:lnTo>
                    <a:pt x="0" y="33"/>
                  </a:lnTo>
                  <a:lnTo>
                    <a:pt x="0" y="33"/>
                  </a:lnTo>
                  <a:lnTo>
                    <a:pt x="0" y="26"/>
                  </a:lnTo>
                  <a:lnTo>
                    <a:pt x="3" y="20"/>
                  </a:lnTo>
                  <a:lnTo>
                    <a:pt x="6" y="15"/>
                  </a:lnTo>
                  <a:lnTo>
                    <a:pt x="10" y="9"/>
                  </a:lnTo>
                  <a:lnTo>
                    <a:pt x="15" y="5"/>
                  </a:lnTo>
                  <a:lnTo>
                    <a:pt x="20" y="2"/>
                  </a:lnTo>
                  <a:lnTo>
                    <a:pt x="26" y="0"/>
                  </a:lnTo>
                  <a:lnTo>
                    <a:pt x="34" y="0"/>
                  </a:lnTo>
                  <a:lnTo>
                    <a:pt x="67" y="0"/>
                  </a:lnTo>
                  <a:lnTo>
                    <a:pt x="67" y="0"/>
                  </a:lnTo>
                  <a:lnTo>
                    <a:pt x="73" y="0"/>
                  </a:lnTo>
                  <a:lnTo>
                    <a:pt x="79" y="2"/>
                  </a:lnTo>
                  <a:lnTo>
                    <a:pt x="84" y="5"/>
                  </a:lnTo>
                  <a:lnTo>
                    <a:pt x="89" y="9"/>
                  </a:lnTo>
                  <a:lnTo>
                    <a:pt x="94" y="15"/>
                  </a:lnTo>
                  <a:lnTo>
                    <a:pt x="97" y="20"/>
                  </a:lnTo>
                  <a:lnTo>
                    <a:pt x="99" y="26"/>
                  </a:lnTo>
                  <a:lnTo>
                    <a:pt x="99" y="33"/>
                  </a:lnTo>
                  <a:lnTo>
                    <a:pt x="99" y="33"/>
                  </a:lnTo>
                  <a:lnTo>
                    <a:pt x="99" y="39"/>
                  </a:lnTo>
                  <a:lnTo>
                    <a:pt x="97" y="46"/>
                  </a:lnTo>
                  <a:lnTo>
                    <a:pt x="94" y="52"/>
                  </a:lnTo>
                  <a:lnTo>
                    <a:pt x="89" y="56"/>
                  </a:lnTo>
                  <a:lnTo>
                    <a:pt x="84" y="60"/>
                  </a:lnTo>
                  <a:lnTo>
                    <a:pt x="79" y="63"/>
                  </a:lnTo>
                  <a:lnTo>
                    <a:pt x="73" y="65"/>
                  </a:lnTo>
                  <a:lnTo>
                    <a:pt x="67" y="66"/>
                  </a:lnTo>
                  <a:lnTo>
                    <a:pt x="6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19" name="Freeform 21">
              <a:extLst>
                <a:ext uri="{FF2B5EF4-FFF2-40B4-BE49-F238E27FC236}">
                  <a16:creationId xmlns:a16="http://schemas.microsoft.com/office/drawing/2014/main" id="{3D20A46E-498F-15F4-FE88-A8D62CCFF9E4}"/>
                </a:ext>
              </a:extLst>
            </p:cNvPr>
            <p:cNvSpPr>
              <a:spLocks/>
            </p:cNvSpPr>
            <p:nvPr/>
          </p:nvSpPr>
          <p:spPr bwMode="auto">
            <a:xfrm>
              <a:off x="3494088" y="2333625"/>
              <a:ext cx="22225" cy="14288"/>
            </a:xfrm>
            <a:custGeom>
              <a:avLst/>
              <a:gdLst>
                <a:gd name="T0" fmla="*/ 67 w 99"/>
                <a:gd name="T1" fmla="*/ 65 h 65"/>
                <a:gd name="T2" fmla="*/ 34 w 99"/>
                <a:gd name="T3" fmla="*/ 65 h 65"/>
                <a:gd name="T4" fmla="*/ 34 w 99"/>
                <a:gd name="T5" fmla="*/ 65 h 65"/>
                <a:gd name="T6" fmla="*/ 26 w 99"/>
                <a:gd name="T7" fmla="*/ 65 h 65"/>
                <a:gd name="T8" fmla="*/ 20 w 99"/>
                <a:gd name="T9" fmla="*/ 63 h 65"/>
                <a:gd name="T10" fmla="*/ 15 w 99"/>
                <a:gd name="T11" fmla="*/ 60 h 65"/>
                <a:gd name="T12" fmla="*/ 10 w 99"/>
                <a:gd name="T13" fmla="*/ 56 h 65"/>
                <a:gd name="T14" fmla="*/ 6 w 99"/>
                <a:gd name="T15" fmla="*/ 51 h 65"/>
                <a:gd name="T16" fmla="*/ 3 w 99"/>
                <a:gd name="T17" fmla="*/ 45 h 65"/>
                <a:gd name="T18" fmla="*/ 0 w 99"/>
                <a:gd name="T19" fmla="*/ 39 h 65"/>
                <a:gd name="T20" fmla="*/ 0 w 99"/>
                <a:gd name="T21" fmla="*/ 32 h 65"/>
                <a:gd name="T22" fmla="*/ 0 w 99"/>
                <a:gd name="T23" fmla="*/ 32 h 65"/>
                <a:gd name="T24" fmla="*/ 0 w 99"/>
                <a:gd name="T25" fmla="*/ 26 h 65"/>
                <a:gd name="T26" fmla="*/ 3 w 99"/>
                <a:gd name="T27" fmla="*/ 20 h 65"/>
                <a:gd name="T28" fmla="*/ 6 w 99"/>
                <a:gd name="T29" fmla="*/ 14 h 65"/>
                <a:gd name="T30" fmla="*/ 10 w 99"/>
                <a:gd name="T31" fmla="*/ 9 h 65"/>
                <a:gd name="T32" fmla="*/ 15 w 99"/>
                <a:gd name="T33" fmla="*/ 5 h 65"/>
                <a:gd name="T34" fmla="*/ 20 w 99"/>
                <a:gd name="T35" fmla="*/ 2 h 65"/>
                <a:gd name="T36" fmla="*/ 26 w 99"/>
                <a:gd name="T37" fmla="*/ 0 h 65"/>
                <a:gd name="T38" fmla="*/ 34 w 99"/>
                <a:gd name="T39" fmla="*/ 0 h 65"/>
                <a:gd name="T40" fmla="*/ 67 w 99"/>
                <a:gd name="T41" fmla="*/ 0 h 65"/>
                <a:gd name="T42" fmla="*/ 67 w 99"/>
                <a:gd name="T43" fmla="*/ 0 h 65"/>
                <a:gd name="T44" fmla="*/ 73 w 99"/>
                <a:gd name="T45" fmla="*/ 0 h 65"/>
                <a:gd name="T46" fmla="*/ 79 w 99"/>
                <a:gd name="T47" fmla="*/ 2 h 65"/>
                <a:gd name="T48" fmla="*/ 84 w 99"/>
                <a:gd name="T49" fmla="*/ 5 h 65"/>
                <a:gd name="T50" fmla="*/ 89 w 99"/>
                <a:gd name="T51" fmla="*/ 9 h 65"/>
                <a:gd name="T52" fmla="*/ 94 w 99"/>
                <a:gd name="T53" fmla="*/ 14 h 65"/>
                <a:gd name="T54" fmla="*/ 97 w 99"/>
                <a:gd name="T55" fmla="*/ 20 h 65"/>
                <a:gd name="T56" fmla="*/ 99 w 99"/>
                <a:gd name="T57" fmla="*/ 26 h 65"/>
                <a:gd name="T58" fmla="*/ 99 w 99"/>
                <a:gd name="T59" fmla="*/ 32 h 65"/>
                <a:gd name="T60" fmla="*/ 99 w 99"/>
                <a:gd name="T61" fmla="*/ 32 h 65"/>
                <a:gd name="T62" fmla="*/ 99 w 99"/>
                <a:gd name="T63" fmla="*/ 39 h 65"/>
                <a:gd name="T64" fmla="*/ 97 w 99"/>
                <a:gd name="T65" fmla="*/ 45 h 65"/>
                <a:gd name="T66" fmla="*/ 94 w 99"/>
                <a:gd name="T67" fmla="*/ 51 h 65"/>
                <a:gd name="T68" fmla="*/ 89 w 99"/>
                <a:gd name="T69" fmla="*/ 56 h 65"/>
                <a:gd name="T70" fmla="*/ 84 w 99"/>
                <a:gd name="T71" fmla="*/ 60 h 65"/>
                <a:gd name="T72" fmla="*/ 79 w 99"/>
                <a:gd name="T73" fmla="*/ 63 h 65"/>
                <a:gd name="T74" fmla="*/ 73 w 99"/>
                <a:gd name="T75" fmla="*/ 65 h 65"/>
                <a:gd name="T76" fmla="*/ 67 w 99"/>
                <a:gd name="T77" fmla="*/ 65 h 65"/>
                <a:gd name="T78" fmla="*/ 67 w 99"/>
                <a:gd name="T7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9" h="65">
                  <a:moveTo>
                    <a:pt x="67" y="65"/>
                  </a:moveTo>
                  <a:lnTo>
                    <a:pt x="34" y="65"/>
                  </a:lnTo>
                  <a:lnTo>
                    <a:pt x="34" y="65"/>
                  </a:lnTo>
                  <a:lnTo>
                    <a:pt x="26" y="65"/>
                  </a:lnTo>
                  <a:lnTo>
                    <a:pt x="20" y="63"/>
                  </a:lnTo>
                  <a:lnTo>
                    <a:pt x="15" y="60"/>
                  </a:lnTo>
                  <a:lnTo>
                    <a:pt x="10" y="56"/>
                  </a:lnTo>
                  <a:lnTo>
                    <a:pt x="6" y="51"/>
                  </a:lnTo>
                  <a:lnTo>
                    <a:pt x="3" y="45"/>
                  </a:lnTo>
                  <a:lnTo>
                    <a:pt x="0" y="39"/>
                  </a:lnTo>
                  <a:lnTo>
                    <a:pt x="0" y="32"/>
                  </a:lnTo>
                  <a:lnTo>
                    <a:pt x="0" y="32"/>
                  </a:lnTo>
                  <a:lnTo>
                    <a:pt x="0" y="26"/>
                  </a:lnTo>
                  <a:lnTo>
                    <a:pt x="3" y="20"/>
                  </a:lnTo>
                  <a:lnTo>
                    <a:pt x="6" y="14"/>
                  </a:lnTo>
                  <a:lnTo>
                    <a:pt x="10" y="9"/>
                  </a:lnTo>
                  <a:lnTo>
                    <a:pt x="15" y="5"/>
                  </a:lnTo>
                  <a:lnTo>
                    <a:pt x="20" y="2"/>
                  </a:lnTo>
                  <a:lnTo>
                    <a:pt x="26" y="0"/>
                  </a:lnTo>
                  <a:lnTo>
                    <a:pt x="34" y="0"/>
                  </a:lnTo>
                  <a:lnTo>
                    <a:pt x="67" y="0"/>
                  </a:lnTo>
                  <a:lnTo>
                    <a:pt x="67" y="0"/>
                  </a:lnTo>
                  <a:lnTo>
                    <a:pt x="73" y="0"/>
                  </a:lnTo>
                  <a:lnTo>
                    <a:pt x="79" y="2"/>
                  </a:lnTo>
                  <a:lnTo>
                    <a:pt x="84" y="5"/>
                  </a:lnTo>
                  <a:lnTo>
                    <a:pt x="89" y="9"/>
                  </a:lnTo>
                  <a:lnTo>
                    <a:pt x="94" y="14"/>
                  </a:lnTo>
                  <a:lnTo>
                    <a:pt x="97" y="20"/>
                  </a:lnTo>
                  <a:lnTo>
                    <a:pt x="99" y="26"/>
                  </a:lnTo>
                  <a:lnTo>
                    <a:pt x="99" y="32"/>
                  </a:lnTo>
                  <a:lnTo>
                    <a:pt x="99" y="32"/>
                  </a:lnTo>
                  <a:lnTo>
                    <a:pt x="99" y="39"/>
                  </a:lnTo>
                  <a:lnTo>
                    <a:pt x="97" y="45"/>
                  </a:lnTo>
                  <a:lnTo>
                    <a:pt x="94" y="51"/>
                  </a:lnTo>
                  <a:lnTo>
                    <a:pt x="89" y="56"/>
                  </a:lnTo>
                  <a:lnTo>
                    <a:pt x="84" y="60"/>
                  </a:lnTo>
                  <a:lnTo>
                    <a:pt x="79" y="63"/>
                  </a:lnTo>
                  <a:lnTo>
                    <a:pt x="73" y="65"/>
                  </a:lnTo>
                  <a:lnTo>
                    <a:pt x="67" y="65"/>
                  </a:lnTo>
                  <a:lnTo>
                    <a:pt x="67"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20" name="Freeform 22">
              <a:extLst>
                <a:ext uri="{FF2B5EF4-FFF2-40B4-BE49-F238E27FC236}">
                  <a16:creationId xmlns:a16="http://schemas.microsoft.com/office/drawing/2014/main" id="{F782510E-DECF-5370-3A1D-FDF0AC5EB62B}"/>
                </a:ext>
              </a:extLst>
            </p:cNvPr>
            <p:cNvSpPr>
              <a:spLocks/>
            </p:cNvSpPr>
            <p:nvPr/>
          </p:nvSpPr>
          <p:spPr bwMode="auto">
            <a:xfrm>
              <a:off x="3494088" y="2378075"/>
              <a:ext cx="22225" cy="15875"/>
            </a:xfrm>
            <a:custGeom>
              <a:avLst/>
              <a:gdLst>
                <a:gd name="T0" fmla="*/ 67 w 99"/>
                <a:gd name="T1" fmla="*/ 66 h 66"/>
                <a:gd name="T2" fmla="*/ 34 w 99"/>
                <a:gd name="T3" fmla="*/ 66 h 66"/>
                <a:gd name="T4" fmla="*/ 34 w 99"/>
                <a:gd name="T5" fmla="*/ 66 h 66"/>
                <a:gd name="T6" fmla="*/ 26 w 99"/>
                <a:gd name="T7" fmla="*/ 65 h 66"/>
                <a:gd name="T8" fmla="*/ 20 w 99"/>
                <a:gd name="T9" fmla="*/ 64 h 66"/>
                <a:gd name="T10" fmla="*/ 15 w 99"/>
                <a:gd name="T11" fmla="*/ 61 h 66"/>
                <a:gd name="T12" fmla="*/ 10 w 99"/>
                <a:gd name="T13" fmla="*/ 57 h 66"/>
                <a:gd name="T14" fmla="*/ 6 w 99"/>
                <a:gd name="T15" fmla="*/ 51 h 66"/>
                <a:gd name="T16" fmla="*/ 3 w 99"/>
                <a:gd name="T17" fmla="*/ 46 h 66"/>
                <a:gd name="T18" fmla="*/ 0 w 99"/>
                <a:gd name="T19" fmla="*/ 40 h 66"/>
                <a:gd name="T20" fmla="*/ 0 w 99"/>
                <a:gd name="T21" fmla="*/ 33 h 66"/>
                <a:gd name="T22" fmla="*/ 0 w 99"/>
                <a:gd name="T23" fmla="*/ 33 h 66"/>
                <a:gd name="T24" fmla="*/ 0 w 99"/>
                <a:gd name="T25" fmla="*/ 27 h 66"/>
                <a:gd name="T26" fmla="*/ 3 w 99"/>
                <a:gd name="T27" fmla="*/ 20 h 66"/>
                <a:gd name="T28" fmla="*/ 6 w 99"/>
                <a:gd name="T29" fmla="*/ 14 h 66"/>
                <a:gd name="T30" fmla="*/ 10 w 99"/>
                <a:gd name="T31" fmla="*/ 10 h 66"/>
                <a:gd name="T32" fmla="*/ 15 w 99"/>
                <a:gd name="T33" fmla="*/ 6 h 66"/>
                <a:gd name="T34" fmla="*/ 20 w 99"/>
                <a:gd name="T35" fmla="*/ 3 h 66"/>
                <a:gd name="T36" fmla="*/ 26 w 99"/>
                <a:gd name="T37" fmla="*/ 1 h 66"/>
                <a:gd name="T38" fmla="*/ 34 w 99"/>
                <a:gd name="T39" fmla="*/ 0 h 66"/>
                <a:gd name="T40" fmla="*/ 67 w 99"/>
                <a:gd name="T41" fmla="*/ 0 h 66"/>
                <a:gd name="T42" fmla="*/ 67 w 99"/>
                <a:gd name="T43" fmla="*/ 0 h 66"/>
                <a:gd name="T44" fmla="*/ 73 w 99"/>
                <a:gd name="T45" fmla="*/ 1 h 66"/>
                <a:gd name="T46" fmla="*/ 79 w 99"/>
                <a:gd name="T47" fmla="*/ 3 h 66"/>
                <a:gd name="T48" fmla="*/ 84 w 99"/>
                <a:gd name="T49" fmla="*/ 6 h 66"/>
                <a:gd name="T50" fmla="*/ 89 w 99"/>
                <a:gd name="T51" fmla="*/ 10 h 66"/>
                <a:gd name="T52" fmla="*/ 94 w 99"/>
                <a:gd name="T53" fmla="*/ 14 h 66"/>
                <a:gd name="T54" fmla="*/ 97 w 99"/>
                <a:gd name="T55" fmla="*/ 20 h 66"/>
                <a:gd name="T56" fmla="*/ 99 w 99"/>
                <a:gd name="T57" fmla="*/ 27 h 66"/>
                <a:gd name="T58" fmla="*/ 99 w 99"/>
                <a:gd name="T59" fmla="*/ 33 h 66"/>
                <a:gd name="T60" fmla="*/ 99 w 99"/>
                <a:gd name="T61" fmla="*/ 33 h 66"/>
                <a:gd name="T62" fmla="*/ 99 w 99"/>
                <a:gd name="T63" fmla="*/ 40 h 66"/>
                <a:gd name="T64" fmla="*/ 97 w 99"/>
                <a:gd name="T65" fmla="*/ 46 h 66"/>
                <a:gd name="T66" fmla="*/ 94 w 99"/>
                <a:gd name="T67" fmla="*/ 51 h 66"/>
                <a:gd name="T68" fmla="*/ 89 w 99"/>
                <a:gd name="T69" fmla="*/ 57 h 66"/>
                <a:gd name="T70" fmla="*/ 84 w 99"/>
                <a:gd name="T71" fmla="*/ 61 h 66"/>
                <a:gd name="T72" fmla="*/ 79 w 99"/>
                <a:gd name="T73" fmla="*/ 64 h 66"/>
                <a:gd name="T74" fmla="*/ 73 w 99"/>
                <a:gd name="T75" fmla="*/ 65 h 66"/>
                <a:gd name="T76" fmla="*/ 67 w 99"/>
                <a:gd name="T77" fmla="*/ 66 h 66"/>
                <a:gd name="T78" fmla="*/ 67 w 99"/>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9" h="66">
                  <a:moveTo>
                    <a:pt x="67" y="66"/>
                  </a:moveTo>
                  <a:lnTo>
                    <a:pt x="34" y="66"/>
                  </a:lnTo>
                  <a:lnTo>
                    <a:pt x="34" y="66"/>
                  </a:lnTo>
                  <a:lnTo>
                    <a:pt x="26" y="65"/>
                  </a:lnTo>
                  <a:lnTo>
                    <a:pt x="20" y="64"/>
                  </a:lnTo>
                  <a:lnTo>
                    <a:pt x="15" y="61"/>
                  </a:lnTo>
                  <a:lnTo>
                    <a:pt x="10" y="57"/>
                  </a:lnTo>
                  <a:lnTo>
                    <a:pt x="6" y="51"/>
                  </a:lnTo>
                  <a:lnTo>
                    <a:pt x="3" y="46"/>
                  </a:lnTo>
                  <a:lnTo>
                    <a:pt x="0" y="40"/>
                  </a:lnTo>
                  <a:lnTo>
                    <a:pt x="0" y="33"/>
                  </a:lnTo>
                  <a:lnTo>
                    <a:pt x="0" y="33"/>
                  </a:lnTo>
                  <a:lnTo>
                    <a:pt x="0" y="27"/>
                  </a:lnTo>
                  <a:lnTo>
                    <a:pt x="3" y="20"/>
                  </a:lnTo>
                  <a:lnTo>
                    <a:pt x="6" y="14"/>
                  </a:lnTo>
                  <a:lnTo>
                    <a:pt x="10" y="10"/>
                  </a:lnTo>
                  <a:lnTo>
                    <a:pt x="15" y="6"/>
                  </a:lnTo>
                  <a:lnTo>
                    <a:pt x="20" y="3"/>
                  </a:lnTo>
                  <a:lnTo>
                    <a:pt x="26" y="1"/>
                  </a:lnTo>
                  <a:lnTo>
                    <a:pt x="34" y="0"/>
                  </a:lnTo>
                  <a:lnTo>
                    <a:pt x="67" y="0"/>
                  </a:lnTo>
                  <a:lnTo>
                    <a:pt x="67" y="0"/>
                  </a:lnTo>
                  <a:lnTo>
                    <a:pt x="73" y="1"/>
                  </a:lnTo>
                  <a:lnTo>
                    <a:pt x="79" y="3"/>
                  </a:lnTo>
                  <a:lnTo>
                    <a:pt x="84" y="6"/>
                  </a:lnTo>
                  <a:lnTo>
                    <a:pt x="89" y="10"/>
                  </a:lnTo>
                  <a:lnTo>
                    <a:pt x="94" y="14"/>
                  </a:lnTo>
                  <a:lnTo>
                    <a:pt x="97" y="20"/>
                  </a:lnTo>
                  <a:lnTo>
                    <a:pt x="99" y="27"/>
                  </a:lnTo>
                  <a:lnTo>
                    <a:pt x="99" y="33"/>
                  </a:lnTo>
                  <a:lnTo>
                    <a:pt x="99" y="33"/>
                  </a:lnTo>
                  <a:lnTo>
                    <a:pt x="99" y="40"/>
                  </a:lnTo>
                  <a:lnTo>
                    <a:pt x="97" y="46"/>
                  </a:lnTo>
                  <a:lnTo>
                    <a:pt x="94" y="51"/>
                  </a:lnTo>
                  <a:lnTo>
                    <a:pt x="89" y="57"/>
                  </a:lnTo>
                  <a:lnTo>
                    <a:pt x="84" y="61"/>
                  </a:lnTo>
                  <a:lnTo>
                    <a:pt x="79" y="64"/>
                  </a:lnTo>
                  <a:lnTo>
                    <a:pt x="73" y="65"/>
                  </a:lnTo>
                  <a:lnTo>
                    <a:pt x="67" y="66"/>
                  </a:lnTo>
                  <a:lnTo>
                    <a:pt x="6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21" name="Freeform 23">
              <a:extLst>
                <a:ext uri="{FF2B5EF4-FFF2-40B4-BE49-F238E27FC236}">
                  <a16:creationId xmlns:a16="http://schemas.microsoft.com/office/drawing/2014/main" id="{229505EA-195D-615F-6A20-F5959C22B9A3}"/>
                </a:ext>
              </a:extLst>
            </p:cNvPr>
            <p:cNvSpPr>
              <a:spLocks/>
            </p:cNvSpPr>
            <p:nvPr/>
          </p:nvSpPr>
          <p:spPr bwMode="auto">
            <a:xfrm>
              <a:off x="3494088" y="2424113"/>
              <a:ext cx="22225" cy="14288"/>
            </a:xfrm>
            <a:custGeom>
              <a:avLst/>
              <a:gdLst>
                <a:gd name="T0" fmla="*/ 67 w 99"/>
                <a:gd name="T1" fmla="*/ 67 h 67"/>
                <a:gd name="T2" fmla="*/ 34 w 99"/>
                <a:gd name="T3" fmla="*/ 67 h 67"/>
                <a:gd name="T4" fmla="*/ 34 w 99"/>
                <a:gd name="T5" fmla="*/ 67 h 67"/>
                <a:gd name="T6" fmla="*/ 26 w 99"/>
                <a:gd name="T7" fmla="*/ 66 h 67"/>
                <a:gd name="T8" fmla="*/ 20 w 99"/>
                <a:gd name="T9" fmla="*/ 64 h 67"/>
                <a:gd name="T10" fmla="*/ 15 w 99"/>
                <a:gd name="T11" fmla="*/ 60 h 67"/>
                <a:gd name="T12" fmla="*/ 10 w 99"/>
                <a:gd name="T13" fmla="*/ 56 h 67"/>
                <a:gd name="T14" fmla="*/ 6 w 99"/>
                <a:gd name="T15" fmla="*/ 52 h 67"/>
                <a:gd name="T16" fmla="*/ 3 w 99"/>
                <a:gd name="T17" fmla="*/ 46 h 67"/>
                <a:gd name="T18" fmla="*/ 0 w 99"/>
                <a:gd name="T19" fmla="*/ 40 h 67"/>
                <a:gd name="T20" fmla="*/ 0 w 99"/>
                <a:gd name="T21" fmla="*/ 34 h 67"/>
                <a:gd name="T22" fmla="*/ 0 w 99"/>
                <a:gd name="T23" fmla="*/ 34 h 67"/>
                <a:gd name="T24" fmla="*/ 0 w 99"/>
                <a:gd name="T25" fmla="*/ 26 h 67"/>
                <a:gd name="T26" fmla="*/ 3 w 99"/>
                <a:gd name="T27" fmla="*/ 20 h 67"/>
                <a:gd name="T28" fmla="*/ 6 w 99"/>
                <a:gd name="T29" fmla="*/ 15 h 67"/>
                <a:gd name="T30" fmla="*/ 10 w 99"/>
                <a:gd name="T31" fmla="*/ 10 h 67"/>
                <a:gd name="T32" fmla="*/ 15 w 99"/>
                <a:gd name="T33" fmla="*/ 6 h 67"/>
                <a:gd name="T34" fmla="*/ 20 w 99"/>
                <a:gd name="T35" fmla="*/ 3 h 67"/>
                <a:gd name="T36" fmla="*/ 26 w 99"/>
                <a:gd name="T37" fmla="*/ 1 h 67"/>
                <a:gd name="T38" fmla="*/ 34 w 99"/>
                <a:gd name="T39" fmla="*/ 0 h 67"/>
                <a:gd name="T40" fmla="*/ 67 w 99"/>
                <a:gd name="T41" fmla="*/ 0 h 67"/>
                <a:gd name="T42" fmla="*/ 67 w 99"/>
                <a:gd name="T43" fmla="*/ 0 h 67"/>
                <a:gd name="T44" fmla="*/ 73 w 99"/>
                <a:gd name="T45" fmla="*/ 1 h 67"/>
                <a:gd name="T46" fmla="*/ 79 w 99"/>
                <a:gd name="T47" fmla="*/ 3 h 67"/>
                <a:gd name="T48" fmla="*/ 84 w 99"/>
                <a:gd name="T49" fmla="*/ 6 h 67"/>
                <a:gd name="T50" fmla="*/ 89 w 99"/>
                <a:gd name="T51" fmla="*/ 10 h 67"/>
                <a:gd name="T52" fmla="*/ 94 w 99"/>
                <a:gd name="T53" fmla="*/ 15 h 67"/>
                <a:gd name="T54" fmla="*/ 97 w 99"/>
                <a:gd name="T55" fmla="*/ 20 h 67"/>
                <a:gd name="T56" fmla="*/ 99 w 99"/>
                <a:gd name="T57" fmla="*/ 26 h 67"/>
                <a:gd name="T58" fmla="*/ 99 w 99"/>
                <a:gd name="T59" fmla="*/ 34 h 67"/>
                <a:gd name="T60" fmla="*/ 99 w 99"/>
                <a:gd name="T61" fmla="*/ 34 h 67"/>
                <a:gd name="T62" fmla="*/ 99 w 99"/>
                <a:gd name="T63" fmla="*/ 40 h 67"/>
                <a:gd name="T64" fmla="*/ 97 w 99"/>
                <a:gd name="T65" fmla="*/ 46 h 67"/>
                <a:gd name="T66" fmla="*/ 94 w 99"/>
                <a:gd name="T67" fmla="*/ 52 h 67"/>
                <a:gd name="T68" fmla="*/ 89 w 99"/>
                <a:gd name="T69" fmla="*/ 56 h 67"/>
                <a:gd name="T70" fmla="*/ 84 w 99"/>
                <a:gd name="T71" fmla="*/ 60 h 67"/>
                <a:gd name="T72" fmla="*/ 79 w 99"/>
                <a:gd name="T73" fmla="*/ 64 h 67"/>
                <a:gd name="T74" fmla="*/ 73 w 99"/>
                <a:gd name="T75" fmla="*/ 66 h 67"/>
                <a:gd name="T76" fmla="*/ 67 w 99"/>
                <a:gd name="T77" fmla="*/ 67 h 67"/>
                <a:gd name="T78" fmla="*/ 67 w 99"/>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9" h="67">
                  <a:moveTo>
                    <a:pt x="67" y="67"/>
                  </a:moveTo>
                  <a:lnTo>
                    <a:pt x="34" y="67"/>
                  </a:lnTo>
                  <a:lnTo>
                    <a:pt x="34" y="67"/>
                  </a:lnTo>
                  <a:lnTo>
                    <a:pt x="26" y="66"/>
                  </a:lnTo>
                  <a:lnTo>
                    <a:pt x="20" y="64"/>
                  </a:lnTo>
                  <a:lnTo>
                    <a:pt x="15" y="60"/>
                  </a:lnTo>
                  <a:lnTo>
                    <a:pt x="10" y="56"/>
                  </a:lnTo>
                  <a:lnTo>
                    <a:pt x="6" y="52"/>
                  </a:lnTo>
                  <a:lnTo>
                    <a:pt x="3" y="46"/>
                  </a:lnTo>
                  <a:lnTo>
                    <a:pt x="0" y="40"/>
                  </a:lnTo>
                  <a:lnTo>
                    <a:pt x="0" y="34"/>
                  </a:lnTo>
                  <a:lnTo>
                    <a:pt x="0" y="34"/>
                  </a:lnTo>
                  <a:lnTo>
                    <a:pt x="0" y="26"/>
                  </a:lnTo>
                  <a:lnTo>
                    <a:pt x="3" y="20"/>
                  </a:lnTo>
                  <a:lnTo>
                    <a:pt x="6" y="15"/>
                  </a:lnTo>
                  <a:lnTo>
                    <a:pt x="10" y="10"/>
                  </a:lnTo>
                  <a:lnTo>
                    <a:pt x="15" y="6"/>
                  </a:lnTo>
                  <a:lnTo>
                    <a:pt x="20" y="3"/>
                  </a:lnTo>
                  <a:lnTo>
                    <a:pt x="26" y="1"/>
                  </a:lnTo>
                  <a:lnTo>
                    <a:pt x="34" y="0"/>
                  </a:lnTo>
                  <a:lnTo>
                    <a:pt x="67" y="0"/>
                  </a:lnTo>
                  <a:lnTo>
                    <a:pt x="67" y="0"/>
                  </a:lnTo>
                  <a:lnTo>
                    <a:pt x="73" y="1"/>
                  </a:lnTo>
                  <a:lnTo>
                    <a:pt x="79" y="3"/>
                  </a:lnTo>
                  <a:lnTo>
                    <a:pt x="84" y="6"/>
                  </a:lnTo>
                  <a:lnTo>
                    <a:pt x="89" y="10"/>
                  </a:lnTo>
                  <a:lnTo>
                    <a:pt x="94" y="15"/>
                  </a:lnTo>
                  <a:lnTo>
                    <a:pt x="97" y="20"/>
                  </a:lnTo>
                  <a:lnTo>
                    <a:pt x="99" y="26"/>
                  </a:lnTo>
                  <a:lnTo>
                    <a:pt x="99" y="34"/>
                  </a:lnTo>
                  <a:lnTo>
                    <a:pt x="99" y="34"/>
                  </a:lnTo>
                  <a:lnTo>
                    <a:pt x="99" y="40"/>
                  </a:lnTo>
                  <a:lnTo>
                    <a:pt x="97" y="46"/>
                  </a:lnTo>
                  <a:lnTo>
                    <a:pt x="94" y="52"/>
                  </a:lnTo>
                  <a:lnTo>
                    <a:pt x="89" y="56"/>
                  </a:lnTo>
                  <a:lnTo>
                    <a:pt x="84" y="60"/>
                  </a:lnTo>
                  <a:lnTo>
                    <a:pt x="79" y="64"/>
                  </a:lnTo>
                  <a:lnTo>
                    <a:pt x="73" y="66"/>
                  </a:lnTo>
                  <a:lnTo>
                    <a:pt x="67" y="67"/>
                  </a:lnTo>
                  <a:lnTo>
                    <a:pt x="67"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spTree>
    <p:extLst>
      <p:ext uri="{BB962C8B-B14F-4D97-AF65-F5344CB8AC3E}">
        <p14:creationId xmlns:p14="http://schemas.microsoft.com/office/powerpoint/2010/main" val="7772670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A5ECD3-0E68-158C-A831-4C989C500868}"/>
            </a:ext>
          </a:extLst>
        </p:cNvPr>
        <p:cNvGrpSpPr/>
        <p:nvPr/>
      </p:nvGrpSpPr>
      <p:grpSpPr>
        <a:xfrm>
          <a:off x="0" y="0"/>
          <a:ext cx="0" cy="0"/>
          <a:chOff x="0" y="0"/>
          <a:chExt cx="0" cy="0"/>
        </a:xfrm>
      </p:grpSpPr>
      <p:sp>
        <p:nvSpPr>
          <p:cNvPr id="232" name="Rectangle: Rounded Corners 231">
            <a:extLst>
              <a:ext uri="{FF2B5EF4-FFF2-40B4-BE49-F238E27FC236}">
                <a16:creationId xmlns:a16="http://schemas.microsoft.com/office/drawing/2014/main" id="{8AC8637B-099C-0E6E-C80C-08F2F2919CC3}"/>
              </a:ext>
            </a:extLst>
          </p:cNvPr>
          <p:cNvSpPr/>
          <p:nvPr/>
        </p:nvSpPr>
        <p:spPr>
          <a:xfrm flipH="1">
            <a:off x="9316566" y="5331867"/>
            <a:ext cx="2539238" cy="822960"/>
          </a:xfrm>
          <a:prstGeom prst="roundRect">
            <a:avLst>
              <a:gd name="adj" fmla="val 4307"/>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000" b="1" i="0" u="none" strike="noStrike" kern="1200" cap="none" spc="0" normalizeH="0" baseline="0" noProof="0">
              <a:ln>
                <a:noFill/>
              </a:ln>
              <a:solidFill>
                <a:prstClr val="black"/>
              </a:solidFill>
              <a:effectLst/>
              <a:uLnTx/>
              <a:uFillTx/>
              <a:latin typeface="Roboto"/>
              <a:ea typeface="+mn-ea"/>
              <a:cs typeface="+mn-cs"/>
            </a:endParaRPr>
          </a:p>
        </p:txBody>
      </p:sp>
      <p:sp>
        <p:nvSpPr>
          <p:cNvPr id="6" name="Rounded Rectangle 4">
            <a:extLst>
              <a:ext uri="{FF2B5EF4-FFF2-40B4-BE49-F238E27FC236}">
                <a16:creationId xmlns:a16="http://schemas.microsoft.com/office/drawing/2014/main" id="{E617BEE2-FA16-0955-A4A8-338BEE2365CF}"/>
              </a:ext>
            </a:extLst>
          </p:cNvPr>
          <p:cNvSpPr>
            <a:spLocks/>
          </p:cNvSpPr>
          <p:nvPr/>
        </p:nvSpPr>
        <p:spPr>
          <a:xfrm>
            <a:off x="1008134" y="1166860"/>
            <a:ext cx="10847670" cy="981135"/>
          </a:xfrm>
          <a:prstGeom prst="roundRect">
            <a:avLst>
              <a:gd name="adj" fmla="val 7220"/>
            </a:avLst>
          </a:prstGeom>
          <a:solidFill>
            <a:schemeClr val="accent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251999"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Roboto"/>
              <a:ea typeface="+mn-ea"/>
              <a:cs typeface="+mn-cs"/>
            </a:endParaRPr>
          </a:p>
        </p:txBody>
      </p:sp>
      <p:sp>
        <p:nvSpPr>
          <p:cNvPr id="7" name="TextBox 1">
            <a:extLst>
              <a:ext uri="{FF2B5EF4-FFF2-40B4-BE49-F238E27FC236}">
                <a16:creationId xmlns:a16="http://schemas.microsoft.com/office/drawing/2014/main" id="{EEC09B5F-3489-1218-801C-8B3329EBD1E6}"/>
              </a:ext>
            </a:extLst>
          </p:cNvPr>
          <p:cNvSpPr txBox="1"/>
          <p:nvPr/>
        </p:nvSpPr>
        <p:spPr>
          <a:xfrm>
            <a:off x="2018873" y="1334262"/>
            <a:ext cx="9713070" cy="646331"/>
          </a:xfrm>
          <a:prstGeom prst="rect">
            <a:avLst/>
          </a:prstGeom>
          <a:noFill/>
        </p:spPr>
        <p:txBody>
          <a:bodyPr wrap="square" lIns="0" tIns="0" rIns="0" bIns="0" rtlCol="0">
            <a:spAutoFit/>
          </a:bodyPr>
          <a:lstStyle/>
          <a:p>
            <a:pPr marL="0" marR="0" lvl="0" indent="0" algn="l" defTabSz="914400" rtl="0" eaLnBrk="1" fontAlgn="ctr" latinLnBrk="0" hangingPunct="1">
              <a:lnSpc>
                <a:spcPct val="100000"/>
              </a:lnSpc>
              <a:spcBef>
                <a:spcPts val="0"/>
              </a:spcBef>
              <a:spcAft>
                <a:spcPts val="1200"/>
              </a:spcAft>
              <a:buClrTx/>
              <a:buSzTx/>
              <a:buFontTx/>
              <a:buNone/>
              <a:tabLst/>
              <a:defRPr/>
            </a:pPr>
            <a:r>
              <a:rPr kumimoji="0" lang="en-NP"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he UAE Framework for Global Climate Resilience guides the achievement of </a:t>
            </a:r>
            <a:r>
              <a:rPr kumimoji="0" lang="en-NP" sz="1400" b="1" i="0" u="none" strike="noStrike" kern="1200" cap="none" spc="0" normalizeH="0" baseline="0" noProof="0" dirty="0">
                <a:ln>
                  <a:noFill/>
                </a:ln>
                <a:solidFill>
                  <a:srgbClr val="FFC000"/>
                </a:solidFill>
                <a:effectLst/>
                <a:uLnTx/>
                <a:uFillTx/>
                <a:latin typeface="Calibri" panose="020F0502020204030204" pitchFamily="34" charset="0"/>
                <a:ea typeface="+mn-ea"/>
                <a:cs typeface="Calibri" panose="020F0502020204030204" pitchFamily="34" charset="0"/>
              </a:rPr>
              <a:t>Global Goal on Adaptation (GGA)</a:t>
            </a:r>
            <a:r>
              <a:rPr kumimoji="0" lang="en-NP"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nd reviews the overall progress in adapting to climate change.</a:t>
            </a: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The framework is forward-looking, with </a:t>
            </a:r>
            <a:r>
              <a:rPr kumimoji="0" lang="en-US" sz="1400" b="1" i="0" u="none" strike="noStrike" kern="1200" cap="none" spc="0" normalizeH="0" baseline="0" noProof="0" dirty="0">
                <a:ln>
                  <a:noFill/>
                </a:ln>
                <a:solidFill>
                  <a:srgbClr val="FFC000"/>
                </a:solidFill>
                <a:effectLst/>
                <a:uLnTx/>
                <a:uFillTx/>
                <a:latin typeface="Calibri" panose="020F0502020204030204" pitchFamily="34" charset="0"/>
                <a:ea typeface="+mn-ea"/>
                <a:cs typeface="Calibri" panose="020F0502020204030204" pitchFamily="34" charset="0"/>
              </a:rPr>
              <a:t>indicators</a:t>
            </a: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designed to measure progress towards </a:t>
            </a:r>
            <a:r>
              <a:rPr kumimoji="0" lang="en-US" sz="1400" b="1" i="0" u="none" strike="noStrike" kern="1200" cap="none" spc="0" normalizeH="0" baseline="0" noProof="0" dirty="0">
                <a:ln>
                  <a:noFill/>
                </a:ln>
                <a:solidFill>
                  <a:srgbClr val="FFC000"/>
                </a:solidFill>
                <a:effectLst/>
                <a:uLnTx/>
                <a:uFillTx/>
                <a:latin typeface="Calibri" panose="020F0502020204030204" pitchFamily="34" charset="0"/>
                <a:ea typeface="+mn-ea"/>
                <a:cs typeface="Calibri" panose="020F0502020204030204" pitchFamily="34" charset="0"/>
              </a:rPr>
              <a:t>targets</a:t>
            </a: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set for achievement by 2030 and progressively beyond</a:t>
            </a: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 name="Title 1">
            <a:extLst>
              <a:ext uri="{FF2B5EF4-FFF2-40B4-BE49-F238E27FC236}">
                <a16:creationId xmlns:a16="http://schemas.microsoft.com/office/drawing/2014/main" id="{8BA66209-E94F-9A86-130D-13270A56394F}"/>
              </a:ext>
            </a:extLst>
          </p:cNvPr>
          <p:cNvSpPr>
            <a:spLocks noGrp="1"/>
          </p:cNvSpPr>
          <p:nvPr>
            <p:ph type="title"/>
          </p:nvPr>
        </p:nvSpPr>
        <p:spPr/>
        <p:txBody>
          <a:bodyPr/>
          <a:lstStyle/>
          <a:p>
            <a:r>
              <a:rPr lang="en-US" dirty="0"/>
              <a:t>UAE Framework for Global Climate Resilience</a:t>
            </a:r>
          </a:p>
        </p:txBody>
      </p:sp>
      <p:sp>
        <p:nvSpPr>
          <p:cNvPr id="4" name="Slide Number Placeholder 3">
            <a:extLst>
              <a:ext uri="{FF2B5EF4-FFF2-40B4-BE49-F238E27FC236}">
                <a16:creationId xmlns:a16="http://schemas.microsoft.com/office/drawing/2014/main" id="{FE5219C6-01DC-570B-1A31-25BEAA900BF4}"/>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BD9EE9C-3A9A-458B-8C8B-545D7DF0CA2D}" type="slidenum">
              <a:rPr kumimoji="0" lang="en-ID" sz="1000" b="1" i="0" u="none" strike="noStrike" kern="1200" cap="none" spc="0" normalizeH="0" baseline="0" noProof="0" smtClean="0">
                <a:ln>
                  <a:noFill/>
                </a:ln>
                <a:solidFill>
                  <a:srgbClr val="1C97DA"/>
                </a:solidFill>
                <a:effectLst/>
                <a:uLnTx/>
                <a:uFillTx/>
                <a:latin typeface="Robot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ID" sz="1000" b="1" i="0" u="none" strike="noStrike" kern="1200" cap="none" spc="0" normalizeH="0" baseline="0" noProof="0">
              <a:ln>
                <a:noFill/>
              </a:ln>
              <a:solidFill>
                <a:srgbClr val="1C97DA"/>
              </a:solidFill>
              <a:effectLst/>
              <a:uLnTx/>
              <a:uFillTx/>
              <a:latin typeface="Roboto"/>
              <a:ea typeface="+mn-ea"/>
              <a:cs typeface="+mn-cs"/>
            </a:endParaRPr>
          </a:p>
        </p:txBody>
      </p:sp>
      <p:sp>
        <p:nvSpPr>
          <p:cNvPr id="58" name="TextBox 57">
            <a:extLst>
              <a:ext uri="{FF2B5EF4-FFF2-40B4-BE49-F238E27FC236}">
                <a16:creationId xmlns:a16="http://schemas.microsoft.com/office/drawing/2014/main" id="{D442518F-B166-17D1-AECE-F59CA532E878}"/>
              </a:ext>
            </a:extLst>
          </p:cNvPr>
          <p:cNvSpPr txBox="1"/>
          <p:nvPr/>
        </p:nvSpPr>
        <p:spPr>
          <a:xfrm>
            <a:off x="9460574" y="5385557"/>
            <a:ext cx="2395228" cy="63094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Roboto"/>
                <a:ea typeface="+mn-ea"/>
                <a:cs typeface="+mn-cs"/>
              </a:rPr>
              <a:t>Sources of information: </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err="1">
                <a:ln>
                  <a:noFill/>
                </a:ln>
                <a:solidFill>
                  <a:prstClr val="black"/>
                </a:solidFill>
                <a:effectLst/>
                <a:uLnTx/>
                <a:uFillTx/>
                <a:latin typeface="Roboto"/>
                <a:ea typeface="+mn-ea"/>
                <a:cs typeface="+mn-cs"/>
              </a:rPr>
              <a:t>AdComs</a:t>
            </a:r>
            <a:r>
              <a:rPr kumimoji="0" lang="en-US" sz="1000" b="0" i="0" u="none" strike="noStrike" kern="1200" cap="none" spc="0" normalizeH="0" baseline="0" noProof="0" dirty="0">
                <a:ln>
                  <a:noFill/>
                </a:ln>
                <a:solidFill>
                  <a:prstClr val="black"/>
                </a:solidFill>
                <a:effectLst/>
                <a:uLnTx/>
                <a:uFillTx/>
                <a:latin typeface="Roboto"/>
                <a:ea typeface="+mn-ea"/>
                <a:cs typeface="+mn-cs"/>
              </a:rPr>
              <a:t>, NDCs, NAPs, BTRs, </a:t>
            </a:r>
            <a:r>
              <a:rPr kumimoji="0" lang="en-US" sz="1000" b="0" i="0" u="none" strike="noStrike" kern="1200" cap="none" spc="0" normalizeH="0" baseline="0" noProof="0" dirty="0" err="1">
                <a:ln>
                  <a:noFill/>
                </a:ln>
                <a:solidFill>
                  <a:prstClr val="black"/>
                </a:solidFill>
                <a:effectLst/>
                <a:uLnTx/>
                <a:uFillTx/>
                <a:latin typeface="Roboto"/>
                <a:ea typeface="+mn-ea"/>
                <a:cs typeface="+mn-cs"/>
              </a:rPr>
              <a:t>NatComs</a:t>
            </a:r>
            <a:r>
              <a:rPr kumimoji="0" lang="en-US" sz="1000" b="0" i="0" u="none" strike="noStrike" kern="1200" cap="none" spc="0" normalizeH="0" baseline="0" noProof="0" dirty="0">
                <a:ln>
                  <a:noFill/>
                </a:ln>
                <a:solidFill>
                  <a:prstClr val="black"/>
                </a:solidFill>
                <a:effectLst/>
                <a:uLnTx/>
                <a:uFillTx/>
                <a:latin typeface="Roboto"/>
                <a:ea typeface="+mn-ea"/>
                <a:cs typeface="+mn-cs"/>
              </a:rPr>
              <a:t>, </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Roboto"/>
                <a:ea typeface="+mn-ea"/>
                <a:cs typeface="+mn-cs"/>
              </a:rPr>
              <a:t>IPCC reports</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Roboto"/>
                <a:ea typeface="+mn-ea"/>
                <a:cs typeface="+mn-cs"/>
              </a:rPr>
              <a:t>UN, other sources</a:t>
            </a:r>
          </a:p>
        </p:txBody>
      </p:sp>
      <p:sp>
        <p:nvSpPr>
          <p:cNvPr id="51" name="Rectangle: Rounded Corners 50">
            <a:extLst>
              <a:ext uri="{FF2B5EF4-FFF2-40B4-BE49-F238E27FC236}">
                <a16:creationId xmlns:a16="http://schemas.microsoft.com/office/drawing/2014/main" id="{572C2586-DA10-757B-DD6A-365614C582BB}"/>
              </a:ext>
            </a:extLst>
          </p:cNvPr>
          <p:cNvSpPr/>
          <p:nvPr/>
        </p:nvSpPr>
        <p:spPr>
          <a:xfrm flipH="1">
            <a:off x="1008133" y="5331867"/>
            <a:ext cx="6104105" cy="822960"/>
          </a:xfrm>
          <a:prstGeom prst="roundRect">
            <a:avLst>
              <a:gd name="adj" fmla="val 4788"/>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000" b="1" i="0" u="none" strike="noStrike" kern="1200" cap="none" spc="0" normalizeH="0" baseline="0" noProof="0">
              <a:ln>
                <a:noFill/>
              </a:ln>
              <a:solidFill>
                <a:prstClr val="black"/>
              </a:solidFill>
              <a:effectLst/>
              <a:uLnTx/>
              <a:uFillTx/>
              <a:latin typeface="Roboto"/>
              <a:ea typeface="+mn-ea"/>
              <a:cs typeface="+mn-cs"/>
            </a:endParaRPr>
          </a:p>
        </p:txBody>
      </p:sp>
      <p:sp>
        <p:nvSpPr>
          <p:cNvPr id="62" name="TextBox 61">
            <a:extLst>
              <a:ext uri="{FF2B5EF4-FFF2-40B4-BE49-F238E27FC236}">
                <a16:creationId xmlns:a16="http://schemas.microsoft.com/office/drawing/2014/main" id="{5E9568B5-0781-2BA3-2181-C63C110B2CDB}"/>
              </a:ext>
            </a:extLst>
          </p:cNvPr>
          <p:cNvSpPr txBox="1"/>
          <p:nvPr/>
        </p:nvSpPr>
        <p:spPr>
          <a:xfrm>
            <a:off x="1670456" y="5385557"/>
            <a:ext cx="5271501" cy="56169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Roboto"/>
                <a:ea typeface="+mn-ea"/>
                <a:cs typeface="+mn-cs"/>
              </a:rPr>
              <a:t>Cross cutting issu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Roboto"/>
                <a:ea typeface="+mn-ea"/>
                <a:cs typeface="+mn-cs"/>
              </a:rPr>
              <a:t>Gender; participatory; transparent, human rights approaches; vulnerable groups, communities, ecosystems; traditional, local, Indigenous knowledge; adaptation approaches, etc.</a:t>
            </a:r>
          </a:p>
        </p:txBody>
      </p:sp>
      <p:grpSp>
        <p:nvGrpSpPr>
          <p:cNvPr id="145" name="Group 144">
            <a:extLst>
              <a:ext uri="{FF2B5EF4-FFF2-40B4-BE49-F238E27FC236}">
                <a16:creationId xmlns:a16="http://schemas.microsoft.com/office/drawing/2014/main" id="{D47234A2-4809-20D9-001D-05E900E1EF17}"/>
              </a:ext>
            </a:extLst>
          </p:cNvPr>
          <p:cNvGrpSpPr/>
          <p:nvPr/>
        </p:nvGrpSpPr>
        <p:grpSpPr>
          <a:xfrm>
            <a:off x="1154950" y="5429167"/>
            <a:ext cx="392153" cy="392153"/>
            <a:chOff x="5708474" y="4006340"/>
            <a:chExt cx="491754" cy="491754"/>
          </a:xfrm>
        </p:grpSpPr>
        <p:sp>
          <p:nvSpPr>
            <p:cNvPr id="63" name="Oval 62">
              <a:extLst>
                <a:ext uri="{FF2B5EF4-FFF2-40B4-BE49-F238E27FC236}">
                  <a16:creationId xmlns:a16="http://schemas.microsoft.com/office/drawing/2014/main" id="{893FBF0E-B944-22B7-EA7F-76C3DC3061ED}"/>
                </a:ext>
              </a:extLst>
            </p:cNvPr>
            <p:cNvSpPr/>
            <p:nvPr/>
          </p:nvSpPr>
          <p:spPr>
            <a:xfrm>
              <a:off x="5708474" y="4006340"/>
              <a:ext cx="491754" cy="4917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800" b="0" i="0" u="none" strike="noStrike" kern="1200" cap="none" spc="0" normalizeH="0" baseline="0" noProof="0" dirty="0">
                <a:ln>
                  <a:noFill/>
                </a:ln>
                <a:solidFill>
                  <a:prstClr val="white"/>
                </a:solidFill>
                <a:effectLst/>
                <a:uLnTx/>
                <a:uFillTx/>
                <a:latin typeface="Roboto"/>
                <a:ea typeface="+mn-ea"/>
                <a:cs typeface="+mn-cs"/>
              </a:endParaRPr>
            </a:p>
          </p:txBody>
        </p:sp>
        <p:grpSp>
          <p:nvGrpSpPr>
            <p:cNvPr id="49" name="Group 48">
              <a:extLst>
                <a:ext uri="{FF2B5EF4-FFF2-40B4-BE49-F238E27FC236}">
                  <a16:creationId xmlns:a16="http://schemas.microsoft.com/office/drawing/2014/main" id="{8ADF01C1-B307-DE82-283F-1A30C1D9ED14}"/>
                </a:ext>
              </a:extLst>
            </p:cNvPr>
            <p:cNvGrpSpPr/>
            <p:nvPr/>
          </p:nvGrpSpPr>
          <p:grpSpPr>
            <a:xfrm>
              <a:off x="5841905" y="4101241"/>
              <a:ext cx="248990" cy="304645"/>
              <a:chOff x="6321425" y="1103313"/>
              <a:chExt cx="269876" cy="330200"/>
            </a:xfrm>
            <a:solidFill>
              <a:schemeClr val="bg1"/>
            </a:solidFill>
          </p:grpSpPr>
          <p:sp>
            <p:nvSpPr>
              <p:cNvPr id="55" name="Freeform 167">
                <a:extLst>
                  <a:ext uri="{FF2B5EF4-FFF2-40B4-BE49-F238E27FC236}">
                    <a16:creationId xmlns:a16="http://schemas.microsoft.com/office/drawing/2014/main" id="{15D7B399-AD9F-D24B-49A9-F0B04EBAF92F}"/>
                  </a:ext>
                </a:extLst>
              </p:cNvPr>
              <p:cNvSpPr>
                <a:spLocks noEditPoints="1"/>
              </p:cNvSpPr>
              <p:nvPr/>
            </p:nvSpPr>
            <p:spPr bwMode="auto">
              <a:xfrm>
                <a:off x="6380163" y="1103313"/>
                <a:ext cx="211138" cy="271463"/>
              </a:xfrm>
              <a:custGeom>
                <a:avLst/>
                <a:gdLst>
                  <a:gd name="T0" fmla="*/ 893 w 927"/>
                  <a:gd name="T1" fmla="*/ 1192 h 1192"/>
                  <a:gd name="T2" fmla="*/ 33 w 927"/>
                  <a:gd name="T3" fmla="*/ 1192 h 1192"/>
                  <a:gd name="T4" fmla="*/ 33 w 927"/>
                  <a:gd name="T5" fmla="*/ 1192 h 1192"/>
                  <a:gd name="T6" fmla="*/ 27 w 927"/>
                  <a:gd name="T7" fmla="*/ 1190 h 1192"/>
                  <a:gd name="T8" fmla="*/ 21 w 927"/>
                  <a:gd name="T9" fmla="*/ 1188 h 1192"/>
                  <a:gd name="T10" fmla="*/ 15 w 927"/>
                  <a:gd name="T11" fmla="*/ 1185 h 1192"/>
                  <a:gd name="T12" fmla="*/ 10 w 927"/>
                  <a:gd name="T13" fmla="*/ 1181 h 1192"/>
                  <a:gd name="T14" fmla="*/ 7 w 927"/>
                  <a:gd name="T15" fmla="*/ 1177 h 1192"/>
                  <a:gd name="T16" fmla="*/ 3 w 927"/>
                  <a:gd name="T17" fmla="*/ 1171 h 1192"/>
                  <a:gd name="T18" fmla="*/ 1 w 927"/>
                  <a:gd name="T19" fmla="*/ 1165 h 1192"/>
                  <a:gd name="T20" fmla="*/ 0 w 927"/>
                  <a:gd name="T21" fmla="*/ 1158 h 1192"/>
                  <a:gd name="T22" fmla="*/ 0 w 927"/>
                  <a:gd name="T23" fmla="*/ 33 h 1192"/>
                  <a:gd name="T24" fmla="*/ 0 w 927"/>
                  <a:gd name="T25" fmla="*/ 33 h 1192"/>
                  <a:gd name="T26" fmla="*/ 1 w 927"/>
                  <a:gd name="T27" fmla="*/ 27 h 1192"/>
                  <a:gd name="T28" fmla="*/ 3 w 927"/>
                  <a:gd name="T29" fmla="*/ 21 h 1192"/>
                  <a:gd name="T30" fmla="*/ 7 w 927"/>
                  <a:gd name="T31" fmla="*/ 16 h 1192"/>
                  <a:gd name="T32" fmla="*/ 10 w 927"/>
                  <a:gd name="T33" fmla="*/ 11 h 1192"/>
                  <a:gd name="T34" fmla="*/ 15 w 927"/>
                  <a:gd name="T35" fmla="*/ 6 h 1192"/>
                  <a:gd name="T36" fmla="*/ 21 w 927"/>
                  <a:gd name="T37" fmla="*/ 3 h 1192"/>
                  <a:gd name="T38" fmla="*/ 27 w 927"/>
                  <a:gd name="T39" fmla="*/ 1 h 1192"/>
                  <a:gd name="T40" fmla="*/ 33 w 927"/>
                  <a:gd name="T41" fmla="*/ 0 h 1192"/>
                  <a:gd name="T42" fmla="*/ 562 w 927"/>
                  <a:gd name="T43" fmla="*/ 0 h 1192"/>
                  <a:gd name="T44" fmla="*/ 562 w 927"/>
                  <a:gd name="T45" fmla="*/ 0 h 1192"/>
                  <a:gd name="T46" fmla="*/ 570 w 927"/>
                  <a:gd name="T47" fmla="*/ 1 h 1192"/>
                  <a:gd name="T48" fmla="*/ 576 w 927"/>
                  <a:gd name="T49" fmla="*/ 3 h 1192"/>
                  <a:gd name="T50" fmla="*/ 581 w 927"/>
                  <a:gd name="T51" fmla="*/ 6 h 1192"/>
                  <a:gd name="T52" fmla="*/ 586 w 927"/>
                  <a:gd name="T53" fmla="*/ 11 h 1192"/>
                  <a:gd name="T54" fmla="*/ 916 w 927"/>
                  <a:gd name="T55" fmla="*/ 341 h 1192"/>
                  <a:gd name="T56" fmla="*/ 916 w 927"/>
                  <a:gd name="T57" fmla="*/ 341 h 1192"/>
                  <a:gd name="T58" fmla="*/ 920 w 927"/>
                  <a:gd name="T59" fmla="*/ 346 h 1192"/>
                  <a:gd name="T60" fmla="*/ 923 w 927"/>
                  <a:gd name="T61" fmla="*/ 352 h 1192"/>
                  <a:gd name="T62" fmla="*/ 925 w 927"/>
                  <a:gd name="T63" fmla="*/ 358 h 1192"/>
                  <a:gd name="T64" fmla="*/ 927 w 927"/>
                  <a:gd name="T65" fmla="*/ 365 h 1192"/>
                  <a:gd name="T66" fmla="*/ 927 w 927"/>
                  <a:gd name="T67" fmla="*/ 1158 h 1192"/>
                  <a:gd name="T68" fmla="*/ 927 w 927"/>
                  <a:gd name="T69" fmla="*/ 1158 h 1192"/>
                  <a:gd name="T70" fmla="*/ 925 w 927"/>
                  <a:gd name="T71" fmla="*/ 1165 h 1192"/>
                  <a:gd name="T72" fmla="*/ 923 w 927"/>
                  <a:gd name="T73" fmla="*/ 1171 h 1192"/>
                  <a:gd name="T74" fmla="*/ 920 w 927"/>
                  <a:gd name="T75" fmla="*/ 1177 h 1192"/>
                  <a:gd name="T76" fmla="*/ 916 w 927"/>
                  <a:gd name="T77" fmla="*/ 1181 h 1192"/>
                  <a:gd name="T78" fmla="*/ 912 w 927"/>
                  <a:gd name="T79" fmla="*/ 1185 h 1192"/>
                  <a:gd name="T80" fmla="*/ 906 w 927"/>
                  <a:gd name="T81" fmla="*/ 1188 h 1192"/>
                  <a:gd name="T82" fmla="*/ 900 w 927"/>
                  <a:gd name="T83" fmla="*/ 1190 h 1192"/>
                  <a:gd name="T84" fmla="*/ 893 w 927"/>
                  <a:gd name="T85" fmla="*/ 1192 h 1192"/>
                  <a:gd name="T86" fmla="*/ 893 w 927"/>
                  <a:gd name="T87" fmla="*/ 1192 h 1192"/>
                  <a:gd name="T88" fmla="*/ 67 w 927"/>
                  <a:gd name="T89" fmla="*/ 1125 h 1192"/>
                  <a:gd name="T90" fmla="*/ 860 w 927"/>
                  <a:gd name="T91" fmla="*/ 1125 h 1192"/>
                  <a:gd name="T92" fmla="*/ 860 w 927"/>
                  <a:gd name="T93" fmla="*/ 378 h 1192"/>
                  <a:gd name="T94" fmla="*/ 549 w 927"/>
                  <a:gd name="T95" fmla="*/ 66 h 1192"/>
                  <a:gd name="T96" fmla="*/ 67 w 927"/>
                  <a:gd name="T97" fmla="*/ 66 h 1192"/>
                  <a:gd name="T98" fmla="*/ 67 w 927"/>
                  <a:gd name="T99" fmla="*/ 1125 h 1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7" h="1192">
                    <a:moveTo>
                      <a:pt x="893" y="1192"/>
                    </a:moveTo>
                    <a:lnTo>
                      <a:pt x="33" y="1192"/>
                    </a:lnTo>
                    <a:lnTo>
                      <a:pt x="33" y="1192"/>
                    </a:lnTo>
                    <a:lnTo>
                      <a:pt x="27" y="1190"/>
                    </a:lnTo>
                    <a:lnTo>
                      <a:pt x="21" y="1188"/>
                    </a:lnTo>
                    <a:lnTo>
                      <a:pt x="15" y="1185"/>
                    </a:lnTo>
                    <a:lnTo>
                      <a:pt x="10" y="1181"/>
                    </a:lnTo>
                    <a:lnTo>
                      <a:pt x="7" y="1177"/>
                    </a:lnTo>
                    <a:lnTo>
                      <a:pt x="3" y="1171"/>
                    </a:lnTo>
                    <a:lnTo>
                      <a:pt x="1" y="1165"/>
                    </a:lnTo>
                    <a:lnTo>
                      <a:pt x="0" y="1158"/>
                    </a:lnTo>
                    <a:lnTo>
                      <a:pt x="0" y="33"/>
                    </a:lnTo>
                    <a:lnTo>
                      <a:pt x="0" y="33"/>
                    </a:lnTo>
                    <a:lnTo>
                      <a:pt x="1" y="27"/>
                    </a:lnTo>
                    <a:lnTo>
                      <a:pt x="3" y="21"/>
                    </a:lnTo>
                    <a:lnTo>
                      <a:pt x="7" y="16"/>
                    </a:lnTo>
                    <a:lnTo>
                      <a:pt x="10" y="11"/>
                    </a:lnTo>
                    <a:lnTo>
                      <a:pt x="15" y="6"/>
                    </a:lnTo>
                    <a:lnTo>
                      <a:pt x="21" y="3"/>
                    </a:lnTo>
                    <a:lnTo>
                      <a:pt x="27" y="1"/>
                    </a:lnTo>
                    <a:lnTo>
                      <a:pt x="33" y="0"/>
                    </a:lnTo>
                    <a:lnTo>
                      <a:pt x="562" y="0"/>
                    </a:lnTo>
                    <a:lnTo>
                      <a:pt x="562" y="0"/>
                    </a:lnTo>
                    <a:lnTo>
                      <a:pt x="570" y="1"/>
                    </a:lnTo>
                    <a:lnTo>
                      <a:pt x="576" y="3"/>
                    </a:lnTo>
                    <a:lnTo>
                      <a:pt x="581" y="6"/>
                    </a:lnTo>
                    <a:lnTo>
                      <a:pt x="586" y="11"/>
                    </a:lnTo>
                    <a:lnTo>
                      <a:pt x="916" y="341"/>
                    </a:lnTo>
                    <a:lnTo>
                      <a:pt x="916" y="341"/>
                    </a:lnTo>
                    <a:lnTo>
                      <a:pt x="920" y="346"/>
                    </a:lnTo>
                    <a:lnTo>
                      <a:pt x="923" y="352"/>
                    </a:lnTo>
                    <a:lnTo>
                      <a:pt x="925" y="358"/>
                    </a:lnTo>
                    <a:lnTo>
                      <a:pt x="927" y="365"/>
                    </a:lnTo>
                    <a:lnTo>
                      <a:pt x="927" y="1158"/>
                    </a:lnTo>
                    <a:lnTo>
                      <a:pt x="927" y="1158"/>
                    </a:lnTo>
                    <a:lnTo>
                      <a:pt x="925" y="1165"/>
                    </a:lnTo>
                    <a:lnTo>
                      <a:pt x="923" y="1171"/>
                    </a:lnTo>
                    <a:lnTo>
                      <a:pt x="920" y="1177"/>
                    </a:lnTo>
                    <a:lnTo>
                      <a:pt x="916" y="1181"/>
                    </a:lnTo>
                    <a:lnTo>
                      <a:pt x="912" y="1185"/>
                    </a:lnTo>
                    <a:lnTo>
                      <a:pt x="906" y="1188"/>
                    </a:lnTo>
                    <a:lnTo>
                      <a:pt x="900" y="1190"/>
                    </a:lnTo>
                    <a:lnTo>
                      <a:pt x="893" y="1192"/>
                    </a:lnTo>
                    <a:lnTo>
                      <a:pt x="893" y="1192"/>
                    </a:lnTo>
                    <a:close/>
                    <a:moveTo>
                      <a:pt x="67" y="1125"/>
                    </a:moveTo>
                    <a:lnTo>
                      <a:pt x="860" y="1125"/>
                    </a:lnTo>
                    <a:lnTo>
                      <a:pt x="860" y="378"/>
                    </a:lnTo>
                    <a:lnTo>
                      <a:pt x="549" y="66"/>
                    </a:lnTo>
                    <a:lnTo>
                      <a:pt x="67" y="66"/>
                    </a:lnTo>
                    <a:lnTo>
                      <a:pt x="67" y="1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6" name="Freeform 168">
                <a:extLst>
                  <a:ext uri="{FF2B5EF4-FFF2-40B4-BE49-F238E27FC236}">
                    <a16:creationId xmlns:a16="http://schemas.microsoft.com/office/drawing/2014/main" id="{EF845C6F-8C44-67A0-5A94-E613A0555C4A}"/>
                  </a:ext>
                </a:extLst>
              </p:cNvPr>
              <p:cNvSpPr>
                <a:spLocks/>
              </p:cNvSpPr>
              <p:nvPr/>
            </p:nvSpPr>
            <p:spPr bwMode="auto">
              <a:xfrm>
                <a:off x="6351588" y="1133475"/>
                <a:ext cx="209550" cy="269875"/>
              </a:xfrm>
              <a:custGeom>
                <a:avLst/>
                <a:gdLst>
                  <a:gd name="T0" fmla="*/ 33 w 926"/>
                  <a:gd name="T1" fmla="*/ 1191 h 1191"/>
                  <a:gd name="T2" fmla="*/ 27 w 926"/>
                  <a:gd name="T3" fmla="*/ 1190 h 1191"/>
                  <a:gd name="T4" fmla="*/ 14 w 926"/>
                  <a:gd name="T5" fmla="*/ 1185 h 1191"/>
                  <a:gd name="T6" fmla="*/ 6 w 926"/>
                  <a:gd name="T7" fmla="*/ 1175 h 1191"/>
                  <a:gd name="T8" fmla="*/ 1 w 926"/>
                  <a:gd name="T9" fmla="*/ 1164 h 1191"/>
                  <a:gd name="T10" fmla="*/ 0 w 926"/>
                  <a:gd name="T11" fmla="*/ 33 h 1191"/>
                  <a:gd name="T12" fmla="*/ 1 w 926"/>
                  <a:gd name="T13" fmla="*/ 27 h 1191"/>
                  <a:gd name="T14" fmla="*/ 6 w 926"/>
                  <a:gd name="T15" fmla="*/ 14 h 1191"/>
                  <a:gd name="T16" fmla="*/ 14 w 926"/>
                  <a:gd name="T17" fmla="*/ 6 h 1191"/>
                  <a:gd name="T18" fmla="*/ 27 w 926"/>
                  <a:gd name="T19" fmla="*/ 1 h 1191"/>
                  <a:gd name="T20" fmla="*/ 165 w 926"/>
                  <a:gd name="T21" fmla="*/ 0 h 1191"/>
                  <a:gd name="T22" fmla="*/ 172 w 926"/>
                  <a:gd name="T23" fmla="*/ 1 h 1191"/>
                  <a:gd name="T24" fmla="*/ 184 w 926"/>
                  <a:gd name="T25" fmla="*/ 6 h 1191"/>
                  <a:gd name="T26" fmla="*/ 193 w 926"/>
                  <a:gd name="T27" fmla="*/ 14 h 1191"/>
                  <a:gd name="T28" fmla="*/ 198 w 926"/>
                  <a:gd name="T29" fmla="*/ 27 h 1191"/>
                  <a:gd name="T30" fmla="*/ 199 w 926"/>
                  <a:gd name="T31" fmla="*/ 33 h 1191"/>
                  <a:gd name="T32" fmla="*/ 195 w 926"/>
                  <a:gd name="T33" fmla="*/ 46 h 1191"/>
                  <a:gd name="T34" fmla="*/ 189 w 926"/>
                  <a:gd name="T35" fmla="*/ 57 h 1191"/>
                  <a:gd name="T36" fmla="*/ 178 w 926"/>
                  <a:gd name="T37" fmla="*/ 64 h 1191"/>
                  <a:gd name="T38" fmla="*/ 165 w 926"/>
                  <a:gd name="T39" fmla="*/ 66 h 1191"/>
                  <a:gd name="T40" fmla="*/ 66 w 926"/>
                  <a:gd name="T41" fmla="*/ 1125 h 1191"/>
                  <a:gd name="T42" fmla="*/ 860 w 926"/>
                  <a:gd name="T43" fmla="*/ 1025 h 1191"/>
                  <a:gd name="T44" fmla="*/ 861 w 926"/>
                  <a:gd name="T45" fmla="*/ 1018 h 1191"/>
                  <a:gd name="T46" fmla="*/ 865 w 926"/>
                  <a:gd name="T47" fmla="*/ 1007 h 1191"/>
                  <a:gd name="T48" fmla="*/ 874 w 926"/>
                  <a:gd name="T49" fmla="*/ 997 h 1191"/>
                  <a:gd name="T50" fmla="*/ 887 w 926"/>
                  <a:gd name="T51" fmla="*/ 992 h 1191"/>
                  <a:gd name="T52" fmla="*/ 893 w 926"/>
                  <a:gd name="T53" fmla="*/ 992 h 1191"/>
                  <a:gd name="T54" fmla="*/ 905 w 926"/>
                  <a:gd name="T55" fmla="*/ 994 h 1191"/>
                  <a:gd name="T56" fmla="*/ 917 w 926"/>
                  <a:gd name="T57" fmla="*/ 1002 h 1191"/>
                  <a:gd name="T58" fmla="*/ 923 w 926"/>
                  <a:gd name="T59" fmla="*/ 1012 h 1191"/>
                  <a:gd name="T60" fmla="*/ 926 w 926"/>
                  <a:gd name="T61" fmla="*/ 1025 h 1191"/>
                  <a:gd name="T62" fmla="*/ 926 w 926"/>
                  <a:gd name="T63" fmla="*/ 1158 h 1191"/>
                  <a:gd name="T64" fmla="*/ 923 w 926"/>
                  <a:gd name="T65" fmla="*/ 1170 h 1191"/>
                  <a:gd name="T66" fmla="*/ 917 w 926"/>
                  <a:gd name="T67" fmla="*/ 1181 h 1191"/>
                  <a:gd name="T68" fmla="*/ 905 w 926"/>
                  <a:gd name="T69" fmla="*/ 1188 h 1191"/>
                  <a:gd name="T70" fmla="*/ 893 w 926"/>
                  <a:gd name="T71" fmla="*/ 119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6" h="1191">
                    <a:moveTo>
                      <a:pt x="893" y="1191"/>
                    </a:moveTo>
                    <a:lnTo>
                      <a:pt x="33" y="1191"/>
                    </a:lnTo>
                    <a:lnTo>
                      <a:pt x="33" y="1191"/>
                    </a:lnTo>
                    <a:lnTo>
                      <a:pt x="27" y="1190"/>
                    </a:lnTo>
                    <a:lnTo>
                      <a:pt x="21" y="1188"/>
                    </a:lnTo>
                    <a:lnTo>
                      <a:pt x="14" y="1185"/>
                    </a:lnTo>
                    <a:lnTo>
                      <a:pt x="10" y="1181"/>
                    </a:lnTo>
                    <a:lnTo>
                      <a:pt x="6" y="1175"/>
                    </a:lnTo>
                    <a:lnTo>
                      <a:pt x="3" y="1170"/>
                    </a:lnTo>
                    <a:lnTo>
                      <a:pt x="1" y="1164"/>
                    </a:lnTo>
                    <a:lnTo>
                      <a:pt x="0" y="1158"/>
                    </a:lnTo>
                    <a:lnTo>
                      <a:pt x="0" y="33"/>
                    </a:lnTo>
                    <a:lnTo>
                      <a:pt x="0" y="33"/>
                    </a:lnTo>
                    <a:lnTo>
                      <a:pt x="1" y="27"/>
                    </a:lnTo>
                    <a:lnTo>
                      <a:pt x="3" y="20"/>
                    </a:lnTo>
                    <a:lnTo>
                      <a:pt x="6" y="14"/>
                    </a:lnTo>
                    <a:lnTo>
                      <a:pt x="10" y="10"/>
                    </a:lnTo>
                    <a:lnTo>
                      <a:pt x="14" y="6"/>
                    </a:lnTo>
                    <a:lnTo>
                      <a:pt x="21" y="3"/>
                    </a:lnTo>
                    <a:lnTo>
                      <a:pt x="27" y="1"/>
                    </a:lnTo>
                    <a:lnTo>
                      <a:pt x="33" y="0"/>
                    </a:lnTo>
                    <a:lnTo>
                      <a:pt x="165" y="0"/>
                    </a:lnTo>
                    <a:lnTo>
                      <a:pt x="165" y="0"/>
                    </a:lnTo>
                    <a:lnTo>
                      <a:pt x="172" y="1"/>
                    </a:lnTo>
                    <a:lnTo>
                      <a:pt x="178" y="3"/>
                    </a:lnTo>
                    <a:lnTo>
                      <a:pt x="184" y="6"/>
                    </a:lnTo>
                    <a:lnTo>
                      <a:pt x="189" y="10"/>
                    </a:lnTo>
                    <a:lnTo>
                      <a:pt x="193" y="14"/>
                    </a:lnTo>
                    <a:lnTo>
                      <a:pt x="195" y="20"/>
                    </a:lnTo>
                    <a:lnTo>
                      <a:pt x="198" y="27"/>
                    </a:lnTo>
                    <a:lnTo>
                      <a:pt x="199" y="33"/>
                    </a:lnTo>
                    <a:lnTo>
                      <a:pt x="199" y="33"/>
                    </a:lnTo>
                    <a:lnTo>
                      <a:pt x="198" y="40"/>
                    </a:lnTo>
                    <a:lnTo>
                      <a:pt x="195" y="46"/>
                    </a:lnTo>
                    <a:lnTo>
                      <a:pt x="193" y="51"/>
                    </a:lnTo>
                    <a:lnTo>
                      <a:pt x="189" y="57"/>
                    </a:lnTo>
                    <a:lnTo>
                      <a:pt x="184" y="61"/>
                    </a:lnTo>
                    <a:lnTo>
                      <a:pt x="178" y="64"/>
                    </a:lnTo>
                    <a:lnTo>
                      <a:pt x="172" y="66"/>
                    </a:lnTo>
                    <a:lnTo>
                      <a:pt x="165" y="66"/>
                    </a:lnTo>
                    <a:lnTo>
                      <a:pt x="66" y="66"/>
                    </a:lnTo>
                    <a:lnTo>
                      <a:pt x="66" y="1125"/>
                    </a:lnTo>
                    <a:lnTo>
                      <a:pt x="860" y="1125"/>
                    </a:lnTo>
                    <a:lnTo>
                      <a:pt x="860" y="1025"/>
                    </a:lnTo>
                    <a:lnTo>
                      <a:pt x="860" y="1025"/>
                    </a:lnTo>
                    <a:lnTo>
                      <a:pt x="861" y="1018"/>
                    </a:lnTo>
                    <a:lnTo>
                      <a:pt x="863" y="1012"/>
                    </a:lnTo>
                    <a:lnTo>
                      <a:pt x="865" y="1007"/>
                    </a:lnTo>
                    <a:lnTo>
                      <a:pt x="869" y="1002"/>
                    </a:lnTo>
                    <a:lnTo>
                      <a:pt x="874" y="997"/>
                    </a:lnTo>
                    <a:lnTo>
                      <a:pt x="881" y="994"/>
                    </a:lnTo>
                    <a:lnTo>
                      <a:pt x="887" y="992"/>
                    </a:lnTo>
                    <a:lnTo>
                      <a:pt x="893" y="992"/>
                    </a:lnTo>
                    <a:lnTo>
                      <a:pt x="893" y="992"/>
                    </a:lnTo>
                    <a:lnTo>
                      <a:pt x="899" y="992"/>
                    </a:lnTo>
                    <a:lnTo>
                      <a:pt x="905" y="994"/>
                    </a:lnTo>
                    <a:lnTo>
                      <a:pt x="912" y="997"/>
                    </a:lnTo>
                    <a:lnTo>
                      <a:pt x="917" y="1002"/>
                    </a:lnTo>
                    <a:lnTo>
                      <a:pt x="920" y="1007"/>
                    </a:lnTo>
                    <a:lnTo>
                      <a:pt x="923" y="1012"/>
                    </a:lnTo>
                    <a:lnTo>
                      <a:pt x="925" y="1018"/>
                    </a:lnTo>
                    <a:lnTo>
                      <a:pt x="926" y="1025"/>
                    </a:lnTo>
                    <a:lnTo>
                      <a:pt x="926" y="1158"/>
                    </a:lnTo>
                    <a:lnTo>
                      <a:pt x="926" y="1158"/>
                    </a:lnTo>
                    <a:lnTo>
                      <a:pt x="925" y="1164"/>
                    </a:lnTo>
                    <a:lnTo>
                      <a:pt x="923" y="1170"/>
                    </a:lnTo>
                    <a:lnTo>
                      <a:pt x="920" y="1175"/>
                    </a:lnTo>
                    <a:lnTo>
                      <a:pt x="917" y="1181"/>
                    </a:lnTo>
                    <a:lnTo>
                      <a:pt x="912" y="1185"/>
                    </a:lnTo>
                    <a:lnTo>
                      <a:pt x="905" y="1188"/>
                    </a:lnTo>
                    <a:lnTo>
                      <a:pt x="899" y="1190"/>
                    </a:lnTo>
                    <a:lnTo>
                      <a:pt x="893" y="1191"/>
                    </a:lnTo>
                    <a:lnTo>
                      <a:pt x="893" y="1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7" name="Freeform 169">
                <a:extLst>
                  <a:ext uri="{FF2B5EF4-FFF2-40B4-BE49-F238E27FC236}">
                    <a16:creationId xmlns:a16="http://schemas.microsoft.com/office/drawing/2014/main" id="{5A6B4459-A69C-3316-D7C3-0F2EF2FFA1F3}"/>
                  </a:ext>
                </a:extLst>
              </p:cNvPr>
              <p:cNvSpPr>
                <a:spLocks/>
              </p:cNvSpPr>
              <p:nvPr/>
            </p:nvSpPr>
            <p:spPr bwMode="auto">
              <a:xfrm>
                <a:off x="6321425" y="1163638"/>
                <a:ext cx="209550" cy="269875"/>
              </a:xfrm>
              <a:custGeom>
                <a:avLst/>
                <a:gdLst>
                  <a:gd name="T0" fmla="*/ 34 w 927"/>
                  <a:gd name="T1" fmla="*/ 1190 h 1190"/>
                  <a:gd name="T2" fmla="*/ 27 w 927"/>
                  <a:gd name="T3" fmla="*/ 1190 h 1190"/>
                  <a:gd name="T4" fmla="*/ 16 w 927"/>
                  <a:gd name="T5" fmla="*/ 1185 h 1190"/>
                  <a:gd name="T6" fmla="*/ 7 w 927"/>
                  <a:gd name="T7" fmla="*/ 1176 h 1190"/>
                  <a:gd name="T8" fmla="*/ 1 w 927"/>
                  <a:gd name="T9" fmla="*/ 1165 h 1190"/>
                  <a:gd name="T10" fmla="*/ 0 w 927"/>
                  <a:gd name="T11" fmla="*/ 33 h 1190"/>
                  <a:gd name="T12" fmla="*/ 1 w 927"/>
                  <a:gd name="T13" fmla="*/ 27 h 1190"/>
                  <a:gd name="T14" fmla="*/ 7 w 927"/>
                  <a:gd name="T15" fmla="*/ 15 h 1190"/>
                  <a:gd name="T16" fmla="*/ 16 w 927"/>
                  <a:gd name="T17" fmla="*/ 6 h 1190"/>
                  <a:gd name="T18" fmla="*/ 27 w 927"/>
                  <a:gd name="T19" fmla="*/ 1 h 1190"/>
                  <a:gd name="T20" fmla="*/ 166 w 927"/>
                  <a:gd name="T21" fmla="*/ 0 h 1190"/>
                  <a:gd name="T22" fmla="*/ 173 w 927"/>
                  <a:gd name="T23" fmla="*/ 1 h 1190"/>
                  <a:gd name="T24" fmla="*/ 185 w 927"/>
                  <a:gd name="T25" fmla="*/ 6 h 1190"/>
                  <a:gd name="T26" fmla="*/ 194 w 927"/>
                  <a:gd name="T27" fmla="*/ 15 h 1190"/>
                  <a:gd name="T28" fmla="*/ 199 w 927"/>
                  <a:gd name="T29" fmla="*/ 27 h 1190"/>
                  <a:gd name="T30" fmla="*/ 199 w 927"/>
                  <a:gd name="T31" fmla="*/ 33 h 1190"/>
                  <a:gd name="T32" fmla="*/ 197 w 927"/>
                  <a:gd name="T33" fmla="*/ 46 h 1190"/>
                  <a:gd name="T34" fmla="*/ 190 w 927"/>
                  <a:gd name="T35" fmla="*/ 57 h 1190"/>
                  <a:gd name="T36" fmla="*/ 179 w 927"/>
                  <a:gd name="T37" fmla="*/ 63 h 1190"/>
                  <a:gd name="T38" fmla="*/ 166 w 927"/>
                  <a:gd name="T39" fmla="*/ 66 h 1190"/>
                  <a:gd name="T40" fmla="*/ 67 w 927"/>
                  <a:gd name="T41" fmla="*/ 1124 h 1190"/>
                  <a:gd name="T42" fmla="*/ 860 w 927"/>
                  <a:gd name="T43" fmla="*/ 1026 h 1190"/>
                  <a:gd name="T44" fmla="*/ 861 w 927"/>
                  <a:gd name="T45" fmla="*/ 1019 h 1190"/>
                  <a:gd name="T46" fmla="*/ 867 w 927"/>
                  <a:gd name="T47" fmla="*/ 1007 h 1190"/>
                  <a:gd name="T48" fmla="*/ 875 w 927"/>
                  <a:gd name="T49" fmla="*/ 998 h 1190"/>
                  <a:gd name="T50" fmla="*/ 887 w 927"/>
                  <a:gd name="T51" fmla="*/ 993 h 1190"/>
                  <a:gd name="T52" fmla="*/ 893 w 927"/>
                  <a:gd name="T53" fmla="*/ 993 h 1190"/>
                  <a:gd name="T54" fmla="*/ 907 w 927"/>
                  <a:gd name="T55" fmla="*/ 995 h 1190"/>
                  <a:gd name="T56" fmla="*/ 917 w 927"/>
                  <a:gd name="T57" fmla="*/ 1002 h 1190"/>
                  <a:gd name="T58" fmla="*/ 925 w 927"/>
                  <a:gd name="T59" fmla="*/ 1012 h 1190"/>
                  <a:gd name="T60" fmla="*/ 927 w 927"/>
                  <a:gd name="T61" fmla="*/ 1026 h 1190"/>
                  <a:gd name="T62" fmla="*/ 927 w 927"/>
                  <a:gd name="T63" fmla="*/ 1157 h 1190"/>
                  <a:gd name="T64" fmla="*/ 925 w 927"/>
                  <a:gd name="T65" fmla="*/ 1171 h 1190"/>
                  <a:gd name="T66" fmla="*/ 917 w 927"/>
                  <a:gd name="T67" fmla="*/ 1181 h 1190"/>
                  <a:gd name="T68" fmla="*/ 907 w 927"/>
                  <a:gd name="T69" fmla="*/ 1188 h 1190"/>
                  <a:gd name="T70" fmla="*/ 893 w 927"/>
                  <a:gd name="T71" fmla="*/ 1190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7" h="1190">
                    <a:moveTo>
                      <a:pt x="893" y="1190"/>
                    </a:moveTo>
                    <a:lnTo>
                      <a:pt x="34" y="1190"/>
                    </a:lnTo>
                    <a:lnTo>
                      <a:pt x="34" y="1190"/>
                    </a:lnTo>
                    <a:lnTo>
                      <a:pt x="27" y="1190"/>
                    </a:lnTo>
                    <a:lnTo>
                      <a:pt x="21" y="1188"/>
                    </a:lnTo>
                    <a:lnTo>
                      <a:pt x="16" y="1185"/>
                    </a:lnTo>
                    <a:lnTo>
                      <a:pt x="11" y="1181"/>
                    </a:lnTo>
                    <a:lnTo>
                      <a:pt x="7" y="1176"/>
                    </a:lnTo>
                    <a:lnTo>
                      <a:pt x="4" y="1171"/>
                    </a:lnTo>
                    <a:lnTo>
                      <a:pt x="1" y="1165"/>
                    </a:lnTo>
                    <a:lnTo>
                      <a:pt x="0" y="1157"/>
                    </a:lnTo>
                    <a:lnTo>
                      <a:pt x="0" y="33"/>
                    </a:lnTo>
                    <a:lnTo>
                      <a:pt x="0" y="33"/>
                    </a:lnTo>
                    <a:lnTo>
                      <a:pt x="1" y="27"/>
                    </a:lnTo>
                    <a:lnTo>
                      <a:pt x="4" y="21"/>
                    </a:lnTo>
                    <a:lnTo>
                      <a:pt x="7" y="15"/>
                    </a:lnTo>
                    <a:lnTo>
                      <a:pt x="11" y="9"/>
                    </a:lnTo>
                    <a:lnTo>
                      <a:pt x="16" y="6"/>
                    </a:lnTo>
                    <a:lnTo>
                      <a:pt x="21" y="3"/>
                    </a:lnTo>
                    <a:lnTo>
                      <a:pt x="27" y="1"/>
                    </a:lnTo>
                    <a:lnTo>
                      <a:pt x="34" y="0"/>
                    </a:lnTo>
                    <a:lnTo>
                      <a:pt x="166" y="0"/>
                    </a:lnTo>
                    <a:lnTo>
                      <a:pt x="166" y="0"/>
                    </a:lnTo>
                    <a:lnTo>
                      <a:pt x="173" y="1"/>
                    </a:lnTo>
                    <a:lnTo>
                      <a:pt x="179" y="3"/>
                    </a:lnTo>
                    <a:lnTo>
                      <a:pt x="185" y="6"/>
                    </a:lnTo>
                    <a:lnTo>
                      <a:pt x="190" y="9"/>
                    </a:lnTo>
                    <a:lnTo>
                      <a:pt x="194" y="15"/>
                    </a:lnTo>
                    <a:lnTo>
                      <a:pt x="197" y="21"/>
                    </a:lnTo>
                    <a:lnTo>
                      <a:pt x="199" y="27"/>
                    </a:lnTo>
                    <a:lnTo>
                      <a:pt x="199" y="33"/>
                    </a:lnTo>
                    <a:lnTo>
                      <a:pt x="199" y="33"/>
                    </a:lnTo>
                    <a:lnTo>
                      <a:pt x="199" y="39"/>
                    </a:lnTo>
                    <a:lnTo>
                      <a:pt x="197" y="46"/>
                    </a:lnTo>
                    <a:lnTo>
                      <a:pt x="194" y="52"/>
                    </a:lnTo>
                    <a:lnTo>
                      <a:pt x="190" y="57"/>
                    </a:lnTo>
                    <a:lnTo>
                      <a:pt x="185" y="61"/>
                    </a:lnTo>
                    <a:lnTo>
                      <a:pt x="179" y="63"/>
                    </a:lnTo>
                    <a:lnTo>
                      <a:pt x="173" y="65"/>
                    </a:lnTo>
                    <a:lnTo>
                      <a:pt x="166" y="66"/>
                    </a:lnTo>
                    <a:lnTo>
                      <a:pt x="67" y="66"/>
                    </a:lnTo>
                    <a:lnTo>
                      <a:pt x="67" y="1124"/>
                    </a:lnTo>
                    <a:lnTo>
                      <a:pt x="860" y="1124"/>
                    </a:lnTo>
                    <a:lnTo>
                      <a:pt x="860" y="1026"/>
                    </a:lnTo>
                    <a:lnTo>
                      <a:pt x="860" y="1026"/>
                    </a:lnTo>
                    <a:lnTo>
                      <a:pt x="861" y="1019"/>
                    </a:lnTo>
                    <a:lnTo>
                      <a:pt x="863" y="1012"/>
                    </a:lnTo>
                    <a:lnTo>
                      <a:pt x="867" y="1007"/>
                    </a:lnTo>
                    <a:lnTo>
                      <a:pt x="871" y="1002"/>
                    </a:lnTo>
                    <a:lnTo>
                      <a:pt x="875" y="998"/>
                    </a:lnTo>
                    <a:lnTo>
                      <a:pt x="881" y="995"/>
                    </a:lnTo>
                    <a:lnTo>
                      <a:pt x="887" y="993"/>
                    </a:lnTo>
                    <a:lnTo>
                      <a:pt x="893" y="993"/>
                    </a:lnTo>
                    <a:lnTo>
                      <a:pt x="893" y="993"/>
                    </a:lnTo>
                    <a:lnTo>
                      <a:pt x="901" y="993"/>
                    </a:lnTo>
                    <a:lnTo>
                      <a:pt x="907" y="995"/>
                    </a:lnTo>
                    <a:lnTo>
                      <a:pt x="912" y="998"/>
                    </a:lnTo>
                    <a:lnTo>
                      <a:pt x="917" y="1002"/>
                    </a:lnTo>
                    <a:lnTo>
                      <a:pt x="921" y="1007"/>
                    </a:lnTo>
                    <a:lnTo>
                      <a:pt x="925" y="1012"/>
                    </a:lnTo>
                    <a:lnTo>
                      <a:pt x="926" y="1019"/>
                    </a:lnTo>
                    <a:lnTo>
                      <a:pt x="927" y="1026"/>
                    </a:lnTo>
                    <a:lnTo>
                      <a:pt x="927" y="1157"/>
                    </a:lnTo>
                    <a:lnTo>
                      <a:pt x="927" y="1157"/>
                    </a:lnTo>
                    <a:lnTo>
                      <a:pt x="926" y="1165"/>
                    </a:lnTo>
                    <a:lnTo>
                      <a:pt x="925" y="1171"/>
                    </a:lnTo>
                    <a:lnTo>
                      <a:pt x="921" y="1176"/>
                    </a:lnTo>
                    <a:lnTo>
                      <a:pt x="917" y="1181"/>
                    </a:lnTo>
                    <a:lnTo>
                      <a:pt x="912" y="1185"/>
                    </a:lnTo>
                    <a:lnTo>
                      <a:pt x="907" y="1188"/>
                    </a:lnTo>
                    <a:lnTo>
                      <a:pt x="901" y="1190"/>
                    </a:lnTo>
                    <a:lnTo>
                      <a:pt x="893" y="1190"/>
                    </a:lnTo>
                    <a:lnTo>
                      <a:pt x="893" y="1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5" name="Freeform 170">
                <a:extLst>
                  <a:ext uri="{FF2B5EF4-FFF2-40B4-BE49-F238E27FC236}">
                    <a16:creationId xmlns:a16="http://schemas.microsoft.com/office/drawing/2014/main" id="{E7819998-AC50-33FC-10C9-747E6383E0E2}"/>
                  </a:ext>
                </a:extLst>
              </p:cNvPr>
              <p:cNvSpPr>
                <a:spLocks/>
              </p:cNvSpPr>
              <p:nvPr/>
            </p:nvSpPr>
            <p:spPr bwMode="auto">
              <a:xfrm>
                <a:off x="6500813" y="1103313"/>
                <a:ext cx="90488" cy="90488"/>
              </a:xfrm>
              <a:custGeom>
                <a:avLst/>
                <a:gdLst>
                  <a:gd name="T0" fmla="*/ 364 w 398"/>
                  <a:gd name="T1" fmla="*/ 398 h 398"/>
                  <a:gd name="T2" fmla="*/ 33 w 398"/>
                  <a:gd name="T3" fmla="*/ 398 h 398"/>
                  <a:gd name="T4" fmla="*/ 33 w 398"/>
                  <a:gd name="T5" fmla="*/ 398 h 398"/>
                  <a:gd name="T6" fmla="*/ 27 w 398"/>
                  <a:gd name="T7" fmla="*/ 397 h 398"/>
                  <a:gd name="T8" fmla="*/ 21 w 398"/>
                  <a:gd name="T9" fmla="*/ 395 h 398"/>
                  <a:gd name="T10" fmla="*/ 15 w 398"/>
                  <a:gd name="T11" fmla="*/ 391 h 398"/>
                  <a:gd name="T12" fmla="*/ 10 w 398"/>
                  <a:gd name="T13" fmla="*/ 388 h 398"/>
                  <a:gd name="T14" fmla="*/ 6 w 398"/>
                  <a:gd name="T15" fmla="*/ 383 h 398"/>
                  <a:gd name="T16" fmla="*/ 3 w 398"/>
                  <a:gd name="T17" fmla="*/ 377 h 398"/>
                  <a:gd name="T18" fmla="*/ 1 w 398"/>
                  <a:gd name="T19" fmla="*/ 371 h 398"/>
                  <a:gd name="T20" fmla="*/ 0 w 398"/>
                  <a:gd name="T21" fmla="*/ 365 h 398"/>
                  <a:gd name="T22" fmla="*/ 0 w 398"/>
                  <a:gd name="T23" fmla="*/ 33 h 398"/>
                  <a:gd name="T24" fmla="*/ 0 w 398"/>
                  <a:gd name="T25" fmla="*/ 33 h 398"/>
                  <a:gd name="T26" fmla="*/ 1 w 398"/>
                  <a:gd name="T27" fmla="*/ 27 h 398"/>
                  <a:gd name="T28" fmla="*/ 3 w 398"/>
                  <a:gd name="T29" fmla="*/ 21 h 398"/>
                  <a:gd name="T30" fmla="*/ 6 w 398"/>
                  <a:gd name="T31" fmla="*/ 16 h 398"/>
                  <a:gd name="T32" fmla="*/ 10 w 398"/>
                  <a:gd name="T33" fmla="*/ 11 h 398"/>
                  <a:gd name="T34" fmla="*/ 15 w 398"/>
                  <a:gd name="T35" fmla="*/ 6 h 398"/>
                  <a:gd name="T36" fmla="*/ 21 w 398"/>
                  <a:gd name="T37" fmla="*/ 3 h 398"/>
                  <a:gd name="T38" fmla="*/ 27 w 398"/>
                  <a:gd name="T39" fmla="*/ 1 h 398"/>
                  <a:gd name="T40" fmla="*/ 33 w 398"/>
                  <a:gd name="T41" fmla="*/ 0 h 398"/>
                  <a:gd name="T42" fmla="*/ 33 w 398"/>
                  <a:gd name="T43" fmla="*/ 0 h 398"/>
                  <a:gd name="T44" fmla="*/ 41 w 398"/>
                  <a:gd name="T45" fmla="*/ 1 h 398"/>
                  <a:gd name="T46" fmla="*/ 47 w 398"/>
                  <a:gd name="T47" fmla="*/ 3 h 398"/>
                  <a:gd name="T48" fmla="*/ 52 w 398"/>
                  <a:gd name="T49" fmla="*/ 6 h 398"/>
                  <a:gd name="T50" fmla="*/ 57 w 398"/>
                  <a:gd name="T51" fmla="*/ 11 h 398"/>
                  <a:gd name="T52" fmla="*/ 61 w 398"/>
                  <a:gd name="T53" fmla="*/ 16 h 398"/>
                  <a:gd name="T54" fmla="*/ 64 w 398"/>
                  <a:gd name="T55" fmla="*/ 21 h 398"/>
                  <a:gd name="T56" fmla="*/ 66 w 398"/>
                  <a:gd name="T57" fmla="*/ 27 h 398"/>
                  <a:gd name="T58" fmla="*/ 66 w 398"/>
                  <a:gd name="T59" fmla="*/ 33 h 398"/>
                  <a:gd name="T60" fmla="*/ 66 w 398"/>
                  <a:gd name="T61" fmla="*/ 331 h 398"/>
                  <a:gd name="T62" fmla="*/ 364 w 398"/>
                  <a:gd name="T63" fmla="*/ 331 h 398"/>
                  <a:gd name="T64" fmla="*/ 364 w 398"/>
                  <a:gd name="T65" fmla="*/ 331 h 398"/>
                  <a:gd name="T66" fmla="*/ 371 w 398"/>
                  <a:gd name="T67" fmla="*/ 332 h 398"/>
                  <a:gd name="T68" fmla="*/ 377 w 398"/>
                  <a:gd name="T69" fmla="*/ 333 h 398"/>
                  <a:gd name="T70" fmla="*/ 383 w 398"/>
                  <a:gd name="T71" fmla="*/ 337 h 398"/>
                  <a:gd name="T72" fmla="*/ 387 w 398"/>
                  <a:gd name="T73" fmla="*/ 341 h 398"/>
                  <a:gd name="T74" fmla="*/ 391 w 398"/>
                  <a:gd name="T75" fmla="*/ 346 h 398"/>
                  <a:gd name="T76" fmla="*/ 394 w 398"/>
                  <a:gd name="T77" fmla="*/ 351 h 398"/>
                  <a:gd name="T78" fmla="*/ 396 w 398"/>
                  <a:gd name="T79" fmla="*/ 357 h 398"/>
                  <a:gd name="T80" fmla="*/ 398 w 398"/>
                  <a:gd name="T81" fmla="*/ 365 h 398"/>
                  <a:gd name="T82" fmla="*/ 398 w 398"/>
                  <a:gd name="T83" fmla="*/ 365 h 398"/>
                  <a:gd name="T84" fmla="*/ 396 w 398"/>
                  <a:gd name="T85" fmla="*/ 371 h 398"/>
                  <a:gd name="T86" fmla="*/ 394 w 398"/>
                  <a:gd name="T87" fmla="*/ 377 h 398"/>
                  <a:gd name="T88" fmla="*/ 391 w 398"/>
                  <a:gd name="T89" fmla="*/ 383 h 398"/>
                  <a:gd name="T90" fmla="*/ 387 w 398"/>
                  <a:gd name="T91" fmla="*/ 388 h 398"/>
                  <a:gd name="T92" fmla="*/ 383 w 398"/>
                  <a:gd name="T93" fmla="*/ 391 h 398"/>
                  <a:gd name="T94" fmla="*/ 377 w 398"/>
                  <a:gd name="T95" fmla="*/ 395 h 398"/>
                  <a:gd name="T96" fmla="*/ 371 w 398"/>
                  <a:gd name="T97" fmla="*/ 397 h 398"/>
                  <a:gd name="T98" fmla="*/ 364 w 398"/>
                  <a:gd name="T99" fmla="*/ 398 h 398"/>
                  <a:gd name="T100" fmla="*/ 364 w 398"/>
                  <a:gd name="T101" fmla="*/ 39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8" h="398">
                    <a:moveTo>
                      <a:pt x="364" y="398"/>
                    </a:moveTo>
                    <a:lnTo>
                      <a:pt x="33" y="398"/>
                    </a:lnTo>
                    <a:lnTo>
                      <a:pt x="33" y="398"/>
                    </a:lnTo>
                    <a:lnTo>
                      <a:pt x="27" y="397"/>
                    </a:lnTo>
                    <a:lnTo>
                      <a:pt x="21" y="395"/>
                    </a:lnTo>
                    <a:lnTo>
                      <a:pt x="15" y="391"/>
                    </a:lnTo>
                    <a:lnTo>
                      <a:pt x="10" y="388"/>
                    </a:lnTo>
                    <a:lnTo>
                      <a:pt x="6" y="383"/>
                    </a:lnTo>
                    <a:lnTo>
                      <a:pt x="3" y="377"/>
                    </a:lnTo>
                    <a:lnTo>
                      <a:pt x="1" y="371"/>
                    </a:lnTo>
                    <a:lnTo>
                      <a:pt x="0" y="365"/>
                    </a:lnTo>
                    <a:lnTo>
                      <a:pt x="0" y="33"/>
                    </a:lnTo>
                    <a:lnTo>
                      <a:pt x="0" y="33"/>
                    </a:lnTo>
                    <a:lnTo>
                      <a:pt x="1" y="27"/>
                    </a:lnTo>
                    <a:lnTo>
                      <a:pt x="3" y="21"/>
                    </a:lnTo>
                    <a:lnTo>
                      <a:pt x="6" y="16"/>
                    </a:lnTo>
                    <a:lnTo>
                      <a:pt x="10" y="11"/>
                    </a:lnTo>
                    <a:lnTo>
                      <a:pt x="15" y="6"/>
                    </a:lnTo>
                    <a:lnTo>
                      <a:pt x="21" y="3"/>
                    </a:lnTo>
                    <a:lnTo>
                      <a:pt x="27" y="1"/>
                    </a:lnTo>
                    <a:lnTo>
                      <a:pt x="33" y="0"/>
                    </a:lnTo>
                    <a:lnTo>
                      <a:pt x="33" y="0"/>
                    </a:lnTo>
                    <a:lnTo>
                      <a:pt x="41" y="1"/>
                    </a:lnTo>
                    <a:lnTo>
                      <a:pt x="47" y="3"/>
                    </a:lnTo>
                    <a:lnTo>
                      <a:pt x="52" y="6"/>
                    </a:lnTo>
                    <a:lnTo>
                      <a:pt x="57" y="11"/>
                    </a:lnTo>
                    <a:lnTo>
                      <a:pt x="61" y="16"/>
                    </a:lnTo>
                    <a:lnTo>
                      <a:pt x="64" y="21"/>
                    </a:lnTo>
                    <a:lnTo>
                      <a:pt x="66" y="27"/>
                    </a:lnTo>
                    <a:lnTo>
                      <a:pt x="66" y="33"/>
                    </a:lnTo>
                    <a:lnTo>
                      <a:pt x="66" y="331"/>
                    </a:lnTo>
                    <a:lnTo>
                      <a:pt x="364" y="331"/>
                    </a:lnTo>
                    <a:lnTo>
                      <a:pt x="364" y="331"/>
                    </a:lnTo>
                    <a:lnTo>
                      <a:pt x="371" y="332"/>
                    </a:lnTo>
                    <a:lnTo>
                      <a:pt x="377" y="333"/>
                    </a:lnTo>
                    <a:lnTo>
                      <a:pt x="383" y="337"/>
                    </a:lnTo>
                    <a:lnTo>
                      <a:pt x="387" y="341"/>
                    </a:lnTo>
                    <a:lnTo>
                      <a:pt x="391" y="346"/>
                    </a:lnTo>
                    <a:lnTo>
                      <a:pt x="394" y="351"/>
                    </a:lnTo>
                    <a:lnTo>
                      <a:pt x="396" y="357"/>
                    </a:lnTo>
                    <a:lnTo>
                      <a:pt x="398" y="365"/>
                    </a:lnTo>
                    <a:lnTo>
                      <a:pt x="398" y="365"/>
                    </a:lnTo>
                    <a:lnTo>
                      <a:pt x="396" y="371"/>
                    </a:lnTo>
                    <a:lnTo>
                      <a:pt x="394" y="377"/>
                    </a:lnTo>
                    <a:lnTo>
                      <a:pt x="391" y="383"/>
                    </a:lnTo>
                    <a:lnTo>
                      <a:pt x="387" y="388"/>
                    </a:lnTo>
                    <a:lnTo>
                      <a:pt x="383" y="391"/>
                    </a:lnTo>
                    <a:lnTo>
                      <a:pt x="377" y="395"/>
                    </a:lnTo>
                    <a:lnTo>
                      <a:pt x="371" y="397"/>
                    </a:lnTo>
                    <a:lnTo>
                      <a:pt x="364" y="398"/>
                    </a:lnTo>
                    <a:lnTo>
                      <a:pt x="364"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sp>
        <p:nvSpPr>
          <p:cNvPr id="79" name="Rounded Rectangle 4">
            <a:extLst>
              <a:ext uri="{FF2B5EF4-FFF2-40B4-BE49-F238E27FC236}">
                <a16:creationId xmlns:a16="http://schemas.microsoft.com/office/drawing/2014/main" id="{983E6C0B-E87A-1845-8D86-18EAF1013896}"/>
              </a:ext>
            </a:extLst>
          </p:cNvPr>
          <p:cNvSpPr>
            <a:spLocks/>
          </p:cNvSpPr>
          <p:nvPr/>
        </p:nvSpPr>
        <p:spPr>
          <a:xfrm>
            <a:off x="1008134" y="1166860"/>
            <a:ext cx="863846" cy="981135"/>
          </a:xfrm>
          <a:prstGeom prst="roundRect">
            <a:avLst>
              <a:gd name="adj" fmla="val 7220"/>
            </a:avLst>
          </a:prstGeom>
          <a:solidFill>
            <a:schemeClr val="accent2"/>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251999"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Roboto"/>
              <a:ea typeface="+mn-ea"/>
              <a:cs typeface="+mn-cs"/>
            </a:endParaRPr>
          </a:p>
        </p:txBody>
      </p:sp>
      <p:grpSp>
        <p:nvGrpSpPr>
          <p:cNvPr id="66" name="Group 65">
            <a:extLst>
              <a:ext uri="{FF2B5EF4-FFF2-40B4-BE49-F238E27FC236}">
                <a16:creationId xmlns:a16="http://schemas.microsoft.com/office/drawing/2014/main" id="{81BA46E9-AB96-1D3E-3A3D-1C37D0EA8458}"/>
              </a:ext>
            </a:extLst>
          </p:cNvPr>
          <p:cNvGrpSpPr/>
          <p:nvPr/>
        </p:nvGrpSpPr>
        <p:grpSpPr>
          <a:xfrm>
            <a:off x="1198358" y="1398571"/>
            <a:ext cx="517712" cy="517712"/>
            <a:chOff x="9155113" y="2168525"/>
            <a:chExt cx="360363" cy="360363"/>
          </a:xfrm>
          <a:solidFill>
            <a:schemeClr val="bg1"/>
          </a:solidFill>
        </p:grpSpPr>
        <p:sp>
          <p:nvSpPr>
            <p:cNvPr id="67" name="Freeform 91">
              <a:extLst>
                <a:ext uri="{FF2B5EF4-FFF2-40B4-BE49-F238E27FC236}">
                  <a16:creationId xmlns:a16="http://schemas.microsoft.com/office/drawing/2014/main" id="{7B42F744-273B-1582-E068-EBFAD3CD7CAE}"/>
                </a:ext>
              </a:extLst>
            </p:cNvPr>
            <p:cNvSpPr>
              <a:spLocks noEditPoints="1"/>
            </p:cNvSpPr>
            <p:nvPr/>
          </p:nvSpPr>
          <p:spPr bwMode="auto">
            <a:xfrm>
              <a:off x="9336088" y="2347913"/>
              <a:ext cx="179388" cy="180975"/>
            </a:xfrm>
            <a:custGeom>
              <a:avLst/>
              <a:gdLst>
                <a:gd name="T0" fmla="*/ 33 w 794"/>
                <a:gd name="T1" fmla="*/ 794 h 794"/>
                <a:gd name="T2" fmla="*/ 33 w 794"/>
                <a:gd name="T3" fmla="*/ 794 h 794"/>
                <a:gd name="T4" fmla="*/ 27 w 794"/>
                <a:gd name="T5" fmla="*/ 794 h 794"/>
                <a:gd name="T6" fmla="*/ 21 w 794"/>
                <a:gd name="T7" fmla="*/ 792 h 794"/>
                <a:gd name="T8" fmla="*/ 15 w 794"/>
                <a:gd name="T9" fmla="*/ 789 h 794"/>
                <a:gd name="T10" fmla="*/ 10 w 794"/>
                <a:gd name="T11" fmla="*/ 785 h 794"/>
                <a:gd name="T12" fmla="*/ 10 w 794"/>
                <a:gd name="T13" fmla="*/ 785 h 794"/>
                <a:gd name="T14" fmla="*/ 4 w 794"/>
                <a:gd name="T15" fmla="*/ 778 h 794"/>
                <a:gd name="T16" fmla="*/ 1 w 794"/>
                <a:gd name="T17" fmla="*/ 769 h 794"/>
                <a:gd name="T18" fmla="*/ 0 w 794"/>
                <a:gd name="T19" fmla="*/ 761 h 794"/>
                <a:gd name="T20" fmla="*/ 1 w 794"/>
                <a:gd name="T21" fmla="*/ 753 h 794"/>
                <a:gd name="T22" fmla="*/ 68 w 794"/>
                <a:gd name="T23" fmla="*/ 521 h 794"/>
                <a:gd name="T24" fmla="*/ 68 w 794"/>
                <a:gd name="T25" fmla="*/ 521 h 794"/>
                <a:gd name="T26" fmla="*/ 71 w 794"/>
                <a:gd name="T27" fmla="*/ 513 h 794"/>
                <a:gd name="T28" fmla="*/ 76 w 794"/>
                <a:gd name="T29" fmla="*/ 506 h 794"/>
                <a:gd name="T30" fmla="*/ 573 w 794"/>
                <a:gd name="T31" fmla="*/ 10 h 794"/>
                <a:gd name="T32" fmla="*/ 573 w 794"/>
                <a:gd name="T33" fmla="*/ 10 h 794"/>
                <a:gd name="T34" fmla="*/ 578 w 794"/>
                <a:gd name="T35" fmla="*/ 6 h 794"/>
                <a:gd name="T36" fmla="*/ 583 w 794"/>
                <a:gd name="T37" fmla="*/ 3 h 794"/>
                <a:gd name="T38" fmla="*/ 589 w 794"/>
                <a:gd name="T39" fmla="*/ 1 h 794"/>
                <a:gd name="T40" fmla="*/ 595 w 794"/>
                <a:gd name="T41" fmla="*/ 0 h 794"/>
                <a:gd name="T42" fmla="*/ 602 w 794"/>
                <a:gd name="T43" fmla="*/ 1 h 794"/>
                <a:gd name="T44" fmla="*/ 608 w 794"/>
                <a:gd name="T45" fmla="*/ 3 h 794"/>
                <a:gd name="T46" fmla="*/ 614 w 794"/>
                <a:gd name="T47" fmla="*/ 6 h 794"/>
                <a:gd name="T48" fmla="*/ 619 w 794"/>
                <a:gd name="T49" fmla="*/ 10 h 794"/>
                <a:gd name="T50" fmla="*/ 785 w 794"/>
                <a:gd name="T51" fmla="*/ 175 h 794"/>
                <a:gd name="T52" fmla="*/ 785 w 794"/>
                <a:gd name="T53" fmla="*/ 175 h 794"/>
                <a:gd name="T54" fmla="*/ 789 w 794"/>
                <a:gd name="T55" fmla="*/ 180 h 794"/>
                <a:gd name="T56" fmla="*/ 792 w 794"/>
                <a:gd name="T57" fmla="*/ 186 h 794"/>
                <a:gd name="T58" fmla="*/ 793 w 794"/>
                <a:gd name="T59" fmla="*/ 193 h 794"/>
                <a:gd name="T60" fmla="*/ 794 w 794"/>
                <a:gd name="T61" fmla="*/ 199 h 794"/>
                <a:gd name="T62" fmla="*/ 794 w 794"/>
                <a:gd name="T63" fmla="*/ 199 h 794"/>
                <a:gd name="T64" fmla="*/ 793 w 794"/>
                <a:gd name="T65" fmla="*/ 205 h 794"/>
                <a:gd name="T66" fmla="*/ 792 w 794"/>
                <a:gd name="T67" fmla="*/ 211 h 794"/>
                <a:gd name="T68" fmla="*/ 789 w 794"/>
                <a:gd name="T69" fmla="*/ 218 h 794"/>
                <a:gd name="T70" fmla="*/ 785 w 794"/>
                <a:gd name="T71" fmla="*/ 223 h 794"/>
                <a:gd name="T72" fmla="*/ 288 w 794"/>
                <a:gd name="T73" fmla="*/ 719 h 794"/>
                <a:gd name="T74" fmla="*/ 288 w 794"/>
                <a:gd name="T75" fmla="*/ 719 h 794"/>
                <a:gd name="T76" fmla="*/ 282 w 794"/>
                <a:gd name="T77" fmla="*/ 724 h 794"/>
                <a:gd name="T78" fmla="*/ 273 w 794"/>
                <a:gd name="T79" fmla="*/ 727 h 794"/>
                <a:gd name="T80" fmla="*/ 43 w 794"/>
                <a:gd name="T81" fmla="*/ 793 h 794"/>
                <a:gd name="T82" fmla="*/ 43 w 794"/>
                <a:gd name="T83" fmla="*/ 793 h 794"/>
                <a:gd name="T84" fmla="*/ 38 w 794"/>
                <a:gd name="T85" fmla="*/ 794 h 794"/>
                <a:gd name="T86" fmla="*/ 33 w 794"/>
                <a:gd name="T87" fmla="*/ 794 h 794"/>
                <a:gd name="T88" fmla="*/ 33 w 794"/>
                <a:gd name="T89" fmla="*/ 794 h 794"/>
                <a:gd name="T90" fmla="*/ 129 w 794"/>
                <a:gd name="T91" fmla="*/ 547 h 794"/>
                <a:gd name="T92" fmla="*/ 81 w 794"/>
                <a:gd name="T93" fmla="*/ 713 h 794"/>
                <a:gd name="T94" fmla="*/ 248 w 794"/>
                <a:gd name="T95" fmla="*/ 666 h 794"/>
                <a:gd name="T96" fmla="*/ 714 w 794"/>
                <a:gd name="T97" fmla="*/ 199 h 794"/>
                <a:gd name="T98" fmla="*/ 595 w 794"/>
                <a:gd name="T99" fmla="*/ 80 h 794"/>
                <a:gd name="T100" fmla="*/ 129 w 794"/>
                <a:gd name="T101" fmla="*/ 547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94" h="794">
                  <a:moveTo>
                    <a:pt x="33" y="794"/>
                  </a:moveTo>
                  <a:lnTo>
                    <a:pt x="33" y="794"/>
                  </a:lnTo>
                  <a:lnTo>
                    <a:pt x="27" y="794"/>
                  </a:lnTo>
                  <a:lnTo>
                    <a:pt x="21" y="792"/>
                  </a:lnTo>
                  <a:lnTo>
                    <a:pt x="15" y="789"/>
                  </a:lnTo>
                  <a:lnTo>
                    <a:pt x="10" y="785"/>
                  </a:lnTo>
                  <a:lnTo>
                    <a:pt x="10" y="785"/>
                  </a:lnTo>
                  <a:lnTo>
                    <a:pt x="4" y="778"/>
                  </a:lnTo>
                  <a:lnTo>
                    <a:pt x="1" y="769"/>
                  </a:lnTo>
                  <a:lnTo>
                    <a:pt x="0" y="761"/>
                  </a:lnTo>
                  <a:lnTo>
                    <a:pt x="1" y="753"/>
                  </a:lnTo>
                  <a:lnTo>
                    <a:pt x="68" y="521"/>
                  </a:lnTo>
                  <a:lnTo>
                    <a:pt x="68" y="521"/>
                  </a:lnTo>
                  <a:lnTo>
                    <a:pt x="71" y="513"/>
                  </a:lnTo>
                  <a:lnTo>
                    <a:pt x="76" y="506"/>
                  </a:lnTo>
                  <a:lnTo>
                    <a:pt x="573" y="10"/>
                  </a:lnTo>
                  <a:lnTo>
                    <a:pt x="573" y="10"/>
                  </a:lnTo>
                  <a:lnTo>
                    <a:pt x="578" y="6"/>
                  </a:lnTo>
                  <a:lnTo>
                    <a:pt x="583" y="3"/>
                  </a:lnTo>
                  <a:lnTo>
                    <a:pt x="589" y="1"/>
                  </a:lnTo>
                  <a:lnTo>
                    <a:pt x="595" y="0"/>
                  </a:lnTo>
                  <a:lnTo>
                    <a:pt x="602" y="1"/>
                  </a:lnTo>
                  <a:lnTo>
                    <a:pt x="608" y="3"/>
                  </a:lnTo>
                  <a:lnTo>
                    <a:pt x="614" y="6"/>
                  </a:lnTo>
                  <a:lnTo>
                    <a:pt x="619" y="10"/>
                  </a:lnTo>
                  <a:lnTo>
                    <a:pt x="785" y="175"/>
                  </a:lnTo>
                  <a:lnTo>
                    <a:pt x="785" y="175"/>
                  </a:lnTo>
                  <a:lnTo>
                    <a:pt x="789" y="180"/>
                  </a:lnTo>
                  <a:lnTo>
                    <a:pt x="792" y="186"/>
                  </a:lnTo>
                  <a:lnTo>
                    <a:pt x="793" y="193"/>
                  </a:lnTo>
                  <a:lnTo>
                    <a:pt x="794" y="199"/>
                  </a:lnTo>
                  <a:lnTo>
                    <a:pt x="794" y="199"/>
                  </a:lnTo>
                  <a:lnTo>
                    <a:pt x="793" y="205"/>
                  </a:lnTo>
                  <a:lnTo>
                    <a:pt x="792" y="211"/>
                  </a:lnTo>
                  <a:lnTo>
                    <a:pt x="789" y="218"/>
                  </a:lnTo>
                  <a:lnTo>
                    <a:pt x="785" y="223"/>
                  </a:lnTo>
                  <a:lnTo>
                    <a:pt x="288" y="719"/>
                  </a:lnTo>
                  <a:lnTo>
                    <a:pt x="288" y="719"/>
                  </a:lnTo>
                  <a:lnTo>
                    <a:pt x="282" y="724"/>
                  </a:lnTo>
                  <a:lnTo>
                    <a:pt x="273" y="727"/>
                  </a:lnTo>
                  <a:lnTo>
                    <a:pt x="43" y="793"/>
                  </a:lnTo>
                  <a:lnTo>
                    <a:pt x="43" y="793"/>
                  </a:lnTo>
                  <a:lnTo>
                    <a:pt x="38" y="794"/>
                  </a:lnTo>
                  <a:lnTo>
                    <a:pt x="33" y="794"/>
                  </a:lnTo>
                  <a:lnTo>
                    <a:pt x="33" y="794"/>
                  </a:lnTo>
                  <a:close/>
                  <a:moveTo>
                    <a:pt x="129" y="547"/>
                  </a:moveTo>
                  <a:lnTo>
                    <a:pt x="81" y="713"/>
                  </a:lnTo>
                  <a:lnTo>
                    <a:pt x="248" y="666"/>
                  </a:lnTo>
                  <a:lnTo>
                    <a:pt x="714" y="199"/>
                  </a:lnTo>
                  <a:lnTo>
                    <a:pt x="595" y="80"/>
                  </a:lnTo>
                  <a:lnTo>
                    <a:pt x="129" y="5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8" name="Freeform 92">
              <a:extLst>
                <a:ext uri="{FF2B5EF4-FFF2-40B4-BE49-F238E27FC236}">
                  <a16:creationId xmlns:a16="http://schemas.microsoft.com/office/drawing/2014/main" id="{29B541EF-ACED-191B-28BC-44ECA41406BD}"/>
                </a:ext>
              </a:extLst>
            </p:cNvPr>
            <p:cNvSpPr>
              <a:spLocks/>
            </p:cNvSpPr>
            <p:nvPr/>
          </p:nvSpPr>
          <p:spPr bwMode="auto">
            <a:xfrm>
              <a:off x="9434513" y="2381250"/>
              <a:ext cx="49213" cy="47625"/>
            </a:xfrm>
            <a:custGeom>
              <a:avLst/>
              <a:gdLst>
                <a:gd name="T0" fmla="*/ 166 w 212"/>
                <a:gd name="T1" fmla="*/ 211 h 211"/>
                <a:gd name="T2" fmla="*/ 0 w 212"/>
                <a:gd name="T3" fmla="*/ 47 h 211"/>
                <a:gd name="T4" fmla="*/ 47 w 212"/>
                <a:gd name="T5" fmla="*/ 0 h 211"/>
                <a:gd name="T6" fmla="*/ 212 w 212"/>
                <a:gd name="T7" fmla="*/ 165 h 211"/>
                <a:gd name="T8" fmla="*/ 166 w 212"/>
                <a:gd name="T9" fmla="*/ 211 h 211"/>
              </a:gdLst>
              <a:ahLst/>
              <a:cxnLst>
                <a:cxn ang="0">
                  <a:pos x="T0" y="T1"/>
                </a:cxn>
                <a:cxn ang="0">
                  <a:pos x="T2" y="T3"/>
                </a:cxn>
                <a:cxn ang="0">
                  <a:pos x="T4" y="T5"/>
                </a:cxn>
                <a:cxn ang="0">
                  <a:pos x="T6" y="T7"/>
                </a:cxn>
                <a:cxn ang="0">
                  <a:pos x="T8" y="T9"/>
                </a:cxn>
              </a:cxnLst>
              <a:rect l="0" t="0" r="r" b="b"/>
              <a:pathLst>
                <a:path w="212" h="211">
                  <a:moveTo>
                    <a:pt x="166" y="211"/>
                  </a:moveTo>
                  <a:lnTo>
                    <a:pt x="0" y="47"/>
                  </a:lnTo>
                  <a:lnTo>
                    <a:pt x="47" y="0"/>
                  </a:lnTo>
                  <a:lnTo>
                    <a:pt x="212" y="165"/>
                  </a:lnTo>
                  <a:lnTo>
                    <a:pt x="1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69" name="Freeform 93">
              <a:extLst>
                <a:ext uri="{FF2B5EF4-FFF2-40B4-BE49-F238E27FC236}">
                  <a16:creationId xmlns:a16="http://schemas.microsoft.com/office/drawing/2014/main" id="{5F0B7E84-3959-6C60-B4E6-EED8194CC674}"/>
                </a:ext>
              </a:extLst>
            </p:cNvPr>
            <p:cNvSpPr>
              <a:spLocks/>
            </p:cNvSpPr>
            <p:nvPr/>
          </p:nvSpPr>
          <p:spPr bwMode="auto">
            <a:xfrm>
              <a:off x="9350375" y="2460625"/>
              <a:ext cx="52388" cy="52388"/>
            </a:xfrm>
            <a:custGeom>
              <a:avLst/>
              <a:gdLst>
                <a:gd name="T0" fmla="*/ 199 w 232"/>
                <a:gd name="T1" fmla="*/ 231 h 231"/>
                <a:gd name="T2" fmla="*/ 199 w 232"/>
                <a:gd name="T3" fmla="*/ 231 h 231"/>
                <a:gd name="T4" fmla="*/ 193 w 232"/>
                <a:gd name="T5" fmla="*/ 231 h 231"/>
                <a:gd name="T6" fmla="*/ 187 w 232"/>
                <a:gd name="T7" fmla="*/ 229 h 231"/>
                <a:gd name="T8" fmla="*/ 181 w 232"/>
                <a:gd name="T9" fmla="*/ 226 h 231"/>
                <a:gd name="T10" fmla="*/ 175 w 232"/>
                <a:gd name="T11" fmla="*/ 222 h 231"/>
                <a:gd name="T12" fmla="*/ 10 w 232"/>
                <a:gd name="T13" fmla="*/ 56 h 231"/>
                <a:gd name="T14" fmla="*/ 10 w 232"/>
                <a:gd name="T15" fmla="*/ 56 h 231"/>
                <a:gd name="T16" fmla="*/ 6 w 232"/>
                <a:gd name="T17" fmla="*/ 51 h 231"/>
                <a:gd name="T18" fmla="*/ 3 w 232"/>
                <a:gd name="T19" fmla="*/ 46 h 231"/>
                <a:gd name="T20" fmla="*/ 2 w 232"/>
                <a:gd name="T21" fmla="*/ 39 h 231"/>
                <a:gd name="T22" fmla="*/ 0 w 232"/>
                <a:gd name="T23" fmla="*/ 33 h 231"/>
                <a:gd name="T24" fmla="*/ 2 w 232"/>
                <a:gd name="T25" fmla="*/ 27 h 231"/>
                <a:gd name="T26" fmla="*/ 3 w 232"/>
                <a:gd name="T27" fmla="*/ 21 h 231"/>
                <a:gd name="T28" fmla="*/ 6 w 232"/>
                <a:gd name="T29" fmla="*/ 15 h 231"/>
                <a:gd name="T30" fmla="*/ 10 w 232"/>
                <a:gd name="T31" fmla="*/ 9 h 231"/>
                <a:gd name="T32" fmla="*/ 10 w 232"/>
                <a:gd name="T33" fmla="*/ 9 h 231"/>
                <a:gd name="T34" fmla="*/ 15 w 232"/>
                <a:gd name="T35" fmla="*/ 5 h 231"/>
                <a:gd name="T36" fmla="*/ 21 w 232"/>
                <a:gd name="T37" fmla="*/ 2 h 231"/>
                <a:gd name="T38" fmla="*/ 27 w 232"/>
                <a:gd name="T39" fmla="*/ 0 h 231"/>
                <a:gd name="T40" fmla="*/ 34 w 232"/>
                <a:gd name="T41" fmla="*/ 0 h 231"/>
                <a:gd name="T42" fmla="*/ 40 w 232"/>
                <a:gd name="T43" fmla="*/ 0 h 231"/>
                <a:gd name="T44" fmla="*/ 46 w 232"/>
                <a:gd name="T45" fmla="*/ 2 h 231"/>
                <a:gd name="T46" fmla="*/ 51 w 232"/>
                <a:gd name="T47" fmla="*/ 5 h 231"/>
                <a:gd name="T48" fmla="*/ 56 w 232"/>
                <a:gd name="T49" fmla="*/ 9 h 231"/>
                <a:gd name="T50" fmla="*/ 222 w 232"/>
                <a:gd name="T51" fmla="*/ 175 h 231"/>
                <a:gd name="T52" fmla="*/ 222 w 232"/>
                <a:gd name="T53" fmla="*/ 175 h 231"/>
                <a:gd name="T54" fmla="*/ 226 w 232"/>
                <a:gd name="T55" fmla="*/ 180 h 231"/>
                <a:gd name="T56" fmla="*/ 229 w 232"/>
                <a:gd name="T57" fmla="*/ 185 h 231"/>
                <a:gd name="T58" fmla="*/ 231 w 232"/>
                <a:gd name="T59" fmla="*/ 192 h 231"/>
                <a:gd name="T60" fmla="*/ 232 w 232"/>
                <a:gd name="T61" fmla="*/ 198 h 231"/>
                <a:gd name="T62" fmla="*/ 231 w 232"/>
                <a:gd name="T63" fmla="*/ 205 h 231"/>
                <a:gd name="T64" fmla="*/ 229 w 232"/>
                <a:gd name="T65" fmla="*/ 210 h 231"/>
                <a:gd name="T66" fmla="*/ 226 w 232"/>
                <a:gd name="T67" fmla="*/ 216 h 231"/>
                <a:gd name="T68" fmla="*/ 222 w 232"/>
                <a:gd name="T69" fmla="*/ 222 h 231"/>
                <a:gd name="T70" fmla="*/ 222 w 232"/>
                <a:gd name="T71" fmla="*/ 222 h 231"/>
                <a:gd name="T72" fmla="*/ 217 w 232"/>
                <a:gd name="T73" fmla="*/ 226 h 231"/>
                <a:gd name="T74" fmla="*/ 212 w 232"/>
                <a:gd name="T75" fmla="*/ 229 h 231"/>
                <a:gd name="T76" fmla="*/ 205 w 232"/>
                <a:gd name="T77" fmla="*/ 231 h 231"/>
                <a:gd name="T78" fmla="*/ 199 w 232"/>
                <a:gd name="T79" fmla="*/ 231 h 231"/>
                <a:gd name="T80" fmla="*/ 199 w 232"/>
                <a:gd name="T81"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2" h="231">
                  <a:moveTo>
                    <a:pt x="199" y="231"/>
                  </a:moveTo>
                  <a:lnTo>
                    <a:pt x="199" y="231"/>
                  </a:lnTo>
                  <a:lnTo>
                    <a:pt x="193" y="231"/>
                  </a:lnTo>
                  <a:lnTo>
                    <a:pt x="187" y="229"/>
                  </a:lnTo>
                  <a:lnTo>
                    <a:pt x="181" y="226"/>
                  </a:lnTo>
                  <a:lnTo>
                    <a:pt x="175" y="222"/>
                  </a:lnTo>
                  <a:lnTo>
                    <a:pt x="10" y="56"/>
                  </a:lnTo>
                  <a:lnTo>
                    <a:pt x="10" y="56"/>
                  </a:lnTo>
                  <a:lnTo>
                    <a:pt x="6" y="51"/>
                  </a:lnTo>
                  <a:lnTo>
                    <a:pt x="3" y="46"/>
                  </a:lnTo>
                  <a:lnTo>
                    <a:pt x="2" y="39"/>
                  </a:lnTo>
                  <a:lnTo>
                    <a:pt x="0" y="33"/>
                  </a:lnTo>
                  <a:lnTo>
                    <a:pt x="2" y="27"/>
                  </a:lnTo>
                  <a:lnTo>
                    <a:pt x="3" y="21"/>
                  </a:lnTo>
                  <a:lnTo>
                    <a:pt x="6" y="15"/>
                  </a:lnTo>
                  <a:lnTo>
                    <a:pt x="10" y="9"/>
                  </a:lnTo>
                  <a:lnTo>
                    <a:pt x="10" y="9"/>
                  </a:lnTo>
                  <a:lnTo>
                    <a:pt x="15" y="5"/>
                  </a:lnTo>
                  <a:lnTo>
                    <a:pt x="21" y="2"/>
                  </a:lnTo>
                  <a:lnTo>
                    <a:pt x="27" y="0"/>
                  </a:lnTo>
                  <a:lnTo>
                    <a:pt x="34" y="0"/>
                  </a:lnTo>
                  <a:lnTo>
                    <a:pt x="40" y="0"/>
                  </a:lnTo>
                  <a:lnTo>
                    <a:pt x="46" y="2"/>
                  </a:lnTo>
                  <a:lnTo>
                    <a:pt x="51" y="5"/>
                  </a:lnTo>
                  <a:lnTo>
                    <a:pt x="56" y="9"/>
                  </a:lnTo>
                  <a:lnTo>
                    <a:pt x="222" y="175"/>
                  </a:lnTo>
                  <a:lnTo>
                    <a:pt x="222" y="175"/>
                  </a:lnTo>
                  <a:lnTo>
                    <a:pt x="226" y="180"/>
                  </a:lnTo>
                  <a:lnTo>
                    <a:pt x="229" y="185"/>
                  </a:lnTo>
                  <a:lnTo>
                    <a:pt x="231" y="192"/>
                  </a:lnTo>
                  <a:lnTo>
                    <a:pt x="232" y="198"/>
                  </a:lnTo>
                  <a:lnTo>
                    <a:pt x="231" y="205"/>
                  </a:lnTo>
                  <a:lnTo>
                    <a:pt x="229" y="210"/>
                  </a:lnTo>
                  <a:lnTo>
                    <a:pt x="226" y="216"/>
                  </a:lnTo>
                  <a:lnTo>
                    <a:pt x="222" y="222"/>
                  </a:lnTo>
                  <a:lnTo>
                    <a:pt x="222" y="222"/>
                  </a:lnTo>
                  <a:lnTo>
                    <a:pt x="217" y="226"/>
                  </a:lnTo>
                  <a:lnTo>
                    <a:pt x="212" y="229"/>
                  </a:lnTo>
                  <a:lnTo>
                    <a:pt x="205" y="231"/>
                  </a:lnTo>
                  <a:lnTo>
                    <a:pt x="199" y="231"/>
                  </a:lnTo>
                  <a:lnTo>
                    <a:pt x="199"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0" name="Freeform 94">
              <a:extLst>
                <a:ext uri="{FF2B5EF4-FFF2-40B4-BE49-F238E27FC236}">
                  <a16:creationId xmlns:a16="http://schemas.microsoft.com/office/drawing/2014/main" id="{6A5092FE-FB33-A30C-F9DC-F5C31C94F139}"/>
                </a:ext>
              </a:extLst>
            </p:cNvPr>
            <p:cNvSpPr>
              <a:spLocks/>
            </p:cNvSpPr>
            <p:nvPr/>
          </p:nvSpPr>
          <p:spPr bwMode="auto">
            <a:xfrm>
              <a:off x="9155113" y="2212975"/>
              <a:ext cx="157163" cy="285750"/>
            </a:xfrm>
            <a:custGeom>
              <a:avLst/>
              <a:gdLst>
                <a:gd name="T0" fmla="*/ 165 w 694"/>
                <a:gd name="T1" fmla="*/ 1257 h 1257"/>
                <a:gd name="T2" fmla="*/ 149 w 694"/>
                <a:gd name="T3" fmla="*/ 1257 h 1257"/>
                <a:gd name="T4" fmla="*/ 116 w 694"/>
                <a:gd name="T5" fmla="*/ 1249 h 1257"/>
                <a:gd name="T6" fmla="*/ 86 w 694"/>
                <a:gd name="T7" fmla="*/ 1237 h 1257"/>
                <a:gd name="T8" fmla="*/ 60 w 694"/>
                <a:gd name="T9" fmla="*/ 1219 h 1257"/>
                <a:gd name="T10" fmla="*/ 38 w 694"/>
                <a:gd name="T11" fmla="*/ 1197 h 1257"/>
                <a:gd name="T12" fmla="*/ 20 w 694"/>
                <a:gd name="T13" fmla="*/ 1171 h 1257"/>
                <a:gd name="T14" fmla="*/ 8 w 694"/>
                <a:gd name="T15" fmla="*/ 1141 h 1257"/>
                <a:gd name="T16" fmla="*/ 1 w 694"/>
                <a:gd name="T17" fmla="*/ 1109 h 1257"/>
                <a:gd name="T18" fmla="*/ 0 w 694"/>
                <a:gd name="T19" fmla="*/ 33 h 1257"/>
                <a:gd name="T20" fmla="*/ 1 w 694"/>
                <a:gd name="T21" fmla="*/ 27 h 1257"/>
                <a:gd name="T22" fmla="*/ 6 w 694"/>
                <a:gd name="T23" fmla="*/ 14 h 1257"/>
                <a:gd name="T24" fmla="*/ 14 w 694"/>
                <a:gd name="T25" fmla="*/ 6 h 1257"/>
                <a:gd name="T26" fmla="*/ 26 w 694"/>
                <a:gd name="T27" fmla="*/ 1 h 1257"/>
                <a:gd name="T28" fmla="*/ 298 w 694"/>
                <a:gd name="T29" fmla="*/ 0 h 1257"/>
                <a:gd name="T30" fmla="*/ 304 w 694"/>
                <a:gd name="T31" fmla="*/ 1 h 1257"/>
                <a:gd name="T32" fmla="*/ 316 w 694"/>
                <a:gd name="T33" fmla="*/ 6 h 1257"/>
                <a:gd name="T34" fmla="*/ 324 w 694"/>
                <a:gd name="T35" fmla="*/ 14 h 1257"/>
                <a:gd name="T36" fmla="*/ 330 w 694"/>
                <a:gd name="T37" fmla="*/ 27 h 1257"/>
                <a:gd name="T38" fmla="*/ 331 w 694"/>
                <a:gd name="T39" fmla="*/ 33 h 1257"/>
                <a:gd name="T40" fmla="*/ 328 w 694"/>
                <a:gd name="T41" fmla="*/ 46 h 1257"/>
                <a:gd name="T42" fmla="*/ 320 w 694"/>
                <a:gd name="T43" fmla="*/ 57 h 1257"/>
                <a:gd name="T44" fmla="*/ 310 w 694"/>
                <a:gd name="T45" fmla="*/ 64 h 1257"/>
                <a:gd name="T46" fmla="*/ 298 w 694"/>
                <a:gd name="T47" fmla="*/ 66 h 1257"/>
                <a:gd name="T48" fmla="*/ 66 w 694"/>
                <a:gd name="T49" fmla="*/ 1092 h 1257"/>
                <a:gd name="T50" fmla="*/ 67 w 694"/>
                <a:gd name="T51" fmla="*/ 1101 h 1257"/>
                <a:gd name="T52" fmla="*/ 71 w 694"/>
                <a:gd name="T53" fmla="*/ 1121 h 1257"/>
                <a:gd name="T54" fmla="*/ 78 w 694"/>
                <a:gd name="T55" fmla="*/ 1139 h 1257"/>
                <a:gd name="T56" fmla="*/ 89 w 694"/>
                <a:gd name="T57" fmla="*/ 1155 h 1257"/>
                <a:gd name="T58" fmla="*/ 102 w 694"/>
                <a:gd name="T59" fmla="*/ 1169 h 1257"/>
                <a:gd name="T60" fmla="*/ 117 w 694"/>
                <a:gd name="T61" fmla="*/ 1179 h 1257"/>
                <a:gd name="T62" fmla="*/ 136 w 694"/>
                <a:gd name="T63" fmla="*/ 1186 h 1257"/>
                <a:gd name="T64" fmla="*/ 155 w 694"/>
                <a:gd name="T65" fmla="*/ 1190 h 1257"/>
                <a:gd name="T66" fmla="*/ 661 w 694"/>
                <a:gd name="T67" fmla="*/ 1192 h 1257"/>
                <a:gd name="T68" fmla="*/ 668 w 694"/>
                <a:gd name="T69" fmla="*/ 1192 h 1257"/>
                <a:gd name="T70" fmla="*/ 679 w 694"/>
                <a:gd name="T71" fmla="*/ 1197 h 1257"/>
                <a:gd name="T72" fmla="*/ 689 w 694"/>
                <a:gd name="T73" fmla="*/ 1206 h 1257"/>
                <a:gd name="T74" fmla="*/ 694 w 694"/>
                <a:gd name="T75" fmla="*/ 1217 h 1257"/>
                <a:gd name="T76" fmla="*/ 694 w 694"/>
                <a:gd name="T77" fmla="*/ 1225 h 1257"/>
                <a:gd name="T78" fmla="*/ 692 w 694"/>
                <a:gd name="T79" fmla="*/ 1237 h 1257"/>
                <a:gd name="T80" fmla="*/ 685 w 694"/>
                <a:gd name="T81" fmla="*/ 1247 h 1257"/>
                <a:gd name="T82" fmla="*/ 674 w 694"/>
                <a:gd name="T83" fmla="*/ 1255 h 1257"/>
                <a:gd name="T84" fmla="*/ 661 w 694"/>
                <a:gd name="T85" fmla="*/ 1257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4" h="1257">
                  <a:moveTo>
                    <a:pt x="661" y="1257"/>
                  </a:moveTo>
                  <a:lnTo>
                    <a:pt x="165" y="1257"/>
                  </a:lnTo>
                  <a:lnTo>
                    <a:pt x="165" y="1257"/>
                  </a:lnTo>
                  <a:lnTo>
                    <a:pt x="149" y="1257"/>
                  </a:lnTo>
                  <a:lnTo>
                    <a:pt x="132" y="1254"/>
                  </a:lnTo>
                  <a:lnTo>
                    <a:pt x="116" y="1249"/>
                  </a:lnTo>
                  <a:lnTo>
                    <a:pt x="101" y="1244"/>
                  </a:lnTo>
                  <a:lnTo>
                    <a:pt x="86" y="1237"/>
                  </a:lnTo>
                  <a:lnTo>
                    <a:pt x="73" y="1229"/>
                  </a:lnTo>
                  <a:lnTo>
                    <a:pt x="60" y="1219"/>
                  </a:lnTo>
                  <a:lnTo>
                    <a:pt x="48" y="1209"/>
                  </a:lnTo>
                  <a:lnTo>
                    <a:pt x="38" y="1197"/>
                  </a:lnTo>
                  <a:lnTo>
                    <a:pt x="28" y="1184"/>
                  </a:lnTo>
                  <a:lnTo>
                    <a:pt x="20" y="1171"/>
                  </a:lnTo>
                  <a:lnTo>
                    <a:pt x="13" y="1156"/>
                  </a:lnTo>
                  <a:lnTo>
                    <a:pt x="8" y="1141"/>
                  </a:lnTo>
                  <a:lnTo>
                    <a:pt x="4" y="1125"/>
                  </a:lnTo>
                  <a:lnTo>
                    <a:pt x="1" y="1109"/>
                  </a:lnTo>
                  <a:lnTo>
                    <a:pt x="0" y="1092"/>
                  </a:lnTo>
                  <a:lnTo>
                    <a:pt x="0" y="33"/>
                  </a:lnTo>
                  <a:lnTo>
                    <a:pt x="0" y="33"/>
                  </a:lnTo>
                  <a:lnTo>
                    <a:pt x="1" y="27"/>
                  </a:lnTo>
                  <a:lnTo>
                    <a:pt x="3" y="20"/>
                  </a:lnTo>
                  <a:lnTo>
                    <a:pt x="6" y="14"/>
                  </a:lnTo>
                  <a:lnTo>
                    <a:pt x="10" y="10"/>
                  </a:lnTo>
                  <a:lnTo>
                    <a:pt x="14" y="6"/>
                  </a:lnTo>
                  <a:lnTo>
                    <a:pt x="20" y="3"/>
                  </a:lnTo>
                  <a:lnTo>
                    <a:pt x="26" y="1"/>
                  </a:lnTo>
                  <a:lnTo>
                    <a:pt x="33" y="0"/>
                  </a:lnTo>
                  <a:lnTo>
                    <a:pt x="298" y="0"/>
                  </a:lnTo>
                  <a:lnTo>
                    <a:pt x="298" y="0"/>
                  </a:lnTo>
                  <a:lnTo>
                    <a:pt x="304" y="1"/>
                  </a:lnTo>
                  <a:lnTo>
                    <a:pt x="310" y="3"/>
                  </a:lnTo>
                  <a:lnTo>
                    <a:pt x="316" y="6"/>
                  </a:lnTo>
                  <a:lnTo>
                    <a:pt x="320" y="10"/>
                  </a:lnTo>
                  <a:lnTo>
                    <a:pt x="324" y="14"/>
                  </a:lnTo>
                  <a:lnTo>
                    <a:pt x="328" y="20"/>
                  </a:lnTo>
                  <a:lnTo>
                    <a:pt x="330" y="27"/>
                  </a:lnTo>
                  <a:lnTo>
                    <a:pt x="331" y="33"/>
                  </a:lnTo>
                  <a:lnTo>
                    <a:pt x="331" y="33"/>
                  </a:lnTo>
                  <a:lnTo>
                    <a:pt x="330" y="40"/>
                  </a:lnTo>
                  <a:lnTo>
                    <a:pt x="328" y="46"/>
                  </a:lnTo>
                  <a:lnTo>
                    <a:pt x="324" y="52"/>
                  </a:lnTo>
                  <a:lnTo>
                    <a:pt x="320" y="57"/>
                  </a:lnTo>
                  <a:lnTo>
                    <a:pt x="316" y="61"/>
                  </a:lnTo>
                  <a:lnTo>
                    <a:pt x="310" y="64"/>
                  </a:lnTo>
                  <a:lnTo>
                    <a:pt x="304" y="66"/>
                  </a:lnTo>
                  <a:lnTo>
                    <a:pt x="298" y="66"/>
                  </a:lnTo>
                  <a:lnTo>
                    <a:pt x="66" y="66"/>
                  </a:lnTo>
                  <a:lnTo>
                    <a:pt x="66" y="1092"/>
                  </a:lnTo>
                  <a:lnTo>
                    <a:pt x="66" y="1092"/>
                  </a:lnTo>
                  <a:lnTo>
                    <a:pt x="67" y="1101"/>
                  </a:lnTo>
                  <a:lnTo>
                    <a:pt x="68" y="1112"/>
                  </a:lnTo>
                  <a:lnTo>
                    <a:pt x="71" y="1121"/>
                  </a:lnTo>
                  <a:lnTo>
                    <a:pt x="74" y="1130"/>
                  </a:lnTo>
                  <a:lnTo>
                    <a:pt x="78" y="1139"/>
                  </a:lnTo>
                  <a:lnTo>
                    <a:pt x="83" y="1147"/>
                  </a:lnTo>
                  <a:lnTo>
                    <a:pt x="89" y="1155"/>
                  </a:lnTo>
                  <a:lnTo>
                    <a:pt x="95" y="1161"/>
                  </a:lnTo>
                  <a:lnTo>
                    <a:pt x="102" y="1169"/>
                  </a:lnTo>
                  <a:lnTo>
                    <a:pt x="110" y="1174"/>
                  </a:lnTo>
                  <a:lnTo>
                    <a:pt x="117" y="1179"/>
                  </a:lnTo>
                  <a:lnTo>
                    <a:pt x="127" y="1183"/>
                  </a:lnTo>
                  <a:lnTo>
                    <a:pt x="136" y="1186"/>
                  </a:lnTo>
                  <a:lnTo>
                    <a:pt x="145" y="1189"/>
                  </a:lnTo>
                  <a:lnTo>
                    <a:pt x="155" y="1190"/>
                  </a:lnTo>
                  <a:lnTo>
                    <a:pt x="165" y="1192"/>
                  </a:lnTo>
                  <a:lnTo>
                    <a:pt x="661" y="1192"/>
                  </a:lnTo>
                  <a:lnTo>
                    <a:pt x="661" y="1192"/>
                  </a:lnTo>
                  <a:lnTo>
                    <a:pt x="668" y="1192"/>
                  </a:lnTo>
                  <a:lnTo>
                    <a:pt x="674" y="1194"/>
                  </a:lnTo>
                  <a:lnTo>
                    <a:pt x="679" y="1197"/>
                  </a:lnTo>
                  <a:lnTo>
                    <a:pt x="685" y="1201"/>
                  </a:lnTo>
                  <a:lnTo>
                    <a:pt x="689" y="1206"/>
                  </a:lnTo>
                  <a:lnTo>
                    <a:pt x="692" y="1211"/>
                  </a:lnTo>
                  <a:lnTo>
                    <a:pt x="694" y="1217"/>
                  </a:lnTo>
                  <a:lnTo>
                    <a:pt x="694" y="1225"/>
                  </a:lnTo>
                  <a:lnTo>
                    <a:pt x="694" y="1225"/>
                  </a:lnTo>
                  <a:lnTo>
                    <a:pt x="694" y="1231"/>
                  </a:lnTo>
                  <a:lnTo>
                    <a:pt x="692" y="1237"/>
                  </a:lnTo>
                  <a:lnTo>
                    <a:pt x="689" y="1242"/>
                  </a:lnTo>
                  <a:lnTo>
                    <a:pt x="685" y="1247"/>
                  </a:lnTo>
                  <a:lnTo>
                    <a:pt x="679" y="1252"/>
                  </a:lnTo>
                  <a:lnTo>
                    <a:pt x="674" y="1255"/>
                  </a:lnTo>
                  <a:lnTo>
                    <a:pt x="668" y="1257"/>
                  </a:lnTo>
                  <a:lnTo>
                    <a:pt x="661" y="1257"/>
                  </a:lnTo>
                  <a:lnTo>
                    <a:pt x="661" y="1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1" name="Freeform 95">
              <a:extLst>
                <a:ext uri="{FF2B5EF4-FFF2-40B4-BE49-F238E27FC236}">
                  <a16:creationId xmlns:a16="http://schemas.microsoft.com/office/drawing/2014/main" id="{D2EB549A-39FC-3FC8-339D-2D31288488C3}"/>
                </a:ext>
              </a:extLst>
            </p:cNvPr>
            <p:cNvSpPr>
              <a:spLocks/>
            </p:cNvSpPr>
            <p:nvPr/>
          </p:nvSpPr>
          <p:spPr bwMode="auto">
            <a:xfrm>
              <a:off x="9185275" y="2243138"/>
              <a:ext cx="120650" cy="225425"/>
            </a:xfrm>
            <a:custGeom>
              <a:avLst/>
              <a:gdLst>
                <a:gd name="T0" fmla="*/ 496 w 529"/>
                <a:gd name="T1" fmla="*/ 993 h 993"/>
                <a:gd name="T2" fmla="*/ 33 w 529"/>
                <a:gd name="T3" fmla="*/ 993 h 993"/>
                <a:gd name="T4" fmla="*/ 33 w 529"/>
                <a:gd name="T5" fmla="*/ 993 h 993"/>
                <a:gd name="T6" fmla="*/ 27 w 529"/>
                <a:gd name="T7" fmla="*/ 992 h 993"/>
                <a:gd name="T8" fmla="*/ 21 w 529"/>
                <a:gd name="T9" fmla="*/ 990 h 993"/>
                <a:gd name="T10" fmla="*/ 14 w 529"/>
                <a:gd name="T11" fmla="*/ 987 h 993"/>
                <a:gd name="T12" fmla="*/ 9 w 529"/>
                <a:gd name="T13" fmla="*/ 983 h 993"/>
                <a:gd name="T14" fmla="*/ 6 w 529"/>
                <a:gd name="T15" fmla="*/ 979 h 993"/>
                <a:gd name="T16" fmla="*/ 3 w 529"/>
                <a:gd name="T17" fmla="*/ 973 h 993"/>
                <a:gd name="T18" fmla="*/ 1 w 529"/>
                <a:gd name="T19" fmla="*/ 966 h 993"/>
                <a:gd name="T20" fmla="*/ 0 w 529"/>
                <a:gd name="T21" fmla="*/ 960 h 993"/>
                <a:gd name="T22" fmla="*/ 0 w 529"/>
                <a:gd name="T23" fmla="*/ 33 h 993"/>
                <a:gd name="T24" fmla="*/ 0 w 529"/>
                <a:gd name="T25" fmla="*/ 33 h 993"/>
                <a:gd name="T26" fmla="*/ 1 w 529"/>
                <a:gd name="T27" fmla="*/ 27 h 993"/>
                <a:gd name="T28" fmla="*/ 3 w 529"/>
                <a:gd name="T29" fmla="*/ 21 h 993"/>
                <a:gd name="T30" fmla="*/ 6 w 529"/>
                <a:gd name="T31" fmla="*/ 15 h 993"/>
                <a:gd name="T32" fmla="*/ 9 w 529"/>
                <a:gd name="T33" fmla="*/ 10 h 993"/>
                <a:gd name="T34" fmla="*/ 14 w 529"/>
                <a:gd name="T35" fmla="*/ 7 h 993"/>
                <a:gd name="T36" fmla="*/ 21 w 529"/>
                <a:gd name="T37" fmla="*/ 3 h 993"/>
                <a:gd name="T38" fmla="*/ 27 w 529"/>
                <a:gd name="T39" fmla="*/ 1 h 993"/>
                <a:gd name="T40" fmla="*/ 33 w 529"/>
                <a:gd name="T41" fmla="*/ 0 h 993"/>
                <a:gd name="T42" fmla="*/ 166 w 529"/>
                <a:gd name="T43" fmla="*/ 0 h 993"/>
                <a:gd name="T44" fmla="*/ 166 w 529"/>
                <a:gd name="T45" fmla="*/ 0 h 993"/>
                <a:gd name="T46" fmla="*/ 172 w 529"/>
                <a:gd name="T47" fmla="*/ 1 h 993"/>
                <a:gd name="T48" fmla="*/ 178 w 529"/>
                <a:gd name="T49" fmla="*/ 3 h 993"/>
                <a:gd name="T50" fmla="*/ 184 w 529"/>
                <a:gd name="T51" fmla="*/ 7 h 993"/>
                <a:gd name="T52" fmla="*/ 188 w 529"/>
                <a:gd name="T53" fmla="*/ 10 h 993"/>
                <a:gd name="T54" fmla="*/ 192 w 529"/>
                <a:gd name="T55" fmla="*/ 15 h 993"/>
                <a:gd name="T56" fmla="*/ 196 w 529"/>
                <a:gd name="T57" fmla="*/ 21 h 993"/>
                <a:gd name="T58" fmla="*/ 198 w 529"/>
                <a:gd name="T59" fmla="*/ 27 h 993"/>
                <a:gd name="T60" fmla="*/ 199 w 529"/>
                <a:gd name="T61" fmla="*/ 33 h 993"/>
                <a:gd name="T62" fmla="*/ 199 w 529"/>
                <a:gd name="T63" fmla="*/ 33 h 993"/>
                <a:gd name="T64" fmla="*/ 198 w 529"/>
                <a:gd name="T65" fmla="*/ 40 h 993"/>
                <a:gd name="T66" fmla="*/ 196 w 529"/>
                <a:gd name="T67" fmla="*/ 46 h 993"/>
                <a:gd name="T68" fmla="*/ 192 w 529"/>
                <a:gd name="T69" fmla="*/ 52 h 993"/>
                <a:gd name="T70" fmla="*/ 188 w 529"/>
                <a:gd name="T71" fmla="*/ 57 h 993"/>
                <a:gd name="T72" fmla="*/ 184 w 529"/>
                <a:gd name="T73" fmla="*/ 61 h 993"/>
                <a:gd name="T74" fmla="*/ 178 w 529"/>
                <a:gd name="T75" fmla="*/ 63 h 993"/>
                <a:gd name="T76" fmla="*/ 172 w 529"/>
                <a:gd name="T77" fmla="*/ 66 h 993"/>
                <a:gd name="T78" fmla="*/ 166 w 529"/>
                <a:gd name="T79" fmla="*/ 67 h 993"/>
                <a:gd name="T80" fmla="*/ 66 w 529"/>
                <a:gd name="T81" fmla="*/ 67 h 993"/>
                <a:gd name="T82" fmla="*/ 66 w 529"/>
                <a:gd name="T83" fmla="*/ 927 h 993"/>
                <a:gd name="T84" fmla="*/ 496 w 529"/>
                <a:gd name="T85" fmla="*/ 927 h 993"/>
                <a:gd name="T86" fmla="*/ 496 w 529"/>
                <a:gd name="T87" fmla="*/ 927 h 993"/>
                <a:gd name="T88" fmla="*/ 503 w 529"/>
                <a:gd name="T89" fmla="*/ 927 h 993"/>
                <a:gd name="T90" fmla="*/ 509 w 529"/>
                <a:gd name="T91" fmla="*/ 929 h 993"/>
                <a:gd name="T92" fmla="*/ 514 w 529"/>
                <a:gd name="T93" fmla="*/ 932 h 993"/>
                <a:gd name="T94" fmla="*/ 519 w 529"/>
                <a:gd name="T95" fmla="*/ 936 h 993"/>
                <a:gd name="T96" fmla="*/ 524 w 529"/>
                <a:gd name="T97" fmla="*/ 941 h 993"/>
                <a:gd name="T98" fmla="*/ 527 w 529"/>
                <a:gd name="T99" fmla="*/ 947 h 993"/>
                <a:gd name="T100" fmla="*/ 529 w 529"/>
                <a:gd name="T101" fmla="*/ 953 h 993"/>
                <a:gd name="T102" fmla="*/ 529 w 529"/>
                <a:gd name="T103" fmla="*/ 960 h 993"/>
                <a:gd name="T104" fmla="*/ 529 w 529"/>
                <a:gd name="T105" fmla="*/ 960 h 993"/>
                <a:gd name="T106" fmla="*/ 529 w 529"/>
                <a:gd name="T107" fmla="*/ 966 h 993"/>
                <a:gd name="T108" fmla="*/ 527 w 529"/>
                <a:gd name="T109" fmla="*/ 973 h 993"/>
                <a:gd name="T110" fmla="*/ 524 w 529"/>
                <a:gd name="T111" fmla="*/ 979 h 993"/>
                <a:gd name="T112" fmla="*/ 519 w 529"/>
                <a:gd name="T113" fmla="*/ 983 h 993"/>
                <a:gd name="T114" fmla="*/ 514 w 529"/>
                <a:gd name="T115" fmla="*/ 987 h 993"/>
                <a:gd name="T116" fmla="*/ 509 w 529"/>
                <a:gd name="T117" fmla="*/ 990 h 993"/>
                <a:gd name="T118" fmla="*/ 503 w 529"/>
                <a:gd name="T119" fmla="*/ 992 h 993"/>
                <a:gd name="T120" fmla="*/ 496 w 529"/>
                <a:gd name="T121" fmla="*/ 993 h 993"/>
                <a:gd name="T122" fmla="*/ 496 w 529"/>
                <a:gd name="T123" fmla="*/ 993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9" h="993">
                  <a:moveTo>
                    <a:pt x="496" y="993"/>
                  </a:moveTo>
                  <a:lnTo>
                    <a:pt x="33" y="993"/>
                  </a:lnTo>
                  <a:lnTo>
                    <a:pt x="33" y="993"/>
                  </a:lnTo>
                  <a:lnTo>
                    <a:pt x="27" y="992"/>
                  </a:lnTo>
                  <a:lnTo>
                    <a:pt x="21" y="990"/>
                  </a:lnTo>
                  <a:lnTo>
                    <a:pt x="14" y="987"/>
                  </a:lnTo>
                  <a:lnTo>
                    <a:pt x="9" y="983"/>
                  </a:lnTo>
                  <a:lnTo>
                    <a:pt x="6" y="979"/>
                  </a:lnTo>
                  <a:lnTo>
                    <a:pt x="3" y="973"/>
                  </a:lnTo>
                  <a:lnTo>
                    <a:pt x="1" y="966"/>
                  </a:lnTo>
                  <a:lnTo>
                    <a:pt x="0" y="960"/>
                  </a:lnTo>
                  <a:lnTo>
                    <a:pt x="0" y="33"/>
                  </a:lnTo>
                  <a:lnTo>
                    <a:pt x="0" y="33"/>
                  </a:lnTo>
                  <a:lnTo>
                    <a:pt x="1" y="27"/>
                  </a:lnTo>
                  <a:lnTo>
                    <a:pt x="3" y="21"/>
                  </a:lnTo>
                  <a:lnTo>
                    <a:pt x="6" y="15"/>
                  </a:lnTo>
                  <a:lnTo>
                    <a:pt x="9" y="10"/>
                  </a:lnTo>
                  <a:lnTo>
                    <a:pt x="14" y="7"/>
                  </a:lnTo>
                  <a:lnTo>
                    <a:pt x="21" y="3"/>
                  </a:lnTo>
                  <a:lnTo>
                    <a:pt x="27" y="1"/>
                  </a:lnTo>
                  <a:lnTo>
                    <a:pt x="33" y="0"/>
                  </a:lnTo>
                  <a:lnTo>
                    <a:pt x="166" y="0"/>
                  </a:lnTo>
                  <a:lnTo>
                    <a:pt x="166" y="0"/>
                  </a:lnTo>
                  <a:lnTo>
                    <a:pt x="172" y="1"/>
                  </a:lnTo>
                  <a:lnTo>
                    <a:pt x="178" y="3"/>
                  </a:lnTo>
                  <a:lnTo>
                    <a:pt x="184" y="7"/>
                  </a:lnTo>
                  <a:lnTo>
                    <a:pt x="188" y="10"/>
                  </a:lnTo>
                  <a:lnTo>
                    <a:pt x="192" y="15"/>
                  </a:lnTo>
                  <a:lnTo>
                    <a:pt x="196" y="21"/>
                  </a:lnTo>
                  <a:lnTo>
                    <a:pt x="198" y="27"/>
                  </a:lnTo>
                  <a:lnTo>
                    <a:pt x="199" y="33"/>
                  </a:lnTo>
                  <a:lnTo>
                    <a:pt x="199" y="33"/>
                  </a:lnTo>
                  <a:lnTo>
                    <a:pt x="198" y="40"/>
                  </a:lnTo>
                  <a:lnTo>
                    <a:pt x="196" y="46"/>
                  </a:lnTo>
                  <a:lnTo>
                    <a:pt x="192" y="52"/>
                  </a:lnTo>
                  <a:lnTo>
                    <a:pt x="188" y="57"/>
                  </a:lnTo>
                  <a:lnTo>
                    <a:pt x="184" y="61"/>
                  </a:lnTo>
                  <a:lnTo>
                    <a:pt x="178" y="63"/>
                  </a:lnTo>
                  <a:lnTo>
                    <a:pt x="172" y="66"/>
                  </a:lnTo>
                  <a:lnTo>
                    <a:pt x="166" y="67"/>
                  </a:lnTo>
                  <a:lnTo>
                    <a:pt x="66" y="67"/>
                  </a:lnTo>
                  <a:lnTo>
                    <a:pt x="66" y="927"/>
                  </a:lnTo>
                  <a:lnTo>
                    <a:pt x="496" y="927"/>
                  </a:lnTo>
                  <a:lnTo>
                    <a:pt x="496" y="927"/>
                  </a:lnTo>
                  <a:lnTo>
                    <a:pt x="503" y="927"/>
                  </a:lnTo>
                  <a:lnTo>
                    <a:pt x="509" y="929"/>
                  </a:lnTo>
                  <a:lnTo>
                    <a:pt x="514" y="932"/>
                  </a:lnTo>
                  <a:lnTo>
                    <a:pt x="519" y="936"/>
                  </a:lnTo>
                  <a:lnTo>
                    <a:pt x="524" y="941"/>
                  </a:lnTo>
                  <a:lnTo>
                    <a:pt x="527" y="947"/>
                  </a:lnTo>
                  <a:lnTo>
                    <a:pt x="529" y="953"/>
                  </a:lnTo>
                  <a:lnTo>
                    <a:pt x="529" y="960"/>
                  </a:lnTo>
                  <a:lnTo>
                    <a:pt x="529" y="960"/>
                  </a:lnTo>
                  <a:lnTo>
                    <a:pt x="529" y="966"/>
                  </a:lnTo>
                  <a:lnTo>
                    <a:pt x="527" y="973"/>
                  </a:lnTo>
                  <a:lnTo>
                    <a:pt x="524" y="979"/>
                  </a:lnTo>
                  <a:lnTo>
                    <a:pt x="519" y="983"/>
                  </a:lnTo>
                  <a:lnTo>
                    <a:pt x="514" y="987"/>
                  </a:lnTo>
                  <a:lnTo>
                    <a:pt x="509" y="990"/>
                  </a:lnTo>
                  <a:lnTo>
                    <a:pt x="503" y="992"/>
                  </a:lnTo>
                  <a:lnTo>
                    <a:pt x="496" y="993"/>
                  </a:lnTo>
                  <a:lnTo>
                    <a:pt x="496"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2" name="Freeform 96">
              <a:extLst>
                <a:ext uri="{FF2B5EF4-FFF2-40B4-BE49-F238E27FC236}">
                  <a16:creationId xmlns:a16="http://schemas.microsoft.com/office/drawing/2014/main" id="{15873364-5627-D53C-0902-E75DD25C001A}"/>
                </a:ext>
              </a:extLst>
            </p:cNvPr>
            <p:cNvSpPr>
              <a:spLocks/>
            </p:cNvSpPr>
            <p:nvPr/>
          </p:nvSpPr>
          <p:spPr bwMode="auto">
            <a:xfrm>
              <a:off x="9336088" y="2212975"/>
              <a:ext cx="74613" cy="112713"/>
            </a:xfrm>
            <a:custGeom>
              <a:avLst/>
              <a:gdLst>
                <a:gd name="T0" fmla="*/ 298 w 331"/>
                <a:gd name="T1" fmla="*/ 497 h 497"/>
                <a:gd name="T2" fmla="*/ 298 w 331"/>
                <a:gd name="T3" fmla="*/ 497 h 497"/>
                <a:gd name="T4" fmla="*/ 291 w 331"/>
                <a:gd name="T5" fmla="*/ 496 h 497"/>
                <a:gd name="T6" fmla="*/ 285 w 331"/>
                <a:gd name="T7" fmla="*/ 494 h 497"/>
                <a:gd name="T8" fmla="*/ 280 w 331"/>
                <a:gd name="T9" fmla="*/ 491 h 497"/>
                <a:gd name="T10" fmla="*/ 274 w 331"/>
                <a:gd name="T11" fmla="*/ 486 h 497"/>
                <a:gd name="T12" fmla="*/ 270 w 331"/>
                <a:gd name="T13" fmla="*/ 481 h 497"/>
                <a:gd name="T14" fmla="*/ 267 w 331"/>
                <a:gd name="T15" fmla="*/ 476 h 497"/>
                <a:gd name="T16" fmla="*/ 265 w 331"/>
                <a:gd name="T17" fmla="*/ 470 h 497"/>
                <a:gd name="T18" fmla="*/ 265 w 331"/>
                <a:gd name="T19" fmla="*/ 464 h 497"/>
                <a:gd name="T20" fmla="*/ 265 w 331"/>
                <a:gd name="T21" fmla="*/ 66 h 497"/>
                <a:gd name="T22" fmla="*/ 33 w 331"/>
                <a:gd name="T23" fmla="*/ 66 h 497"/>
                <a:gd name="T24" fmla="*/ 33 w 331"/>
                <a:gd name="T25" fmla="*/ 66 h 497"/>
                <a:gd name="T26" fmla="*/ 27 w 331"/>
                <a:gd name="T27" fmla="*/ 66 h 497"/>
                <a:gd name="T28" fmla="*/ 21 w 331"/>
                <a:gd name="T29" fmla="*/ 64 h 497"/>
                <a:gd name="T30" fmla="*/ 15 w 331"/>
                <a:gd name="T31" fmla="*/ 61 h 497"/>
                <a:gd name="T32" fmla="*/ 11 w 331"/>
                <a:gd name="T33" fmla="*/ 57 h 497"/>
                <a:gd name="T34" fmla="*/ 6 w 331"/>
                <a:gd name="T35" fmla="*/ 52 h 497"/>
                <a:gd name="T36" fmla="*/ 3 w 331"/>
                <a:gd name="T37" fmla="*/ 46 h 497"/>
                <a:gd name="T38" fmla="*/ 1 w 331"/>
                <a:gd name="T39" fmla="*/ 40 h 497"/>
                <a:gd name="T40" fmla="*/ 0 w 331"/>
                <a:gd name="T41" fmla="*/ 33 h 497"/>
                <a:gd name="T42" fmla="*/ 0 w 331"/>
                <a:gd name="T43" fmla="*/ 33 h 497"/>
                <a:gd name="T44" fmla="*/ 1 w 331"/>
                <a:gd name="T45" fmla="*/ 27 h 497"/>
                <a:gd name="T46" fmla="*/ 3 w 331"/>
                <a:gd name="T47" fmla="*/ 20 h 497"/>
                <a:gd name="T48" fmla="*/ 6 w 331"/>
                <a:gd name="T49" fmla="*/ 14 h 497"/>
                <a:gd name="T50" fmla="*/ 11 w 331"/>
                <a:gd name="T51" fmla="*/ 10 h 497"/>
                <a:gd name="T52" fmla="*/ 15 w 331"/>
                <a:gd name="T53" fmla="*/ 6 h 497"/>
                <a:gd name="T54" fmla="*/ 21 w 331"/>
                <a:gd name="T55" fmla="*/ 3 h 497"/>
                <a:gd name="T56" fmla="*/ 27 w 331"/>
                <a:gd name="T57" fmla="*/ 1 h 497"/>
                <a:gd name="T58" fmla="*/ 33 w 331"/>
                <a:gd name="T59" fmla="*/ 0 h 497"/>
                <a:gd name="T60" fmla="*/ 298 w 331"/>
                <a:gd name="T61" fmla="*/ 0 h 497"/>
                <a:gd name="T62" fmla="*/ 298 w 331"/>
                <a:gd name="T63" fmla="*/ 0 h 497"/>
                <a:gd name="T64" fmla="*/ 305 w 331"/>
                <a:gd name="T65" fmla="*/ 1 h 497"/>
                <a:gd name="T66" fmla="*/ 311 w 331"/>
                <a:gd name="T67" fmla="*/ 3 h 497"/>
                <a:gd name="T68" fmla="*/ 317 w 331"/>
                <a:gd name="T69" fmla="*/ 6 h 497"/>
                <a:gd name="T70" fmla="*/ 321 w 331"/>
                <a:gd name="T71" fmla="*/ 10 h 497"/>
                <a:gd name="T72" fmla="*/ 325 w 331"/>
                <a:gd name="T73" fmla="*/ 14 h 497"/>
                <a:gd name="T74" fmla="*/ 328 w 331"/>
                <a:gd name="T75" fmla="*/ 20 h 497"/>
                <a:gd name="T76" fmla="*/ 330 w 331"/>
                <a:gd name="T77" fmla="*/ 27 h 497"/>
                <a:gd name="T78" fmla="*/ 331 w 331"/>
                <a:gd name="T79" fmla="*/ 33 h 497"/>
                <a:gd name="T80" fmla="*/ 331 w 331"/>
                <a:gd name="T81" fmla="*/ 464 h 497"/>
                <a:gd name="T82" fmla="*/ 331 w 331"/>
                <a:gd name="T83" fmla="*/ 464 h 497"/>
                <a:gd name="T84" fmla="*/ 330 w 331"/>
                <a:gd name="T85" fmla="*/ 470 h 497"/>
                <a:gd name="T86" fmla="*/ 328 w 331"/>
                <a:gd name="T87" fmla="*/ 476 h 497"/>
                <a:gd name="T88" fmla="*/ 325 w 331"/>
                <a:gd name="T89" fmla="*/ 481 h 497"/>
                <a:gd name="T90" fmla="*/ 321 w 331"/>
                <a:gd name="T91" fmla="*/ 486 h 497"/>
                <a:gd name="T92" fmla="*/ 317 w 331"/>
                <a:gd name="T93" fmla="*/ 491 h 497"/>
                <a:gd name="T94" fmla="*/ 311 w 331"/>
                <a:gd name="T95" fmla="*/ 494 h 497"/>
                <a:gd name="T96" fmla="*/ 305 w 331"/>
                <a:gd name="T97" fmla="*/ 496 h 497"/>
                <a:gd name="T98" fmla="*/ 298 w 331"/>
                <a:gd name="T99" fmla="*/ 497 h 497"/>
                <a:gd name="T100" fmla="*/ 298 w 331"/>
                <a:gd name="T101" fmla="*/ 49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1" h="497">
                  <a:moveTo>
                    <a:pt x="298" y="497"/>
                  </a:moveTo>
                  <a:lnTo>
                    <a:pt x="298" y="497"/>
                  </a:lnTo>
                  <a:lnTo>
                    <a:pt x="291" y="496"/>
                  </a:lnTo>
                  <a:lnTo>
                    <a:pt x="285" y="494"/>
                  </a:lnTo>
                  <a:lnTo>
                    <a:pt x="280" y="491"/>
                  </a:lnTo>
                  <a:lnTo>
                    <a:pt x="274" y="486"/>
                  </a:lnTo>
                  <a:lnTo>
                    <a:pt x="270" y="481"/>
                  </a:lnTo>
                  <a:lnTo>
                    <a:pt x="267" y="476"/>
                  </a:lnTo>
                  <a:lnTo>
                    <a:pt x="265" y="470"/>
                  </a:lnTo>
                  <a:lnTo>
                    <a:pt x="265" y="464"/>
                  </a:lnTo>
                  <a:lnTo>
                    <a:pt x="265" y="66"/>
                  </a:lnTo>
                  <a:lnTo>
                    <a:pt x="33" y="66"/>
                  </a:lnTo>
                  <a:lnTo>
                    <a:pt x="33" y="66"/>
                  </a:lnTo>
                  <a:lnTo>
                    <a:pt x="27" y="66"/>
                  </a:lnTo>
                  <a:lnTo>
                    <a:pt x="21" y="64"/>
                  </a:lnTo>
                  <a:lnTo>
                    <a:pt x="15" y="61"/>
                  </a:lnTo>
                  <a:lnTo>
                    <a:pt x="11" y="57"/>
                  </a:lnTo>
                  <a:lnTo>
                    <a:pt x="6" y="52"/>
                  </a:lnTo>
                  <a:lnTo>
                    <a:pt x="3" y="46"/>
                  </a:lnTo>
                  <a:lnTo>
                    <a:pt x="1" y="40"/>
                  </a:lnTo>
                  <a:lnTo>
                    <a:pt x="0" y="33"/>
                  </a:lnTo>
                  <a:lnTo>
                    <a:pt x="0" y="33"/>
                  </a:lnTo>
                  <a:lnTo>
                    <a:pt x="1" y="27"/>
                  </a:lnTo>
                  <a:lnTo>
                    <a:pt x="3" y="20"/>
                  </a:lnTo>
                  <a:lnTo>
                    <a:pt x="6" y="14"/>
                  </a:lnTo>
                  <a:lnTo>
                    <a:pt x="11" y="10"/>
                  </a:lnTo>
                  <a:lnTo>
                    <a:pt x="15" y="6"/>
                  </a:lnTo>
                  <a:lnTo>
                    <a:pt x="21" y="3"/>
                  </a:lnTo>
                  <a:lnTo>
                    <a:pt x="27" y="1"/>
                  </a:lnTo>
                  <a:lnTo>
                    <a:pt x="33" y="0"/>
                  </a:lnTo>
                  <a:lnTo>
                    <a:pt x="298" y="0"/>
                  </a:lnTo>
                  <a:lnTo>
                    <a:pt x="298" y="0"/>
                  </a:lnTo>
                  <a:lnTo>
                    <a:pt x="305" y="1"/>
                  </a:lnTo>
                  <a:lnTo>
                    <a:pt x="311" y="3"/>
                  </a:lnTo>
                  <a:lnTo>
                    <a:pt x="317" y="6"/>
                  </a:lnTo>
                  <a:lnTo>
                    <a:pt x="321" y="10"/>
                  </a:lnTo>
                  <a:lnTo>
                    <a:pt x="325" y="14"/>
                  </a:lnTo>
                  <a:lnTo>
                    <a:pt x="328" y="20"/>
                  </a:lnTo>
                  <a:lnTo>
                    <a:pt x="330" y="27"/>
                  </a:lnTo>
                  <a:lnTo>
                    <a:pt x="331" y="33"/>
                  </a:lnTo>
                  <a:lnTo>
                    <a:pt x="331" y="464"/>
                  </a:lnTo>
                  <a:lnTo>
                    <a:pt x="331" y="464"/>
                  </a:lnTo>
                  <a:lnTo>
                    <a:pt x="330" y="470"/>
                  </a:lnTo>
                  <a:lnTo>
                    <a:pt x="328" y="476"/>
                  </a:lnTo>
                  <a:lnTo>
                    <a:pt x="325" y="481"/>
                  </a:lnTo>
                  <a:lnTo>
                    <a:pt x="321" y="486"/>
                  </a:lnTo>
                  <a:lnTo>
                    <a:pt x="317" y="491"/>
                  </a:lnTo>
                  <a:lnTo>
                    <a:pt x="311" y="494"/>
                  </a:lnTo>
                  <a:lnTo>
                    <a:pt x="305" y="496"/>
                  </a:lnTo>
                  <a:lnTo>
                    <a:pt x="298" y="497"/>
                  </a:lnTo>
                  <a:lnTo>
                    <a:pt x="298" y="4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3" name="Freeform 97">
              <a:extLst>
                <a:ext uri="{FF2B5EF4-FFF2-40B4-BE49-F238E27FC236}">
                  <a16:creationId xmlns:a16="http://schemas.microsoft.com/office/drawing/2014/main" id="{D408F741-59EE-DF95-62FE-F02BA2F26A80}"/>
                </a:ext>
              </a:extLst>
            </p:cNvPr>
            <p:cNvSpPr>
              <a:spLocks noEditPoints="1"/>
            </p:cNvSpPr>
            <p:nvPr/>
          </p:nvSpPr>
          <p:spPr bwMode="auto">
            <a:xfrm>
              <a:off x="9215438" y="2168525"/>
              <a:ext cx="134938" cy="104775"/>
            </a:xfrm>
            <a:custGeom>
              <a:avLst/>
              <a:gdLst>
                <a:gd name="T0" fmla="*/ 34 w 595"/>
                <a:gd name="T1" fmla="*/ 463 h 463"/>
                <a:gd name="T2" fmla="*/ 15 w 595"/>
                <a:gd name="T3" fmla="*/ 457 h 463"/>
                <a:gd name="T4" fmla="*/ 3 w 595"/>
                <a:gd name="T5" fmla="*/ 442 h 463"/>
                <a:gd name="T6" fmla="*/ 0 w 595"/>
                <a:gd name="T7" fmla="*/ 165 h 463"/>
                <a:gd name="T8" fmla="*/ 3 w 595"/>
                <a:gd name="T9" fmla="*/ 152 h 463"/>
                <a:gd name="T10" fmla="*/ 15 w 595"/>
                <a:gd name="T11" fmla="*/ 138 h 463"/>
                <a:gd name="T12" fmla="*/ 34 w 595"/>
                <a:gd name="T13" fmla="*/ 131 h 463"/>
                <a:gd name="T14" fmla="*/ 138 w 595"/>
                <a:gd name="T15" fmla="*/ 119 h 463"/>
                <a:gd name="T16" fmla="*/ 153 w 595"/>
                <a:gd name="T17" fmla="*/ 82 h 463"/>
                <a:gd name="T18" fmla="*/ 175 w 595"/>
                <a:gd name="T19" fmla="*/ 50 h 463"/>
                <a:gd name="T20" fmla="*/ 206 w 595"/>
                <a:gd name="T21" fmla="*/ 24 h 463"/>
                <a:gd name="T22" fmla="*/ 248 w 595"/>
                <a:gd name="T23" fmla="*/ 6 h 463"/>
                <a:gd name="T24" fmla="*/ 297 w 595"/>
                <a:gd name="T25" fmla="*/ 0 h 463"/>
                <a:gd name="T26" fmla="*/ 333 w 595"/>
                <a:gd name="T27" fmla="*/ 2 h 463"/>
                <a:gd name="T28" fmla="*/ 376 w 595"/>
                <a:gd name="T29" fmla="*/ 17 h 463"/>
                <a:gd name="T30" fmla="*/ 411 w 595"/>
                <a:gd name="T31" fmla="*/ 40 h 463"/>
                <a:gd name="T32" fmla="*/ 437 w 595"/>
                <a:gd name="T33" fmla="*/ 70 h 463"/>
                <a:gd name="T34" fmla="*/ 454 w 595"/>
                <a:gd name="T35" fmla="*/ 107 h 463"/>
                <a:gd name="T36" fmla="*/ 562 w 595"/>
                <a:gd name="T37" fmla="*/ 131 h 463"/>
                <a:gd name="T38" fmla="*/ 576 w 595"/>
                <a:gd name="T39" fmla="*/ 135 h 463"/>
                <a:gd name="T40" fmla="*/ 590 w 595"/>
                <a:gd name="T41" fmla="*/ 146 h 463"/>
                <a:gd name="T42" fmla="*/ 595 w 595"/>
                <a:gd name="T43" fmla="*/ 165 h 463"/>
                <a:gd name="T44" fmla="*/ 594 w 595"/>
                <a:gd name="T45" fmla="*/ 436 h 463"/>
                <a:gd name="T46" fmla="*/ 586 w 595"/>
                <a:gd name="T47" fmla="*/ 454 h 463"/>
                <a:gd name="T48" fmla="*/ 570 w 595"/>
                <a:gd name="T49" fmla="*/ 462 h 463"/>
                <a:gd name="T50" fmla="*/ 67 w 595"/>
                <a:gd name="T51" fmla="*/ 397 h 463"/>
                <a:gd name="T52" fmla="*/ 430 w 595"/>
                <a:gd name="T53" fmla="*/ 198 h 463"/>
                <a:gd name="T54" fmla="*/ 417 w 595"/>
                <a:gd name="T55" fmla="*/ 196 h 463"/>
                <a:gd name="T56" fmla="*/ 403 w 595"/>
                <a:gd name="T57" fmla="*/ 183 h 463"/>
                <a:gd name="T58" fmla="*/ 397 w 595"/>
                <a:gd name="T59" fmla="*/ 165 h 463"/>
                <a:gd name="T60" fmla="*/ 395 w 595"/>
                <a:gd name="T61" fmla="*/ 145 h 463"/>
                <a:gd name="T62" fmla="*/ 387 w 595"/>
                <a:gd name="T63" fmla="*/ 120 h 463"/>
                <a:gd name="T64" fmla="*/ 372 w 595"/>
                <a:gd name="T65" fmla="*/ 94 h 463"/>
                <a:gd name="T66" fmla="*/ 343 w 595"/>
                <a:gd name="T67" fmla="*/ 74 h 463"/>
                <a:gd name="T68" fmla="*/ 297 w 595"/>
                <a:gd name="T69" fmla="*/ 65 h 463"/>
                <a:gd name="T70" fmla="*/ 266 w 595"/>
                <a:gd name="T71" fmla="*/ 69 h 463"/>
                <a:gd name="T72" fmla="*/ 232 w 595"/>
                <a:gd name="T73" fmla="*/ 87 h 463"/>
                <a:gd name="T74" fmla="*/ 213 w 595"/>
                <a:gd name="T75" fmla="*/ 112 h 463"/>
                <a:gd name="T76" fmla="*/ 202 w 595"/>
                <a:gd name="T77" fmla="*/ 138 h 463"/>
                <a:gd name="T78" fmla="*/ 199 w 595"/>
                <a:gd name="T79" fmla="*/ 165 h 463"/>
                <a:gd name="T80" fmla="*/ 196 w 595"/>
                <a:gd name="T81" fmla="*/ 178 h 463"/>
                <a:gd name="T82" fmla="*/ 185 w 595"/>
                <a:gd name="T83" fmla="*/ 193 h 463"/>
                <a:gd name="T84" fmla="*/ 166 w 595"/>
                <a:gd name="T85" fmla="*/ 198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95" h="463">
                  <a:moveTo>
                    <a:pt x="562" y="463"/>
                  </a:moveTo>
                  <a:lnTo>
                    <a:pt x="34" y="463"/>
                  </a:lnTo>
                  <a:lnTo>
                    <a:pt x="34" y="463"/>
                  </a:lnTo>
                  <a:lnTo>
                    <a:pt x="26" y="462"/>
                  </a:lnTo>
                  <a:lnTo>
                    <a:pt x="20" y="460"/>
                  </a:lnTo>
                  <a:lnTo>
                    <a:pt x="15" y="457"/>
                  </a:lnTo>
                  <a:lnTo>
                    <a:pt x="10" y="454"/>
                  </a:lnTo>
                  <a:lnTo>
                    <a:pt x="6" y="448"/>
                  </a:lnTo>
                  <a:lnTo>
                    <a:pt x="3" y="442"/>
                  </a:lnTo>
                  <a:lnTo>
                    <a:pt x="1" y="436"/>
                  </a:lnTo>
                  <a:lnTo>
                    <a:pt x="0" y="430"/>
                  </a:lnTo>
                  <a:lnTo>
                    <a:pt x="0" y="165"/>
                  </a:lnTo>
                  <a:lnTo>
                    <a:pt x="0" y="165"/>
                  </a:lnTo>
                  <a:lnTo>
                    <a:pt x="1" y="158"/>
                  </a:lnTo>
                  <a:lnTo>
                    <a:pt x="3" y="152"/>
                  </a:lnTo>
                  <a:lnTo>
                    <a:pt x="6" y="146"/>
                  </a:lnTo>
                  <a:lnTo>
                    <a:pt x="10" y="142"/>
                  </a:lnTo>
                  <a:lnTo>
                    <a:pt x="15" y="138"/>
                  </a:lnTo>
                  <a:lnTo>
                    <a:pt x="20" y="135"/>
                  </a:lnTo>
                  <a:lnTo>
                    <a:pt x="26" y="133"/>
                  </a:lnTo>
                  <a:lnTo>
                    <a:pt x="34" y="131"/>
                  </a:lnTo>
                  <a:lnTo>
                    <a:pt x="136" y="131"/>
                  </a:lnTo>
                  <a:lnTo>
                    <a:pt x="136" y="131"/>
                  </a:lnTo>
                  <a:lnTo>
                    <a:pt x="138" y="119"/>
                  </a:lnTo>
                  <a:lnTo>
                    <a:pt x="142" y="107"/>
                  </a:lnTo>
                  <a:lnTo>
                    <a:pt x="146" y="94"/>
                  </a:lnTo>
                  <a:lnTo>
                    <a:pt x="153" y="82"/>
                  </a:lnTo>
                  <a:lnTo>
                    <a:pt x="159" y="70"/>
                  </a:lnTo>
                  <a:lnTo>
                    <a:pt x="167" y="60"/>
                  </a:lnTo>
                  <a:lnTo>
                    <a:pt x="175" y="50"/>
                  </a:lnTo>
                  <a:lnTo>
                    <a:pt x="185" y="40"/>
                  </a:lnTo>
                  <a:lnTo>
                    <a:pt x="195" y="31"/>
                  </a:lnTo>
                  <a:lnTo>
                    <a:pt x="206" y="24"/>
                  </a:lnTo>
                  <a:lnTo>
                    <a:pt x="220" y="17"/>
                  </a:lnTo>
                  <a:lnTo>
                    <a:pt x="233" y="10"/>
                  </a:lnTo>
                  <a:lnTo>
                    <a:pt x="248" y="6"/>
                  </a:lnTo>
                  <a:lnTo>
                    <a:pt x="263" y="2"/>
                  </a:lnTo>
                  <a:lnTo>
                    <a:pt x="280" y="0"/>
                  </a:lnTo>
                  <a:lnTo>
                    <a:pt x="297" y="0"/>
                  </a:lnTo>
                  <a:lnTo>
                    <a:pt x="297" y="0"/>
                  </a:lnTo>
                  <a:lnTo>
                    <a:pt x="316" y="0"/>
                  </a:lnTo>
                  <a:lnTo>
                    <a:pt x="333" y="2"/>
                  </a:lnTo>
                  <a:lnTo>
                    <a:pt x="348" y="6"/>
                  </a:lnTo>
                  <a:lnTo>
                    <a:pt x="363" y="10"/>
                  </a:lnTo>
                  <a:lnTo>
                    <a:pt x="376" y="17"/>
                  </a:lnTo>
                  <a:lnTo>
                    <a:pt x="390" y="24"/>
                  </a:lnTo>
                  <a:lnTo>
                    <a:pt x="401" y="31"/>
                  </a:lnTo>
                  <a:lnTo>
                    <a:pt x="411" y="40"/>
                  </a:lnTo>
                  <a:lnTo>
                    <a:pt x="421" y="50"/>
                  </a:lnTo>
                  <a:lnTo>
                    <a:pt x="429" y="60"/>
                  </a:lnTo>
                  <a:lnTo>
                    <a:pt x="437" y="70"/>
                  </a:lnTo>
                  <a:lnTo>
                    <a:pt x="443" y="82"/>
                  </a:lnTo>
                  <a:lnTo>
                    <a:pt x="450" y="94"/>
                  </a:lnTo>
                  <a:lnTo>
                    <a:pt x="454" y="107"/>
                  </a:lnTo>
                  <a:lnTo>
                    <a:pt x="458" y="119"/>
                  </a:lnTo>
                  <a:lnTo>
                    <a:pt x="460" y="131"/>
                  </a:lnTo>
                  <a:lnTo>
                    <a:pt x="562" y="131"/>
                  </a:lnTo>
                  <a:lnTo>
                    <a:pt x="562" y="131"/>
                  </a:lnTo>
                  <a:lnTo>
                    <a:pt x="570" y="133"/>
                  </a:lnTo>
                  <a:lnTo>
                    <a:pt x="576" y="135"/>
                  </a:lnTo>
                  <a:lnTo>
                    <a:pt x="581" y="138"/>
                  </a:lnTo>
                  <a:lnTo>
                    <a:pt x="586" y="142"/>
                  </a:lnTo>
                  <a:lnTo>
                    <a:pt x="590" y="146"/>
                  </a:lnTo>
                  <a:lnTo>
                    <a:pt x="593" y="152"/>
                  </a:lnTo>
                  <a:lnTo>
                    <a:pt x="594" y="158"/>
                  </a:lnTo>
                  <a:lnTo>
                    <a:pt x="595" y="165"/>
                  </a:lnTo>
                  <a:lnTo>
                    <a:pt x="595" y="430"/>
                  </a:lnTo>
                  <a:lnTo>
                    <a:pt x="595" y="430"/>
                  </a:lnTo>
                  <a:lnTo>
                    <a:pt x="594" y="436"/>
                  </a:lnTo>
                  <a:lnTo>
                    <a:pt x="593" y="442"/>
                  </a:lnTo>
                  <a:lnTo>
                    <a:pt x="590" y="448"/>
                  </a:lnTo>
                  <a:lnTo>
                    <a:pt x="586" y="454"/>
                  </a:lnTo>
                  <a:lnTo>
                    <a:pt x="581" y="457"/>
                  </a:lnTo>
                  <a:lnTo>
                    <a:pt x="576" y="460"/>
                  </a:lnTo>
                  <a:lnTo>
                    <a:pt x="570" y="462"/>
                  </a:lnTo>
                  <a:lnTo>
                    <a:pt x="562" y="463"/>
                  </a:lnTo>
                  <a:lnTo>
                    <a:pt x="562" y="463"/>
                  </a:lnTo>
                  <a:close/>
                  <a:moveTo>
                    <a:pt x="67" y="397"/>
                  </a:moveTo>
                  <a:lnTo>
                    <a:pt x="529" y="397"/>
                  </a:lnTo>
                  <a:lnTo>
                    <a:pt x="529" y="198"/>
                  </a:lnTo>
                  <a:lnTo>
                    <a:pt x="430" y="198"/>
                  </a:lnTo>
                  <a:lnTo>
                    <a:pt x="430" y="198"/>
                  </a:lnTo>
                  <a:lnTo>
                    <a:pt x="424" y="198"/>
                  </a:lnTo>
                  <a:lnTo>
                    <a:pt x="417" y="196"/>
                  </a:lnTo>
                  <a:lnTo>
                    <a:pt x="411" y="193"/>
                  </a:lnTo>
                  <a:lnTo>
                    <a:pt x="407" y="188"/>
                  </a:lnTo>
                  <a:lnTo>
                    <a:pt x="403" y="183"/>
                  </a:lnTo>
                  <a:lnTo>
                    <a:pt x="400" y="178"/>
                  </a:lnTo>
                  <a:lnTo>
                    <a:pt x="398" y="172"/>
                  </a:lnTo>
                  <a:lnTo>
                    <a:pt x="397" y="165"/>
                  </a:lnTo>
                  <a:lnTo>
                    <a:pt x="397" y="165"/>
                  </a:lnTo>
                  <a:lnTo>
                    <a:pt x="397" y="157"/>
                  </a:lnTo>
                  <a:lnTo>
                    <a:pt x="395" y="145"/>
                  </a:lnTo>
                  <a:lnTo>
                    <a:pt x="394" y="138"/>
                  </a:lnTo>
                  <a:lnTo>
                    <a:pt x="392" y="129"/>
                  </a:lnTo>
                  <a:lnTo>
                    <a:pt x="387" y="120"/>
                  </a:lnTo>
                  <a:lnTo>
                    <a:pt x="383" y="112"/>
                  </a:lnTo>
                  <a:lnTo>
                    <a:pt x="378" y="103"/>
                  </a:lnTo>
                  <a:lnTo>
                    <a:pt x="372" y="94"/>
                  </a:lnTo>
                  <a:lnTo>
                    <a:pt x="364" y="87"/>
                  </a:lnTo>
                  <a:lnTo>
                    <a:pt x="354" y="80"/>
                  </a:lnTo>
                  <a:lnTo>
                    <a:pt x="343" y="74"/>
                  </a:lnTo>
                  <a:lnTo>
                    <a:pt x="330" y="69"/>
                  </a:lnTo>
                  <a:lnTo>
                    <a:pt x="315" y="66"/>
                  </a:lnTo>
                  <a:lnTo>
                    <a:pt x="297" y="65"/>
                  </a:lnTo>
                  <a:lnTo>
                    <a:pt x="297" y="65"/>
                  </a:lnTo>
                  <a:lnTo>
                    <a:pt x="281" y="66"/>
                  </a:lnTo>
                  <a:lnTo>
                    <a:pt x="266" y="69"/>
                  </a:lnTo>
                  <a:lnTo>
                    <a:pt x="253" y="74"/>
                  </a:lnTo>
                  <a:lnTo>
                    <a:pt x="242" y="80"/>
                  </a:lnTo>
                  <a:lnTo>
                    <a:pt x="232" y="87"/>
                  </a:lnTo>
                  <a:lnTo>
                    <a:pt x="224" y="94"/>
                  </a:lnTo>
                  <a:lnTo>
                    <a:pt x="218" y="103"/>
                  </a:lnTo>
                  <a:lnTo>
                    <a:pt x="213" y="112"/>
                  </a:lnTo>
                  <a:lnTo>
                    <a:pt x="208" y="120"/>
                  </a:lnTo>
                  <a:lnTo>
                    <a:pt x="204" y="129"/>
                  </a:lnTo>
                  <a:lnTo>
                    <a:pt x="202" y="138"/>
                  </a:lnTo>
                  <a:lnTo>
                    <a:pt x="201" y="145"/>
                  </a:lnTo>
                  <a:lnTo>
                    <a:pt x="199" y="157"/>
                  </a:lnTo>
                  <a:lnTo>
                    <a:pt x="199" y="165"/>
                  </a:lnTo>
                  <a:lnTo>
                    <a:pt x="199" y="165"/>
                  </a:lnTo>
                  <a:lnTo>
                    <a:pt x="198" y="172"/>
                  </a:lnTo>
                  <a:lnTo>
                    <a:pt x="196" y="178"/>
                  </a:lnTo>
                  <a:lnTo>
                    <a:pt x="193" y="183"/>
                  </a:lnTo>
                  <a:lnTo>
                    <a:pt x="189" y="188"/>
                  </a:lnTo>
                  <a:lnTo>
                    <a:pt x="185" y="193"/>
                  </a:lnTo>
                  <a:lnTo>
                    <a:pt x="178" y="196"/>
                  </a:lnTo>
                  <a:lnTo>
                    <a:pt x="172" y="198"/>
                  </a:lnTo>
                  <a:lnTo>
                    <a:pt x="166" y="198"/>
                  </a:lnTo>
                  <a:lnTo>
                    <a:pt x="67" y="198"/>
                  </a:lnTo>
                  <a:lnTo>
                    <a:pt x="67" y="3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4" name="Freeform 98">
              <a:extLst>
                <a:ext uri="{FF2B5EF4-FFF2-40B4-BE49-F238E27FC236}">
                  <a16:creationId xmlns:a16="http://schemas.microsoft.com/office/drawing/2014/main" id="{48FB3554-5CE3-6914-F285-482720C14108}"/>
                </a:ext>
              </a:extLst>
            </p:cNvPr>
            <p:cNvSpPr>
              <a:spLocks/>
            </p:cNvSpPr>
            <p:nvPr/>
          </p:nvSpPr>
          <p:spPr bwMode="auto">
            <a:xfrm>
              <a:off x="9336088" y="2243138"/>
              <a:ext cx="44450" cy="82550"/>
            </a:xfrm>
            <a:custGeom>
              <a:avLst/>
              <a:gdLst>
                <a:gd name="T0" fmla="*/ 166 w 199"/>
                <a:gd name="T1" fmla="*/ 365 h 365"/>
                <a:gd name="T2" fmla="*/ 166 w 199"/>
                <a:gd name="T3" fmla="*/ 365 h 365"/>
                <a:gd name="T4" fmla="*/ 159 w 199"/>
                <a:gd name="T5" fmla="*/ 364 h 365"/>
                <a:gd name="T6" fmla="*/ 152 w 199"/>
                <a:gd name="T7" fmla="*/ 362 h 365"/>
                <a:gd name="T8" fmla="*/ 147 w 199"/>
                <a:gd name="T9" fmla="*/ 359 h 365"/>
                <a:gd name="T10" fmla="*/ 142 w 199"/>
                <a:gd name="T11" fmla="*/ 354 h 365"/>
                <a:gd name="T12" fmla="*/ 138 w 199"/>
                <a:gd name="T13" fmla="*/ 349 h 365"/>
                <a:gd name="T14" fmla="*/ 135 w 199"/>
                <a:gd name="T15" fmla="*/ 344 h 365"/>
                <a:gd name="T16" fmla="*/ 134 w 199"/>
                <a:gd name="T17" fmla="*/ 338 h 365"/>
                <a:gd name="T18" fmla="*/ 133 w 199"/>
                <a:gd name="T19" fmla="*/ 332 h 365"/>
                <a:gd name="T20" fmla="*/ 133 w 199"/>
                <a:gd name="T21" fmla="*/ 67 h 365"/>
                <a:gd name="T22" fmla="*/ 33 w 199"/>
                <a:gd name="T23" fmla="*/ 67 h 365"/>
                <a:gd name="T24" fmla="*/ 33 w 199"/>
                <a:gd name="T25" fmla="*/ 67 h 365"/>
                <a:gd name="T26" fmla="*/ 27 w 199"/>
                <a:gd name="T27" fmla="*/ 66 h 365"/>
                <a:gd name="T28" fmla="*/ 21 w 199"/>
                <a:gd name="T29" fmla="*/ 63 h 365"/>
                <a:gd name="T30" fmla="*/ 15 w 199"/>
                <a:gd name="T31" fmla="*/ 61 h 365"/>
                <a:gd name="T32" fmla="*/ 11 w 199"/>
                <a:gd name="T33" fmla="*/ 57 h 365"/>
                <a:gd name="T34" fmla="*/ 6 w 199"/>
                <a:gd name="T35" fmla="*/ 52 h 365"/>
                <a:gd name="T36" fmla="*/ 3 w 199"/>
                <a:gd name="T37" fmla="*/ 46 h 365"/>
                <a:gd name="T38" fmla="*/ 1 w 199"/>
                <a:gd name="T39" fmla="*/ 40 h 365"/>
                <a:gd name="T40" fmla="*/ 0 w 199"/>
                <a:gd name="T41" fmla="*/ 33 h 365"/>
                <a:gd name="T42" fmla="*/ 0 w 199"/>
                <a:gd name="T43" fmla="*/ 33 h 365"/>
                <a:gd name="T44" fmla="*/ 1 w 199"/>
                <a:gd name="T45" fmla="*/ 27 h 365"/>
                <a:gd name="T46" fmla="*/ 3 w 199"/>
                <a:gd name="T47" fmla="*/ 21 h 365"/>
                <a:gd name="T48" fmla="*/ 6 w 199"/>
                <a:gd name="T49" fmla="*/ 15 h 365"/>
                <a:gd name="T50" fmla="*/ 11 w 199"/>
                <a:gd name="T51" fmla="*/ 10 h 365"/>
                <a:gd name="T52" fmla="*/ 15 w 199"/>
                <a:gd name="T53" fmla="*/ 7 h 365"/>
                <a:gd name="T54" fmla="*/ 21 w 199"/>
                <a:gd name="T55" fmla="*/ 3 h 365"/>
                <a:gd name="T56" fmla="*/ 27 w 199"/>
                <a:gd name="T57" fmla="*/ 1 h 365"/>
                <a:gd name="T58" fmla="*/ 33 w 199"/>
                <a:gd name="T59" fmla="*/ 0 h 365"/>
                <a:gd name="T60" fmla="*/ 166 w 199"/>
                <a:gd name="T61" fmla="*/ 0 h 365"/>
                <a:gd name="T62" fmla="*/ 166 w 199"/>
                <a:gd name="T63" fmla="*/ 0 h 365"/>
                <a:gd name="T64" fmla="*/ 172 w 199"/>
                <a:gd name="T65" fmla="*/ 1 h 365"/>
                <a:gd name="T66" fmla="*/ 178 w 199"/>
                <a:gd name="T67" fmla="*/ 3 h 365"/>
                <a:gd name="T68" fmla="*/ 184 w 199"/>
                <a:gd name="T69" fmla="*/ 7 h 365"/>
                <a:gd name="T70" fmla="*/ 190 w 199"/>
                <a:gd name="T71" fmla="*/ 10 h 365"/>
                <a:gd name="T72" fmla="*/ 193 w 199"/>
                <a:gd name="T73" fmla="*/ 15 h 365"/>
                <a:gd name="T74" fmla="*/ 196 w 199"/>
                <a:gd name="T75" fmla="*/ 21 h 365"/>
                <a:gd name="T76" fmla="*/ 198 w 199"/>
                <a:gd name="T77" fmla="*/ 27 h 365"/>
                <a:gd name="T78" fmla="*/ 199 w 199"/>
                <a:gd name="T79" fmla="*/ 33 h 365"/>
                <a:gd name="T80" fmla="*/ 199 w 199"/>
                <a:gd name="T81" fmla="*/ 332 h 365"/>
                <a:gd name="T82" fmla="*/ 199 w 199"/>
                <a:gd name="T83" fmla="*/ 332 h 365"/>
                <a:gd name="T84" fmla="*/ 198 w 199"/>
                <a:gd name="T85" fmla="*/ 338 h 365"/>
                <a:gd name="T86" fmla="*/ 196 w 199"/>
                <a:gd name="T87" fmla="*/ 344 h 365"/>
                <a:gd name="T88" fmla="*/ 193 w 199"/>
                <a:gd name="T89" fmla="*/ 349 h 365"/>
                <a:gd name="T90" fmla="*/ 190 w 199"/>
                <a:gd name="T91" fmla="*/ 354 h 365"/>
                <a:gd name="T92" fmla="*/ 184 w 199"/>
                <a:gd name="T93" fmla="*/ 359 h 365"/>
                <a:gd name="T94" fmla="*/ 178 w 199"/>
                <a:gd name="T95" fmla="*/ 362 h 365"/>
                <a:gd name="T96" fmla="*/ 172 w 199"/>
                <a:gd name="T97" fmla="*/ 364 h 365"/>
                <a:gd name="T98" fmla="*/ 166 w 199"/>
                <a:gd name="T99" fmla="*/ 365 h 365"/>
                <a:gd name="T100" fmla="*/ 166 w 199"/>
                <a:gd name="T101" fmla="*/ 36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9" h="365">
                  <a:moveTo>
                    <a:pt x="166" y="365"/>
                  </a:moveTo>
                  <a:lnTo>
                    <a:pt x="166" y="365"/>
                  </a:lnTo>
                  <a:lnTo>
                    <a:pt x="159" y="364"/>
                  </a:lnTo>
                  <a:lnTo>
                    <a:pt x="152" y="362"/>
                  </a:lnTo>
                  <a:lnTo>
                    <a:pt x="147" y="359"/>
                  </a:lnTo>
                  <a:lnTo>
                    <a:pt x="142" y="354"/>
                  </a:lnTo>
                  <a:lnTo>
                    <a:pt x="138" y="349"/>
                  </a:lnTo>
                  <a:lnTo>
                    <a:pt x="135" y="344"/>
                  </a:lnTo>
                  <a:lnTo>
                    <a:pt x="134" y="338"/>
                  </a:lnTo>
                  <a:lnTo>
                    <a:pt x="133" y="332"/>
                  </a:lnTo>
                  <a:lnTo>
                    <a:pt x="133" y="67"/>
                  </a:lnTo>
                  <a:lnTo>
                    <a:pt x="33" y="67"/>
                  </a:lnTo>
                  <a:lnTo>
                    <a:pt x="33" y="67"/>
                  </a:lnTo>
                  <a:lnTo>
                    <a:pt x="27" y="66"/>
                  </a:lnTo>
                  <a:lnTo>
                    <a:pt x="21" y="63"/>
                  </a:lnTo>
                  <a:lnTo>
                    <a:pt x="15" y="61"/>
                  </a:lnTo>
                  <a:lnTo>
                    <a:pt x="11" y="57"/>
                  </a:lnTo>
                  <a:lnTo>
                    <a:pt x="6" y="52"/>
                  </a:lnTo>
                  <a:lnTo>
                    <a:pt x="3" y="46"/>
                  </a:lnTo>
                  <a:lnTo>
                    <a:pt x="1" y="40"/>
                  </a:lnTo>
                  <a:lnTo>
                    <a:pt x="0" y="33"/>
                  </a:lnTo>
                  <a:lnTo>
                    <a:pt x="0" y="33"/>
                  </a:lnTo>
                  <a:lnTo>
                    <a:pt x="1" y="27"/>
                  </a:lnTo>
                  <a:lnTo>
                    <a:pt x="3" y="21"/>
                  </a:lnTo>
                  <a:lnTo>
                    <a:pt x="6" y="15"/>
                  </a:lnTo>
                  <a:lnTo>
                    <a:pt x="11" y="10"/>
                  </a:lnTo>
                  <a:lnTo>
                    <a:pt x="15" y="7"/>
                  </a:lnTo>
                  <a:lnTo>
                    <a:pt x="21" y="3"/>
                  </a:lnTo>
                  <a:lnTo>
                    <a:pt x="27" y="1"/>
                  </a:lnTo>
                  <a:lnTo>
                    <a:pt x="33" y="0"/>
                  </a:lnTo>
                  <a:lnTo>
                    <a:pt x="166" y="0"/>
                  </a:lnTo>
                  <a:lnTo>
                    <a:pt x="166" y="0"/>
                  </a:lnTo>
                  <a:lnTo>
                    <a:pt x="172" y="1"/>
                  </a:lnTo>
                  <a:lnTo>
                    <a:pt x="178" y="3"/>
                  </a:lnTo>
                  <a:lnTo>
                    <a:pt x="184" y="7"/>
                  </a:lnTo>
                  <a:lnTo>
                    <a:pt x="190" y="10"/>
                  </a:lnTo>
                  <a:lnTo>
                    <a:pt x="193" y="15"/>
                  </a:lnTo>
                  <a:lnTo>
                    <a:pt x="196" y="21"/>
                  </a:lnTo>
                  <a:lnTo>
                    <a:pt x="198" y="27"/>
                  </a:lnTo>
                  <a:lnTo>
                    <a:pt x="199" y="33"/>
                  </a:lnTo>
                  <a:lnTo>
                    <a:pt x="199" y="332"/>
                  </a:lnTo>
                  <a:lnTo>
                    <a:pt x="199" y="332"/>
                  </a:lnTo>
                  <a:lnTo>
                    <a:pt x="198" y="338"/>
                  </a:lnTo>
                  <a:lnTo>
                    <a:pt x="196" y="344"/>
                  </a:lnTo>
                  <a:lnTo>
                    <a:pt x="193" y="349"/>
                  </a:lnTo>
                  <a:lnTo>
                    <a:pt x="190" y="354"/>
                  </a:lnTo>
                  <a:lnTo>
                    <a:pt x="184" y="359"/>
                  </a:lnTo>
                  <a:lnTo>
                    <a:pt x="178" y="362"/>
                  </a:lnTo>
                  <a:lnTo>
                    <a:pt x="172" y="364"/>
                  </a:lnTo>
                  <a:lnTo>
                    <a:pt x="166" y="365"/>
                  </a:lnTo>
                  <a:lnTo>
                    <a:pt x="166" y="3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5" name="Freeform 99">
              <a:extLst>
                <a:ext uri="{FF2B5EF4-FFF2-40B4-BE49-F238E27FC236}">
                  <a16:creationId xmlns:a16="http://schemas.microsoft.com/office/drawing/2014/main" id="{9AB03686-CCA9-EF2A-767D-DC803968B86A}"/>
                </a:ext>
              </a:extLst>
            </p:cNvPr>
            <p:cNvSpPr>
              <a:spLocks/>
            </p:cNvSpPr>
            <p:nvPr/>
          </p:nvSpPr>
          <p:spPr bwMode="auto">
            <a:xfrm>
              <a:off x="9231313" y="2303463"/>
              <a:ext cx="88900" cy="15875"/>
            </a:xfrm>
            <a:custGeom>
              <a:avLst/>
              <a:gdLst>
                <a:gd name="T0" fmla="*/ 363 w 396"/>
                <a:gd name="T1" fmla="*/ 67 h 67"/>
                <a:gd name="T2" fmla="*/ 33 w 396"/>
                <a:gd name="T3" fmla="*/ 67 h 67"/>
                <a:gd name="T4" fmla="*/ 33 w 396"/>
                <a:gd name="T5" fmla="*/ 67 h 67"/>
                <a:gd name="T6" fmla="*/ 26 w 396"/>
                <a:gd name="T7" fmla="*/ 66 h 67"/>
                <a:gd name="T8" fmla="*/ 19 w 396"/>
                <a:gd name="T9" fmla="*/ 64 h 67"/>
                <a:gd name="T10" fmla="*/ 14 w 396"/>
                <a:gd name="T11" fmla="*/ 60 h 67"/>
                <a:gd name="T12" fmla="*/ 9 w 396"/>
                <a:gd name="T13" fmla="*/ 56 h 67"/>
                <a:gd name="T14" fmla="*/ 5 w 396"/>
                <a:gd name="T15" fmla="*/ 52 h 67"/>
                <a:gd name="T16" fmla="*/ 2 w 396"/>
                <a:gd name="T17" fmla="*/ 46 h 67"/>
                <a:gd name="T18" fmla="*/ 0 w 396"/>
                <a:gd name="T19" fmla="*/ 40 h 67"/>
                <a:gd name="T20" fmla="*/ 0 w 396"/>
                <a:gd name="T21" fmla="*/ 33 h 67"/>
                <a:gd name="T22" fmla="*/ 0 w 396"/>
                <a:gd name="T23" fmla="*/ 33 h 67"/>
                <a:gd name="T24" fmla="*/ 0 w 396"/>
                <a:gd name="T25" fmla="*/ 26 h 67"/>
                <a:gd name="T26" fmla="*/ 2 w 396"/>
                <a:gd name="T27" fmla="*/ 20 h 67"/>
                <a:gd name="T28" fmla="*/ 5 w 396"/>
                <a:gd name="T29" fmla="*/ 15 h 67"/>
                <a:gd name="T30" fmla="*/ 9 w 396"/>
                <a:gd name="T31" fmla="*/ 10 h 67"/>
                <a:gd name="T32" fmla="*/ 14 w 396"/>
                <a:gd name="T33" fmla="*/ 6 h 67"/>
                <a:gd name="T34" fmla="*/ 19 w 396"/>
                <a:gd name="T35" fmla="*/ 2 h 67"/>
                <a:gd name="T36" fmla="*/ 26 w 396"/>
                <a:gd name="T37" fmla="*/ 0 h 67"/>
                <a:gd name="T38" fmla="*/ 33 w 396"/>
                <a:gd name="T39" fmla="*/ 0 h 67"/>
                <a:gd name="T40" fmla="*/ 363 w 396"/>
                <a:gd name="T41" fmla="*/ 0 h 67"/>
                <a:gd name="T42" fmla="*/ 363 w 396"/>
                <a:gd name="T43" fmla="*/ 0 h 67"/>
                <a:gd name="T44" fmla="*/ 370 w 396"/>
                <a:gd name="T45" fmla="*/ 0 h 67"/>
                <a:gd name="T46" fmla="*/ 376 w 396"/>
                <a:gd name="T47" fmla="*/ 2 h 67"/>
                <a:gd name="T48" fmla="*/ 382 w 396"/>
                <a:gd name="T49" fmla="*/ 6 h 67"/>
                <a:gd name="T50" fmla="*/ 387 w 396"/>
                <a:gd name="T51" fmla="*/ 10 h 67"/>
                <a:gd name="T52" fmla="*/ 391 w 396"/>
                <a:gd name="T53" fmla="*/ 15 h 67"/>
                <a:gd name="T54" fmla="*/ 394 w 396"/>
                <a:gd name="T55" fmla="*/ 20 h 67"/>
                <a:gd name="T56" fmla="*/ 396 w 396"/>
                <a:gd name="T57" fmla="*/ 26 h 67"/>
                <a:gd name="T58" fmla="*/ 396 w 396"/>
                <a:gd name="T59" fmla="*/ 33 h 67"/>
                <a:gd name="T60" fmla="*/ 396 w 396"/>
                <a:gd name="T61" fmla="*/ 33 h 67"/>
                <a:gd name="T62" fmla="*/ 396 w 396"/>
                <a:gd name="T63" fmla="*/ 40 h 67"/>
                <a:gd name="T64" fmla="*/ 394 w 396"/>
                <a:gd name="T65" fmla="*/ 46 h 67"/>
                <a:gd name="T66" fmla="*/ 391 w 396"/>
                <a:gd name="T67" fmla="*/ 52 h 67"/>
                <a:gd name="T68" fmla="*/ 387 w 396"/>
                <a:gd name="T69" fmla="*/ 56 h 67"/>
                <a:gd name="T70" fmla="*/ 382 w 396"/>
                <a:gd name="T71" fmla="*/ 60 h 67"/>
                <a:gd name="T72" fmla="*/ 376 w 396"/>
                <a:gd name="T73" fmla="*/ 64 h 67"/>
                <a:gd name="T74" fmla="*/ 370 w 396"/>
                <a:gd name="T75" fmla="*/ 66 h 67"/>
                <a:gd name="T76" fmla="*/ 363 w 396"/>
                <a:gd name="T77" fmla="*/ 67 h 67"/>
                <a:gd name="T78" fmla="*/ 363 w 396"/>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7">
                  <a:moveTo>
                    <a:pt x="363" y="67"/>
                  </a:moveTo>
                  <a:lnTo>
                    <a:pt x="33" y="67"/>
                  </a:lnTo>
                  <a:lnTo>
                    <a:pt x="33" y="67"/>
                  </a:lnTo>
                  <a:lnTo>
                    <a:pt x="26" y="66"/>
                  </a:lnTo>
                  <a:lnTo>
                    <a:pt x="19" y="64"/>
                  </a:lnTo>
                  <a:lnTo>
                    <a:pt x="14" y="60"/>
                  </a:lnTo>
                  <a:lnTo>
                    <a:pt x="9" y="56"/>
                  </a:lnTo>
                  <a:lnTo>
                    <a:pt x="5" y="52"/>
                  </a:lnTo>
                  <a:lnTo>
                    <a:pt x="2" y="46"/>
                  </a:lnTo>
                  <a:lnTo>
                    <a:pt x="0" y="40"/>
                  </a:lnTo>
                  <a:lnTo>
                    <a:pt x="0" y="33"/>
                  </a:lnTo>
                  <a:lnTo>
                    <a:pt x="0" y="33"/>
                  </a:lnTo>
                  <a:lnTo>
                    <a:pt x="0" y="26"/>
                  </a:lnTo>
                  <a:lnTo>
                    <a:pt x="2" y="20"/>
                  </a:lnTo>
                  <a:lnTo>
                    <a:pt x="5" y="15"/>
                  </a:lnTo>
                  <a:lnTo>
                    <a:pt x="9" y="10"/>
                  </a:lnTo>
                  <a:lnTo>
                    <a:pt x="14" y="6"/>
                  </a:lnTo>
                  <a:lnTo>
                    <a:pt x="19" y="2"/>
                  </a:lnTo>
                  <a:lnTo>
                    <a:pt x="26" y="0"/>
                  </a:lnTo>
                  <a:lnTo>
                    <a:pt x="33" y="0"/>
                  </a:lnTo>
                  <a:lnTo>
                    <a:pt x="363" y="0"/>
                  </a:lnTo>
                  <a:lnTo>
                    <a:pt x="363" y="0"/>
                  </a:lnTo>
                  <a:lnTo>
                    <a:pt x="370" y="0"/>
                  </a:lnTo>
                  <a:lnTo>
                    <a:pt x="376" y="2"/>
                  </a:lnTo>
                  <a:lnTo>
                    <a:pt x="382" y="6"/>
                  </a:lnTo>
                  <a:lnTo>
                    <a:pt x="387" y="10"/>
                  </a:lnTo>
                  <a:lnTo>
                    <a:pt x="391" y="15"/>
                  </a:lnTo>
                  <a:lnTo>
                    <a:pt x="394" y="20"/>
                  </a:lnTo>
                  <a:lnTo>
                    <a:pt x="396" y="26"/>
                  </a:lnTo>
                  <a:lnTo>
                    <a:pt x="396" y="33"/>
                  </a:lnTo>
                  <a:lnTo>
                    <a:pt x="396" y="33"/>
                  </a:lnTo>
                  <a:lnTo>
                    <a:pt x="396" y="40"/>
                  </a:lnTo>
                  <a:lnTo>
                    <a:pt x="394" y="46"/>
                  </a:lnTo>
                  <a:lnTo>
                    <a:pt x="391" y="52"/>
                  </a:lnTo>
                  <a:lnTo>
                    <a:pt x="387" y="56"/>
                  </a:lnTo>
                  <a:lnTo>
                    <a:pt x="382" y="60"/>
                  </a:lnTo>
                  <a:lnTo>
                    <a:pt x="376" y="64"/>
                  </a:lnTo>
                  <a:lnTo>
                    <a:pt x="370" y="66"/>
                  </a:lnTo>
                  <a:lnTo>
                    <a:pt x="363" y="67"/>
                  </a:lnTo>
                  <a:lnTo>
                    <a:pt x="36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6" name="Freeform 100">
              <a:extLst>
                <a:ext uri="{FF2B5EF4-FFF2-40B4-BE49-F238E27FC236}">
                  <a16:creationId xmlns:a16="http://schemas.microsoft.com/office/drawing/2014/main" id="{AB79C7E3-B604-44F5-AA33-4783695CEAD7}"/>
                </a:ext>
              </a:extLst>
            </p:cNvPr>
            <p:cNvSpPr>
              <a:spLocks/>
            </p:cNvSpPr>
            <p:nvPr/>
          </p:nvSpPr>
          <p:spPr bwMode="auto">
            <a:xfrm>
              <a:off x="9231313" y="2333625"/>
              <a:ext cx="88900" cy="14288"/>
            </a:xfrm>
            <a:custGeom>
              <a:avLst/>
              <a:gdLst>
                <a:gd name="T0" fmla="*/ 363 w 396"/>
                <a:gd name="T1" fmla="*/ 65 h 65"/>
                <a:gd name="T2" fmla="*/ 33 w 396"/>
                <a:gd name="T3" fmla="*/ 65 h 65"/>
                <a:gd name="T4" fmla="*/ 33 w 396"/>
                <a:gd name="T5" fmla="*/ 65 h 65"/>
                <a:gd name="T6" fmla="*/ 26 w 396"/>
                <a:gd name="T7" fmla="*/ 65 h 65"/>
                <a:gd name="T8" fmla="*/ 19 w 396"/>
                <a:gd name="T9" fmla="*/ 63 h 65"/>
                <a:gd name="T10" fmla="*/ 14 w 396"/>
                <a:gd name="T11" fmla="*/ 60 h 65"/>
                <a:gd name="T12" fmla="*/ 9 w 396"/>
                <a:gd name="T13" fmla="*/ 56 h 65"/>
                <a:gd name="T14" fmla="*/ 5 w 396"/>
                <a:gd name="T15" fmla="*/ 51 h 65"/>
                <a:gd name="T16" fmla="*/ 2 w 396"/>
                <a:gd name="T17" fmla="*/ 45 h 65"/>
                <a:gd name="T18" fmla="*/ 0 w 396"/>
                <a:gd name="T19" fmla="*/ 39 h 65"/>
                <a:gd name="T20" fmla="*/ 0 w 396"/>
                <a:gd name="T21" fmla="*/ 32 h 65"/>
                <a:gd name="T22" fmla="*/ 0 w 396"/>
                <a:gd name="T23" fmla="*/ 32 h 65"/>
                <a:gd name="T24" fmla="*/ 0 w 396"/>
                <a:gd name="T25" fmla="*/ 26 h 65"/>
                <a:gd name="T26" fmla="*/ 2 w 396"/>
                <a:gd name="T27" fmla="*/ 20 h 65"/>
                <a:gd name="T28" fmla="*/ 5 w 396"/>
                <a:gd name="T29" fmla="*/ 14 h 65"/>
                <a:gd name="T30" fmla="*/ 9 w 396"/>
                <a:gd name="T31" fmla="*/ 9 h 65"/>
                <a:gd name="T32" fmla="*/ 14 w 396"/>
                <a:gd name="T33" fmla="*/ 5 h 65"/>
                <a:gd name="T34" fmla="*/ 19 w 396"/>
                <a:gd name="T35" fmla="*/ 2 h 65"/>
                <a:gd name="T36" fmla="*/ 26 w 396"/>
                <a:gd name="T37" fmla="*/ 0 h 65"/>
                <a:gd name="T38" fmla="*/ 33 w 396"/>
                <a:gd name="T39" fmla="*/ 0 h 65"/>
                <a:gd name="T40" fmla="*/ 363 w 396"/>
                <a:gd name="T41" fmla="*/ 0 h 65"/>
                <a:gd name="T42" fmla="*/ 363 w 396"/>
                <a:gd name="T43" fmla="*/ 0 h 65"/>
                <a:gd name="T44" fmla="*/ 370 w 396"/>
                <a:gd name="T45" fmla="*/ 0 h 65"/>
                <a:gd name="T46" fmla="*/ 376 w 396"/>
                <a:gd name="T47" fmla="*/ 2 h 65"/>
                <a:gd name="T48" fmla="*/ 382 w 396"/>
                <a:gd name="T49" fmla="*/ 5 h 65"/>
                <a:gd name="T50" fmla="*/ 387 w 396"/>
                <a:gd name="T51" fmla="*/ 9 h 65"/>
                <a:gd name="T52" fmla="*/ 391 w 396"/>
                <a:gd name="T53" fmla="*/ 14 h 65"/>
                <a:gd name="T54" fmla="*/ 394 w 396"/>
                <a:gd name="T55" fmla="*/ 20 h 65"/>
                <a:gd name="T56" fmla="*/ 396 w 396"/>
                <a:gd name="T57" fmla="*/ 26 h 65"/>
                <a:gd name="T58" fmla="*/ 396 w 396"/>
                <a:gd name="T59" fmla="*/ 32 h 65"/>
                <a:gd name="T60" fmla="*/ 396 w 396"/>
                <a:gd name="T61" fmla="*/ 32 h 65"/>
                <a:gd name="T62" fmla="*/ 396 w 396"/>
                <a:gd name="T63" fmla="*/ 39 h 65"/>
                <a:gd name="T64" fmla="*/ 394 w 396"/>
                <a:gd name="T65" fmla="*/ 45 h 65"/>
                <a:gd name="T66" fmla="*/ 391 w 396"/>
                <a:gd name="T67" fmla="*/ 51 h 65"/>
                <a:gd name="T68" fmla="*/ 387 w 396"/>
                <a:gd name="T69" fmla="*/ 56 h 65"/>
                <a:gd name="T70" fmla="*/ 382 w 396"/>
                <a:gd name="T71" fmla="*/ 60 h 65"/>
                <a:gd name="T72" fmla="*/ 376 w 396"/>
                <a:gd name="T73" fmla="*/ 63 h 65"/>
                <a:gd name="T74" fmla="*/ 370 w 396"/>
                <a:gd name="T75" fmla="*/ 65 h 65"/>
                <a:gd name="T76" fmla="*/ 363 w 396"/>
                <a:gd name="T77" fmla="*/ 65 h 65"/>
                <a:gd name="T78" fmla="*/ 363 w 396"/>
                <a:gd name="T7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5">
                  <a:moveTo>
                    <a:pt x="363" y="65"/>
                  </a:moveTo>
                  <a:lnTo>
                    <a:pt x="33" y="65"/>
                  </a:lnTo>
                  <a:lnTo>
                    <a:pt x="33" y="65"/>
                  </a:lnTo>
                  <a:lnTo>
                    <a:pt x="26" y="65"/>
                  </a:lnTo>
                  <a:lnTo>
                    <a:pt x="19" y="63"/>
                  </a:lnTo>
                  <a:lnTo>
                    <a:pt x="14" y="60"/>
                  </a:lnTo>
                  <a:lnTo>
                    <a:pt x="9" y="56"/>
                  </a:lnTo>
                  <a:lnTo>
                    <a:pt x="5" y="51"/>
                  </a:lnTo>
                  <a:lnTo>
                    <a:pt x="2" y="45"/>
                  </a:lnTo>
                  <a:lnTo>
                    <a:pt x="0" y="39"/>
                  </a:lnTo>
                  <a:lnTo>
                    <a:pt x="0" y="32"/>
                  </a:lnTo>
                  <a:lnTo>
                    <a:pt x="0" y="32"/>
                  </a:lnTo>
                  <a:lnTo>
                    <a:pt x="0" y="26"/>
                  </a:lnTo>
                  <a:lnTo>
                    <a:pt x="2" y="20"/>
                  </a:lnTo>
                  <a:lnTo>
                    <a:pt x="5" y="14"/>
                  </a:lnTo>
                  <a:lnTo>
                    <a:pt x="9" y="9"/>
                  </a:lnTo>
                  <a:lnTo>
                    <a:pt x="14" y="5"/>
                  </a:lnTo>
                  <a:lnTo>
                    <a:pt x="19" y="2"/>
                  </a:lnTo>
                  <a:lnTo>
                    <a:pt x="26" y="0"/>
                  </a:lnTo>
                  <a:lnTo>
                    <a:pt x="33" y="0"/>
                  </a:lnTo>
                  <a:lnTo>
                    <a:pt x="363" y="0"/>
                  </a:lnTo>
                  <a:lnTo>
                    <a:pt x="363" y="0"/>
                  </a:lnTo>
                  <a:lnTo>
                    <a:pt x="370" y="0"/>
                  </a:lnTo>
                  <a:lnTo>
                    <a:pt x="376" y="2"/>
                  </a:lnTo>
                  <a:lnTo>
                    <a:pt x="382" y="5"/>
                  </a:lnTo>
                  <a:lnTo>
                    <a:pt x="387" y="9"/>
                  </a:lnTo>
                  <a:lnTo>
                    <a:pt x="391" y="14"/>
                  </a:lnTo>
                  <a:lnTo>
                    <a:pt x="394" y="20"/>
                  </a:lnTo>
                  <a:lnTo>
                    <a:pt x="396" y="26"/>
                  </a:lnTo>
                  <a:lnTo>
                    <a:pt x="396" y="32"/>
                  </a:lnTo>
                  <a:lnTo>
                    <a:pt x="396" y="32"/>
                  </a:lnTo>
                  <a:lnTo>
                    <a:pt x="396" y="39"/>
                  </a:lnTo>
                  <a:lnTo>
                    <a:pt x="394" y="45"/>
                  </a:lnTo>
                  <a:lnTo>
                    <a:pt x="391" y="51"/>
                  </a:lnTo>
                  <a:lnTo>
                    <a:pt x="387" y="56"/>
                  </a:lnTo>
                  <a:lnTo>
                    <a:pt x="382" y="60"/>
                  </a:lnTo>
                  <a:lnTo>
                    <a:pt x="376" y="63"/>
                  </a:lnTo>
                  <a:lnTo>
                    <a:pt x="370" y="65"/>
                  </a:lnTo>
                  <a:lnTo>
                    <a:pt x="363" y="65"/>
                  </a:lnTo>
                  <a:lnTo>
                    <a:pt x="363"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7" name="Freeform 101">
              <a:extLst>
                <a:ext uri="{FF2B5EF4-FFF2-40B4-BE49-F238E27FC236}">
                  <a16:creationId xmlns:a16="http://schemas.microsoft.com/office/drawing/2014/main" id="{B656C0FC-D5E0-9695-C90A-A5CED856B702}"/>
                </a:ext>
              </a:extLst>
            </p:cNvPr>
            <p:cNvSpPr>
              <a:spLocks/>
            </p:cNvSpPr>
            <p:nvPr/>
          </p:nvSpPr>
          <p:spPr bwMode="auto">
            <a:xfrm>
              <a:off x="9231313" y="2363788"/>
              <a:ext cx="88900" cy="14288"/>
            </a:xfrm>
            <a:custGeom>
              <a:avLst/>
              <a:gdLst>
                <a:gd name="T0" fmla="*/ 363 w 396"/>
                <a:gd name="T1" fmla="*/ 67 h 67"/>
                <a:gd name="T2" fmla="*/ 33 w 396"/>
                <a:gd name="T3" fmla="*/ 67 h 67"/>
                <a:gd name="T4" fmla="*/ 33 w 396"/>
                <a:gd name="T5" fmla="*/ 67 h 67"/>
                <a:gd name="T6" fmla="*/ 26 w 396"/>
                <a:gd name="T7" fmla="*/ 67 h 67"/>
                <a:gd name="T8" fmla="*/ 19 w 396"/>
                <a:gd name="T9" fmla="*/ 65 h 67"/>
                <a:gd name="T10" fmla="*/ 14 w 396"/>
                <a:gd name="T11" fmla="*/ 61 h 67"/>
                <a:gd name="T12" fmla="*/ 9 w 396"/>
                <a:gd name="T13" fmla="*/ 57 h 67"/>
                <a:gd name="T14" fmla="*/ 5 w 396"/>
                <a:gd name="T15" fmla="*/ 52 h 67"/>
                <a:gd name="T16" fmla="*/ 2 w 396"/>
                <a:gd name="T17" fmla="*/ 47 h 67"/>
                <a:gd name="T18" fmla="*/ 0 w 396"/>
                <a:gd name="T19" fmla="*/ 41 h 67"/>
                <a:gd name="T20" fmla="*/ 0 w 396"/>
                <a:gd name="T21" fmla="*/ 34 h 67"/>
                <a:gd name="T22" fmla="*/ 0 w 396"/>
                <a:gd name="T23" fmla="*/ 34 h 67"/>
                <a:gd name="T24" fmla="*/ 0 w 396"/>
                <a:gd name="T25" fmla="*/ 27 h 67"/>
                <a:gd name="T26" fmla="*/ 2 w 396"/>
                <a:gd name="T27" fmla="*/ 21 h 67"/>
                <a:gd name="T28" fmla="*/ 5 w 396"/>
                <a:gd name="T29" fmla="*/ 15 h 67"/>
                <a:gd name="T30" fmla="*/ 9 w 396"/>
                <a:gd name="T31" fmla="*/ 11 h 67"/>
                <a:gd name="T32" fmla="*/ 14 w 396"/>
                <a:gd name="T33" fmla="*/ 7 h 67"/>
                <a:gd name="T34" fmla="*/ 19 w 396"/>
                <a:gd name="T35" fmla="*/ 3 h 67"/>
                <a:gd name="T36" fmla="*/ 26 w 396"/>
                <a:gd name="T37" fmla="*/ 1 h 67"/>
                <a:gd name="T38" fmla="*/ 33 w 396"/>
                <a:gd name="T39" fmla="*/ 0 h 67"/>
                <a:gd name="T40" fmla="*/ 363 w 396"/>
                <a:gd name="T41" fmla="*/ 0 h 67"/>
                <a:gd name="T42" fmla="*/ 363 w 396"/>
                <a:gd name="T43" fmla="*/ 0 h 67"/>
                <a:gd name="T44" fmla="*/ 370 w 396"/>
                <a:gd name="T45" fmla="*/ 1 h 67"/>
                <a:gd name="T46" fmla="*/ 376 w 396"/>
                <a:gd name="T47" fmla="*/ 3 h 67"/>
                <a:gd name="T48" fmla="*/ 382 w 396"/>
                <a:gd name="T49" fmla="*/ 7 h 67"/>
                <a:gd name="T50" fmla="*/ 387 w 396"/>
                <a:gd name="T51" fmla="*/ 11 h 67"/>
                <a:gd name="T52" fmla="*/ 391 w 396"/>
                <a:gd name="T53" fmla="*/ 15 h 67"/>
                <a:gd name="T54" fmla="*/ 394 w 396"/>
                <a:gd name="T55" fmla="*/ 21 h 67"/>
                <a:gd name="T56" fmla="*/ 396 w 396"/>
                <a:gd name="T57" fmla="*/ 27 h 67"/>
                <a:gd name="T58" fmla="*/ 396 w 396"/>
                <a:gd name="T59" fmla="*/ 34 h 67"/>
                <a:gd name="T60" fmla="*/ 396 w 396"/>
                <a:gd name="T61" fmla="*/ 34 h 67"/>
                <a:gd name="T62" fmla="*/ 396 w 396"/>
                <a:gd name="T63" fmla="*/ 41 h 67"/>
                <a:gd name="T64" fmla="*/ 394 w 396"/>
                <a:gd name="T65" fmla="*/ 47 h 67"/>
                <a:gd name="T66" fmla="*/ 391 w 396"/>
                <a:gd name="T67" fmla="*/ 52 h 67"/>
                <a:gd name="T68" fmla="*/ 387 w 396"/>
                <a:gd name="T69" fmla="*/ 57 h 67"/>
                <a:gd name="T70" fmla="*/ 382 w 396"/>
                <a:gd name="T71" fmla="*/ 61 h 67"/>
                <a:gd name="T72" fmla="*/ 376 w 396"/>
                <a:gd name="T73" fmla="*/ 65 h 67"/>
                <a:gd name="T74" fmla="*/ 370 w 396"/>
                <a:gd name="T75" fmla="*/ 67 h 67"/>
                <a:gd name="T76" fmla="*/ 363 w 396"/>
                <a:gd name="T77" fmla="*/ 67 h 67"/>
                <a:gd name="T78" fmla="*/ 363 w 396"/>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7">
                  <a:moveTo>
                    <a:pt x="363" y="67"/>
                  </a:moveTo>
                  <a:lnTo>
                    <a:pt x="33" y="67"/>
                  </a:lnTo>
                  <a:lnTo>
                    <a:pt x="33" y="67"/>
                  </a:lnTo>
                  <a:lnTo>
                    <a:pt x="26" y="67"/>
                  </a:lnTo>
                  <a:lnTo>
                    <a:pt x="19" y="65"/>
                  </a:lnTo>
                  <a:lnTo>
                    <a:pt x="14" y="61"/>
                  </a:lnTo>
                  <a:lnTo>
                    <a:pt x="9" y="57"/>
                  </a:lnTo>
                  <a:lnTo>
                    <a:pt x="5" y="52"/>
                  </a:lnTo>
                  <a:lnTo>
                    <a:pt x="2" y="47"/>
                  </a:lnTo>
                  <a:lnTo>
                    <a:pt x="0" y="41"/>
                  </a:lnTo>
                  <a:lnTo>
                    <a:pt x="0" y="34"/>
                  </a:lnTo>
                  <a:lnTo>
                    <a:pt x="0" y="34"/>
                  </a:lnTo>
                  <a:lnTo>
                    <a:pt x="0" y="27"/>
                  </a:lnTo>
                  <a:lnTo>
                    <a:pt x="2" y="21"/>
                  </a:lnTo>
                  <a:lnTo>
                    <a:pt x="5" y="15"/>
                  </a:lnTo>
                  <a:lnTo>
                    <a:pt x="9" y="11"/>
                  </a:lnTo>
                  <a:lnTo>
                    <a:pt x="14" y="7"/>
                  </a:lnTo>
                  <a:lnTo>
                    <a:pt x="19" y="3"/>
                  </a:lnTo>
                  <a:lnTo>
                    <a:pt x="26" y="1"/>
                  </a:lnTo>
                  <a:lnTo>
                    <a:pt x="33" y="0"/>
                  </a:lnTo>
                  <a:lnTo>
                    <a:pt x="363" y="0"/>
                  </a:lnTo>
                  <a:lnTo>
                    <a:pt x="363" y="0"/>
                  </a:lnTo>
                  <a:lnTo>
                    <a:pt x="370" y="1"/>
                  </a:lnTo>
                  <a:lnTo>
                    <a:pt x="376" y="3"/>
                  </a:lnTo>
                  <a:lnTo>
                    <a:pt x="382" y="7"/>
                  </a:lnTo>
                  <a:lnTo>
                    <a:pt x="387" y="11"/>
                  </a:lnTo>
                  <a:lnTo>
                    <a:pt x="391" y="15"/>
                  </a:lnTo>
                  <a:lnTo>
                    <a:pt x="394" y="21"/>
                  </a:lnTo>
                  <a:lnTo>
                    <a:pt x="396" y="27"/>
                  </a:lnTo>
                  <a:lnTo>
                    <a:pt x="396" y="34"/>
                  </a:lnTo>
                  <a:lnTo>
                    <a:pt x="396" y="34"/>
                  </a:lnTo>
                  <a:lnTo>
                    <a:pt x="396" y="41"/>
                  </a:lnTo>
                  <a:lnTo>
                    <a:pt x="394" y="47"/>
                  </a:lnTo>
                  <a:lnTo>
                    <a:pt x="391" y="52"/>
                  </a:lnTo>
                  <a:lnTo>
                    <a:pt x="387" y="57"/>
                  </a:lnTo>
                  <a:lnTo>
                    <a:pt x="382" y="61"/>
                  </a:lnTo>
                  <a:lnTo>
                    <a:pt x="376" y="65"/>
                  </a:lnTo>
                  <a:lnTo>
                    <a:pt x="370" y="67"/>
                  </a:lnTo>
                  <a:lnTo>
                    <a:pt x="363" y="67"/>
                  </a:lnTo>
                  <a:lnTo>
                    <a:pt x="36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78" name="Freeform 102">
              <a:extLst>
                <a:ext uri="{FF2B5EF4-FFF2-40B4-BE49-F238E27FC236}">
                  <a16:creationId xmlns:a16="http://schemas.microsoft.com/office/drawing/2014/main" id="{9A845205-3A65-0764-7A6E-C3021CB8093E}"/>
                </a:ext>
              </a:extLst>
            </p:cNvPr>
            <p:cNvSpPr>
              <a:spLocks/>
            </p:cNvSpPr>
            <p:nvPr/>
          </p:nvSpPr>
          <p:spPr bwMode="auto">
            <a:xfrm>
              <a:off x="9231313" y="2393950"/>
              <a:ext cx="58738" cy="14288"/>
            </a:xfrm>
            <a:custGeom>
              <a:avLst/>
              <a:gdLst>
                <a:gd name="T0" fmla="*/ 230 w 264"/>
                <a:gd name="T1" fmla="*/ 66 h 66"/>
                <a:gd name="T2" fmla="*/ 33 w 264"/>
                <a:gd name="T3" fmla="*/ 66 h 66"/>
                <a:gd name="T4" fmla="*/ 33 w 264"/>
                <a:gd name="T5" fmla="*/ 66 h 66"/>
                <a:gd name="T6" fmla="*/ 26 w 264"/>
                <a:gd name="T7" fmla="*/ 65 h 66"/>
                <a:gd name="T8" fmla="*/ 19 w 264"/>
                <a:gd name="T9" fmla="*/ 64 h 66"/>
                <a:gd name="T10" fmla="*/ 14 w 264"/>
                <a:gd name="T11" fmla="*/ 61 h 66"/>
                <a:gd name="T12" fmla="*/ 9 w 264"/>
                <a:gd name="T13" fmla="*/ 57 h 66"/>
                <a:gd name="T14" fmla="*/ 5 w 264"/>
                <a:gd name="T15" fmla="*/ 52 h 66"/>
                <a:gd name="T16" fmla="*/ 2 w 264"/>
                <a:gd name="T17" fmla="*/ 47 h 66"/>
                <a:gd name="T18" fmla="*/ 0 w 264"/>
                <a:gd name="T19" fmla="*/ 40 h 66"/>
                <a:gd name="T20" fmla="*/ 0 w 264"/>
                <a:gd name="T21" fmla="*/ 33 h 66"/>
                <a:gd name="T22" fmla="*/ 0 w 264"/>
                <a:gd name="T23" fmla="*/ 33 h 66"/>
                <a:gd name="T24" fmla="*/ 0 w 264"/>
                <a:gd name="T25" fmla="*/ 27 h 66"/>
                <a:gd name="T26" fmla="*/ 2 w 264"/>
                <a:gd name="T27" fmla="*/ 21 h 66"/>
                <a:gd name="T28" fmla="*/ 5 w 264"/>
                <a:gd name="T29" fmla="*/ 14 h 66"/>
                <a:gd name="T30" fmla="*/ 9 w 264"/>
                <a:gd name="T31" fmla="*/ 9 h 66"/>
                <a:gd name="T32" fmla="*/ 14 w 264"/>
                <a:gd name="T33" fmla="*/ 6 h 66"/>
                <a:gd name="T34" fmla="*/ 19 w 264"/>
                <a:gd name="T35" fmla="*/ 3 h 66"/>
                <a:gd name="T36" fmla="*/ 26 w 264"/>
                <a:gd name="T37" fmla="*/ 1 h 66"/>
                <a:gd name="T38" fmla="*/ 33 w 264"/>
                <a:gd name="T39" fmla="*/ 0 h 66"/>
                <a:gd name="T40" fmla="*/ 230 w 264"/>
                <a:gd name="T41" fmla="*/ 0 h 66"/>
                <a:gd name="T42" fmla="*/ 230 w 264"/>
                <a:gd name="T43" fmla="*/ 0 h 66"/>
                <a:gd name="T44" fmla="*/ 238 w 264"/>
                <a:gd name="T45" fmla="*/ 1 h 66"/>
                <a:gd name="T46" fmla="*/ 244 w 264"/>
                <a:gd name="T47" fmla="*/ 3 h 66"/>
                <a:gd name="T48" fmla="*/ 249 w 264"/>
                <a:gd name="T49" fmla="*/ 6 h 66"/>
                <a:gd name="T50" fmla="*/ 254 w 264"/>
                <a:gd name="T51" fmla="*/ 9 h 66"/>
                <a:gd name="T52" fmla="*/ 258 w 264"/>
                <a:gd name="T53" fmla="*/ 14 h 66"/>
                <a:gd name="T54" fmla="*/ 261 w 264"/>
                <a:gd name="T55" fmla="*/ 21 h 66"/>
                <a:gd name="T56" fmla="*/ 264 w 264"/>
                <a:gd name="T57" fmla="*/ 27 h 66"/>
                <a:gd name="T58" fmla="*/ 264 w 264"/>
                <a:gd name="T59" fmla="*/ 33 h 66"/>
                <a:gd name="T60" fmla="*/ 264 w 264"/>
                <a:gd name="T61" fmla="*/ 33 h 66"/>
                <a:gd name="T62" fmla="*/ 264 w 264"/>
                <a:gd name="T63" fmla="*/ 40 h 66"/>
                <a:gd name="T64" fmla="*/ 261 w 264"/>
                <a:gd name="T65" fmla="*/ 47 h 66"/>
                <a:gd name="T66" fmla="*/ 258 w 264"/>
                <a:gd name="T67" fmla="*/ 52 h 66"/>
                <a:gd name="T68" fmla="*/ 254 w 264"/>
                <a:gd name="T69" fmla="*/ 57 h 66"/>
                <a:gd name="T70" fmla="*/ 249 w 264"/>
                <a:gd name="T71" fmla="*/ 61 h 66"/>
                <a:gd name="T72" fmla="*/ 244 w 264"/>
                <a:gd name="T73" fmla="*/ 64 h 66"/>
                <a:gd name="T74" fmla="*/ 238 w 264"/>
                <a:gd name="T75" fmla="*/ 65 h 66"/>
                <a:gd name="T76" fmla="*/ 230 w 264"/>
                <a:gd name="T77" fmla="*/ 66 h 66"/>
                <a:gd name="T78" fmla="*/ 230 w 264"/>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4" h="66">
                  <a:moveTo>
                    <a:pt x="230" y="66"/>
                  </a:moveTo>
                  <a:lnTo>
                    <a:pt x="33" y="66"/>
                  </a:lnTo>
                  <a:lnTo>
                    <a:pt x="33" y="66"/>
                  </a:lnTo>
                  <a:lnTo>
                    <a:pt x="26" y="65"/>
                  </a:lnTo>
                  <a:lnTo>
                    <a:pt x="19" y="64"/>
                  </a:lnTo>
                  <a:lnTo>
                    <a:pt x="14" y="61"/>
                  </a:lnTo>
                  <a:lnTo>
                    <a:pt x="9" y="57"/>
                  </a:lnTo>
                  <a:lnTo>
                    <a:pt x="5" y="52"/>
                  </a:lnTo>
                  <a:lnTo>
                    <a:pt x="2" y="47"/>
                  </a:lnTo>
                  <a:lnTo>
                    <a:pt x="0" y="40"/>
                  </a:lnTo>
                  <a:lnTo>
                    <a:pt x="0" y="33"/>
                  </a:lnTo>
                  <a:lnTo>
                    <a:pt x="0" y="33"/>
                  </a:lnTo>
                  <a:lnTo>
                    <a:pt x="0" y="27"/>
                  </a:lnTo>
                  <a:lnTo>
                    <a:pt x="2" y="21"/>
                  </a:lnTo>
                  <a:lnTo>
                    <a:pt x="5" y="14"/>
                  </a:lnTo>
                  <a:lnTo>
                    <a:pt x="9" y="9"/>
                  </a:lnTo>
                  <a:lnTo>
                    <a:pt x="14" y="6"/>
                  </a:lnTo>
                  <a:lnTo>
                    <a:pt x="19" y="3"/>
                  </a:lnTo>
                  <a:lnTo>
                    <a:pt x="26" y="1"/>
                  </a:lnTo>
                  <a:lnTo>
                    <a:pt x="33" y="0"/>
                  </a:lnTo>
                  <a:lnTo>
                    <a:pt x="230" y="0"/>
                  </a:lnTo>
                  <a:lnTo>
                    <a:pt x="230" y="0"/>
                  </a:lnTo>
                  <a:lnTo>
                    <a:pt x="238" y="1"/>
                  </a:lnTo>
                  <a:lnTo>
                    <a:pt x="244" y="3"/>
                  </a:lnTo>
                  <a:lnTo>
                    <a:pt x="249" y="6"/>
                  </a:lnTo>
                  <a:lnTo>
                    <a:pt x="254" y="9"/>
                  </a:lnTo>
                  <a:lnTo>
                    <a:pt x="258" y="14"/>
                  </a:lnTo>
                  <a:lnTo>
                    <a:pt x="261" y="21"/>
                  </a:lnTo>
                  <a:lnTo>
                    <a:pt x="264" y="27"/>
                  </a:lnTo>
                  <a:lnTo>
                    <a:pt x="264" y="33"/>
                  </a:lnTo>
                  <a:lnTo>
                    <a:pt x="264" y="33"/>
                  </a:lnTo>
                  <a:lnTo>
                    <a:pt x="264" y="40"/>
                  </a:lnTo>
                  <a:lnTo>
                    <a:pt x="261" y="47"/>
                  </a:lnTo>
                  <a:lnTo>
                    <a:pt x="258" y="52"/>
                  </a:lnTo>
                  <a:lnTo>
                    <a:pt x="254" y="57"/>
                  </a:lnTo>
                  <a:lnTo>
                    <a:pt x="249" y="61"/>
                  </a:lnTo>
                  <a:lnTo>
                    <a:pt x="244" y="64"/>
                  </a:lnTo>
                  <a:lnTo>
                    <a:pt x="238" y="65"/>
                  </a:lnTo>
                  <a:lnTo>
                    <a:pt x="230" y="66"/>
                  </a:lnTo>
                  <a:lnTo>
                    <a:pt x="23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sp>
        <p:nvSpPr>
          <p:cNvPr id="89" name="Rectangle: Rounded Corners 88">
            <a:extLst>
              <a:ext uri="{FF2B5EF4-FFF2-40B4-BE49-F238E27FC236}">
                <a16:creationId xmlns:a16="http://schemas.microsoft.com/office/drawing/2014/main" id="{181322C2-FBAB-9CB7-64BF-73BBFC29AC74}"/>
              </a:ext>
            </a:extLst>
          </p:cNvPr>
          <p:cNvSpPr/>
          <p:nvPr/>
        </p:nvSpPr>
        <p:spPr>
          <a:xfrm flipH="1">
            <a:off x="7259055" y="5331867"/>
            <a:ext cx="1910694" cy="822960"/>
          </a:xfrm>
          <a:prstGeom prst="roundRect">
            <a:avLst>
              <a:gd name="adj" fmla="val 4307"/>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000" b="1" i="0" u="none" strike="noStrike" kern="1200" cap="none" spc="0" normalizeH="0" baseline="0" noProof="0">
              <a:ln>
                <a:noFill/>
              </a:ln>
              <a:solidFill>
                <a:prstClr val="black"/>
              </a:solidFill>
              <a:effectLst/>
              <a:uLnTx/>
              <a:uFillTx/>
              <a:latin typeface="Roboto"/>
              <a:ea typeface="+mn-ea"/>
              <a:cs typeface="+mn-cs"/>
            </a:endParaRPr>
          </a:p>
        </p:txBody>
      </p:sp>
      <p:sp>
        <p:nvSpPr>
          <p:cNvPr id="93" name="TextBox 92">
            <a:extLst>
              <a:ext uri="{FF2B5EF4-FFF2-40B4-BE49-F238E27FC236}">
                <a16:creationId xmlns:a16="http://schemas.microsoft.com/office/drawing/2014/main" id="{6F946202-709F-4C6F-3D6A-90115270D118}"/>
              </a:ext>
            </a:extLst>
          </p:cNvPr>
          <p:cNvSpPr txBox="1"/>
          <p:nvPr/>
        </p:nvSpPr>
        <p:spPr>
          <a:xfrm>
            <a:off x="7903977" y="5385557"/>
            <a:ext cx="1166654" cy="71558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Roboto"/>
                <a:ea typeface="+mn-ea"/>
                <a:cs typeface="+mn-cs"/>
              </a:rPr>
              <a:t>MOI</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Roboto"/>
                <a:ea typeface="+mn-ea"/>
                <a:cs typeface="+mn-cs"/>
              </a:rPr>
              <a:t>Finance</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Roboto"/>
                <a:ea typeface="+mn-ea"/>
                <a:cs typeface="+mn-cs"/>
              </a:rPr>
              <a:t>Technology </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Roboto"/>
                <a:ea typeface="+mn-ea"/>
                <a:cs typeface="+mn-cs"/>
              </a:rPr>
              <a:t>Capacity-building</a:t>
            </a:r>
          </a:p>
        </p:txBody>
      </p:sp>
      <p:grpSp>
        <p:nvGrpSpPr>
          <p:cNvPr id="147" name="Group 146">
            <a:extLst>
              <a:ext uri="{FF2B5EF4-FFF2-40B4-BE49-F238E27FC236}">
                <a16:creationId xmlns:a16="http://schemas.microsoft.com/office/drawing/2014/main" id="{87B9AADC-3B32-B2FC-9512-44677F496791}"/>
              </a:ext>
            </a:extLst>
          </p:cNvPr>
          <p:cNvGrpSpPr/>
          <p:nvPr/>
        </p:nvGrpSpPr>
        <p:grpSpPr>
          <a:xfrm>
            <a:off x="7365007" y="5429167"/>
            <a:ext cx="392153" cy="392153"/>
            <a:chOff x="9703038" y="2308313"/>
            <a:chExt cx="491754" cy="491754"/>
          </a:xfrm>
        </p:grpSpPr>
        <p:sp>
          <p:nvSpPr>
            <p:cNvPr id="91" name="Oval 90">
              <a:extLst>
                <a:ext uri="{FF2B5EF4-FFF2-40B4-BE49-F238E27FC236}">
                  <a16:creationId xmlns:a16="http://schemas.microsoft.com/office/drawing/2014/main" id="{E10DF6D0-4C4E-E300-681A-1E7D2D833EB6}"/>
                </a:ext>
              </a:extLst>
            </p:cNvPr>
            <p:cNvSpPr/>
            <p:nvPr/>
          </p:nvSpPr>
          <p:spPr>
            <a:xfrm>
              <a:off x="9703038" y="2308313"/>
              <a:ext cx="491754" cy="4917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800" b="0" i="0" u="none" strike="noStrike" kern="1200" cap="none" spc="0" normalizeH="0" baseline="0" noProof="0" dirty="0">
                <a:ln>
                  <a:noFill/>
                </a:ln>
                <a:solidFill>
                  <a:prstClr val="white"/>
                </a:solidFill>
                <a:effectLst/>
                <a:uLnTx/>
                <a:uFillTx/>
                <a:latin typeface="Roboto"/>
                <a:ea typeface="+mn-ea"/>
                <a:cs typeface="+mn-cs"/>
              </a:endParaRPr>
            </a:p>
          </p:txBody>
        </p:sp>
        <p:grpSp>
          <p:nvGrpSpPr>
            <p:cNvPr id="99" name="Group 98">
              <a:extLst>
                <a:ext uri="{FF2B5EF4-FFF2-40B4-BE49-F238E27FC236}">
                  <a16:creationId xmlns:a16="http://schemas.microsoft.com/office/drawing/2014/main" id="{46097D0D-7467-5FD8-2CF4-D1D719B1F987}"/>
                </a:ext>
              </a:extLst>
            </p:cNvPr>
            <p:cNvGrpSpPr/>
            <p:nvPr/>
          </p:nvGrpSpPr>
          <p:grpSpPr>
            <a:xfrm>
              <a:off x="9795487" y="2400762"/>
              <a:ext cx="306856" cy="306856"/>
              <a:chOff x="4116388" y="3968751"/>
              <a:chExt cx="360363" cy="360363"/>
            </a:xfrm>
            <a:solidFill>
              <a:schemeClr val="bg1"/>
            </a:solidFill>
          </p:grpSpPr>
          <p:sp>
            <p:nvSpPr>
              <p:cNvPr id="100" name="Freeform 16">
                <a:extLst>
                  <a:ext uri="{FF2B5EF4-FFF2-40B4-BE49-F238E27FC236}">
                    <a16:creationId xmlns:a16="http://schemas.microsoft.com/office/drawing/2014/main" id="{A25AEAEE-4E35-B181-C7D3-CBD923D84932}"/>
                  </a:ext>
                </a:extLst>
              </p:cNvPr>
              <p:cNvSpPr>
                <a:spLocks noEditPoints="1"/>
              </p:cNvSpPr>
              <p:nvPr/>
            </p:nvSpPr>
            <p:spPr bwMode="auto">
              <a:xfrm>
                <a:off x="4116388" y="3968751"/>
                <a:ext cx="360363" cy="360363"/>
              </a:xfrm>
              <a:custGeom>
                <a:avLst/>
                <a:gdLst>
                  <a:gd name="T0" fmla="*/ 575 w 1361"/>
                  <a:gd name="T1" fmla="*/ 1352 h 1361"/>
                  <a:gd name="T2" fmla="*/ 532 w 1361"/>
                  <a:gd name="T3" fmla="*/ 1161 h 1361"/>
                  <a:gd name="T4" fmla="*/ 315 w 1361"/>
                  <a:gd name="T5" fmla="*/ 1245 h 1361"/>
                  <a:gd name="T6" fmla="*/ 279 w 1361"/>
                  <a:gd name="T7" fmla="*/ 1242 h 1361"/>
                  <a:gd name="T8" fmla="*/ 110 w 1361"/>
                  <a:gd name="T9" fmla="*/ 1061 h 1361"/>
                  <a:gd name="T10" fmla="*/ 227 w 1361"/>
                  <a:gd name="T11" fmla="*/ 911 h 1361"/>
                  <a:gd name="T12" fmla="*/ 22 w 1361"/>
                  <a:gd name="T13" fmla="*/ 793 h 1361"/>
                  <a:gd name="T14" fmla="*/ 0 w 1361"/>
                  <a:gd name="T15" fmla="*/ 765 h 1361"/>
                  <a:gd name="T16" fmla="*/ 12 w 1361"/>
                  <a:gd name="T17" fmla="*/ 572 h 1361"/>
                  <a:gd name="T18" fmla="*/ 209 w 1361"/>
                  <a:gd name="T19" fmla="*/ 498 h 1361"/>
                  <a:gd name="T20" fmla="*/ 112 w 1361"/>
                  <a:gd name="T21" fmla="*/ 310 h 1361"/>
                  <a:gd name="T22" fmla="*/ 118 w 1361"/>
                  <a:gd name="T23" fmla="*/ 279 h 1361"/>
                  <a:gd name="T24" fmla="*/ 304 w 1361"/>
                  <a:gd name="T25" fmla="*/ 111 h 1361"/>
                  <a:gd name="T26" fmla="*/ 465 w 1361"/>
                  <a:gd name="T27" fmla="*/ 221 h 1361"/>
                  <a:gd name="T28" fmla="*/ 569 w 1361"/>
                  <a:gd name="T29" fmla="*/ 17 h 1361"/>
                  <a:gd name="T30" fmla="*/ 765 w 1361"/>
                  <a:gd name="T31" fmla="*/ 0 h 1361"/>
                  <a:gd name="T32" fmla="*/ 791 w 1361"/>
                  <a:gd name="T33" fmla="*/ 17 h 1361"/>
                  <a:gd name="T34" fmla="*/ 895 w 1361"/>
                  <a:gd name="T35" fmla="*/ 221 h 1361"/>
                  <a:gd name="T36" fmla="*/ 1056 w 1361"/>
                  <a:gd name="T37" fmla="*/ 111 h 1361"/>
                  <a:gd name="T38" fmla="*/ 1241 w 1361"/>
                  <a:gd name="T39" fmla="*/ 279 h 1361"/>
                  <a:gd name="T40" fmla="*/ 1248 w 1361"/>
                  <a:gd name="T41" fmla="*/ 310 h 1361"/>
                  <a:gd name="T42" fmla="*/ 1151 w 1361"/>
                  <a:gd name="T43" fmla="*/ 498 h 1361"/>
                  <a:gd name="T44" fmla="*/ 1348 w 1361"/>
                  <a:gd name="T45" fmla="*/ 572 h 1361"/>
                  <a:gd name="T46" fmla="*/ 1361 w 1361"/>
                  <a:gd name="T47" fmla="*/ 765 h 1361"/>
                  <a:gd name="T48" fmla="*/ 1337 w 1361"/>
                  <a:gd name="T49" fmla="*/ 793 h 1361"/>
                  <a:gd name="T50" fmla="*/ 1132 w 1361"/>
                  <a:gd name="T51" fmla="*/ 911 h 1361"/>
                  <a:gd name="T52" fmla="*/ 1250 w 1361"/>
                  <a:gd name="T53" fmla="*/ 1061 h 1361"/>
                  <a:gd name="T54" fmla="*/ 1077 w 1361"/>
                  <a:gd name="T55" fmla="*/ 1245 h 1361"/>
                  <a:gd name="T56" fmla="*/ 1040 w 1361"/>
                  <a:gd name="T57" fmla="*/ 1242 h 1361"/>
                  <a:gd name="T58" fmla="*/ 793 w 1361"/>
                  <a:gd name="T59" fmla="*/ 1170 h 1361"/>
                  <a:gd name="T60" fmla="*/ 781 w 1361"/>
                  <a:gd name="T61" fmla="*/ 1356 h 1361"/>
                  <a:gd name="T62" fmla="*/ 736 w 1361"/>
                  <a:gd name="T63" fmla="*/ 1148 h 1361"/>
                  <a:gd name="T64" fmla="*/ 750 w 1361"/>
                  <a:gd name="T65" fmla="*/ 1125 h 1361"/>
                  <a:gd name="T66" fmla="*/ 878 w 1361"/>
                  <a:gd name="T67" fmla="*/ 1085 h 1361"/>
                  <a:gd name="T68" fmla="*/ 933 w 1361"/>
                  <a:gd name="T69" fmla="*/ 1063 h 1361"/>
                  <a:gd name="T70" fmla="*/ 1071 w 1361"/>
                  <a:gd name="T71" fmla="*/ 951 h 1361"/>
                  <a:gd name="T72" fmla="*/ 1064 w 1361"/>
                  <a:gd name="T73" fmla="*/ 925 h 1361"/>
                  <a:gd name="T74" fmla="*/ 1100 w 1361"/>
                  <a:gd name="T75" fmla="*/ 834 h 1361"/>
                  <a:gd name="T76" fmla="*/ 1130 w 1361"/>
                  <a:gd name="T77" fmla="*/ 743 h 1361"/>
                  <a:gd name="T78" fmla="*/ 1148 w 1361"/>
                  <a:gd name="T79" fmla="*/ 624 h 1361"/>
                  <a:gd name="T80" fmla="*/ 1124 w 1361"/>
                  <a:gd name="T81" fmla="*/ 610 h 1361"/>
                  <a:gd name="T82" fmla="*/ 1085 w 1361"/>
                  <a:gd name="T83" fmla="*/ 482 h 1361"/>
                  <a:gd name="T84" fmla="*/ 1063 w 1361"/>
                  <a:gd name="T85" fmla="*/ 427 h 1361"/>
                  <a:gd name="T86" fmla="*/ 951 w 1361"/>
                  <a:gd name="T87" fmla="*/ 289 h 1361"/>
                  <a:gd name="T88" fmla="*/ 924 w 1361"/>
                  <a:gd name="T89" fmla="*/ 297 h 1361"/>
                  <a:gd name="T90" fmla="*/ 841 w 1361"/>
                  <a:gd name="T91" fmla="*/ 263 h 1361"/>
                  <a:gd name="T92" fmla="*/ 742 w 1361"/>
                  <a:gd name="T93" fmla="*/ 230 h 1361"/>
                  <a:gd name="T94" fmla="*/ 623 w 1361"/>
                  <a:gd name="T95" fmla="*/ 212 h 1361"/>
                  <a:gd name="T96" fmla="*/ 610 w 1361"/>
                  <a:gd name="T97" fmla="*/ 237 h 1361"/>
                  <a:gd name="T98" fmla="*/ 482 w 1361"/>
                  <a:gd name="T99" fmla="*/ 275 h 1361"/>
                  <a:gd name="T100" fmla="*/ 426 w 1361"/>
                  <a:gd name="T101" fmla="*/ 297 h 1361"/>
                  <a:gd name="T102" fmla="*/ 289 w 1361"/>
                  <a:gd name="T103" fmla="*/ 409 h 1361"/>
                  <a:gd name="T104" fmla="*/ 297 w 1361"/>
                  <a:gd name="T105" fmla="*/ 436 h 1361"/>
                  <a:gd name="T106" fmla="*/ 260 w 1361"/>
                  <a:gd name="T107" fmla="*/ 527 h 1361"/>
                  <a:gd name="T108" fmla="*/ 229 w 1361"/>
                  <a:gd name="T109" fmla="*/ 617 h 1361"/>
                  <a:gd name="T110" fmla="*/ 212 w 1361"/>
                  <a:gd name="T111" fmla="*/ 737 h 1361"/>
                  <a:gd name="T112" fmla="*/ 235 w 1361"/>
                  <a:gd name="T113" fmla="*/ 750 h 1361"/>
                  <a:gd name="T114" fmla="*/ 275 w 1361"/>
                  <a:gd name="T115" fmla="*/ 878 h 1361"/>
                  <a:gd name="T116" fmla="*/ 297 w 1361"/>
                  <a:gd name="T117" fmla="*/ 935 h 1361"/>
                  <a:gd name="T118" fmla="*/ 409 w 1361"/>
                  <a:gd name="T119" fmla="*/ 1071 h 1361"/>
                  <a:gd name="T120" fmla="*/ 435 w 1361"/>
                  <a:gd name="T121" fmla="*/ 1064 h 1361"/>
                  <a:gd name="T122" fmla="*/ 526 w 1361"/>
                  <a:gd name="T123" fmla="*/ 1100 h 1361"/>
                  <a:gd name="T124" fmla="*/ 617 w 1361"/>
                  <a:gd name="T125" fmla="*/ 1131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1" h="1361">
                    <a:moveTo>
                      <a:pt x="765" y="1361"/>
                    </a:moveTo>
                    <a:lnTo>
                      <a:pt x="595" y="1361"/>
                    </a:lnTo>
                    <a:lnTo>
                      <a:pt x="595" y="1361"/>
                    </a:lnTo>
                    <a:lnTo>
                      <a:pt x="589" y="1360"/>
                    </a:lnTo>
                    <a:lnTo>
                      <a:pt x="584" y="1358"/>
                    </a:lnTo>
                    <a:lnTo>
                      <a:pt x="579" y="1356"/>
                    </a:lnTo>
                    <a:lnTo>
                      <a:pt x="575" y="1352"/>
                    </a:lnTo>
                    <a:lnTo>
                      <a:pt x="572" y="1348"/>
                    </a:lnTo>
                    <a:lnTo>
                      <a:pt x="569" y="1344"/>
                    </a:lnTo>
                    <a:lnTo>
                      <a:pt x="567" y="1338"/>
                    </a:lnTo>
                    <a:lnTo>
                      <a:pt x="567" y="1333"/>
                    </a:lnTo>
                    <a:lnTo>
                      <a:pt x="567" y="1170"/>
                    </a:lnTo>
                    <a:lnTo>
                      <a:pt x="567" y="1170"/>
                    </a:lnTo>
                    <a:lnTo>
                      <a:pt x="532" y="1161"/>
                    </a:lnTo>
                    <a:lnTo>
                      <a:pt x="498" y="1151"/>
                    </a:lnTo>
                    <a:lnTo>
                      <a:pt x="465" y="1140"/>
                    </a:lnTo>
                    <a:lnTo>
                      <a:pt x="449" y="1133"/>
                    </a:lnTo>
                    <a:lnTo>
                      <a:pt x="434" y="1127"/>
                    </a:lnTo>
                    <a:lnTo>
                      <a:pt x="319" y="1242"/>
                    </a:lnTo>
                    <a:lnTo>
                      <a:pt x="319" y="1242"/>
                    </a:lnTo>
                    <a:lnTo>
                      <a:pt x="315" y="1245"/>
                    </a:lnTo>
                    <a:lnTo>
                      <a:pt x="310" y="1248"/>
                    </a:lnTo>
                    <a:lnTo>
                      <a:pt x="305" y="1249"/>
                    </a:lnTo>
                    <a:lnTo>
                      <a:pt x="299" y="1250"/>
                    </a:lnTo>
                    <a:lnTo>
                      <a:pt x="294" y="1249"/>
                    </a:lnTo>
                    <a:lnTo>
                      <a:pt x="288" y="1248"/>
                    </a:lnTo>
                    <a:lnTo>
                      <a:pt x="284" y="1245"/>
                    </a:lnTo>
                    <a:lnTo>
                      <a:pt x="279" y="1242"/>
                    </a:lnTo>
                    <a:lnTo>
                      <a:pt x="118" y="1081"/>
                    </a:lnTo>
                    <a:lnTo>
                      <a:pt x="118" y="1081"/>
                    </a:lnTo>
                    <a:lnTo>
                      <a:pt x="115" y="1077"/>
                    </a:lnTo>
                    <a:lnTo>
                      <a:pt x="112" y="1072"/>
                    </a:lnTo>
                    <a:lnTo>
                      <a:pt x="111" y="1067"/>
                    </a:lnTo>
                    <a:lnTo>
                      <a:pt x="110" y="1061"/>
                    </a:lnTo>
                    <a:lnTo>
                      <a:pt x="110" y="1061"/>
                    </a:lnTo>
                    <a:lnTo>
                      <a:pt x="111" y="1056"/>
                    </a:lnTo>
                    <a:lnTo>
                      <a:pt x="112" y="1050"/>
                    </a:lnTo>
                    <a:lnTo>
                      <a:pt x="115" y="1046"/>
                    </a:lnTo>
                    <a:lnTo>
                      <a:pt x="118" y="1041"/>
                    </a:lnTo>
                    <a:lnTo>
                      <a:pt x="234" y="926"/>
                    </a:lnTo>
                    <a:lnTo>
                      <a:pt x="234" y="926"/>
                    </a:lnTo>
                    <a:lnTo>
                      <a:pt x="227" y="911"/>
                    </a:lnTo>
                    <a:lnTo>
                      <a:pt x="221" y="895"/>
                    </a:lnTo>
                    <a:lnTo>
                      <a:pt x="209" y="863"/>
                    </a:lnTo>
                    <a:lnTo>
                      <a:pt x="199" y="828"/>
                    </a:lnTo>
                    <a:lnTo>
                      <a:pt x="190" y="793"/>
                    </a:lnTo>
                    <a:lnTo>
                      <a:pt x="28" y="793"/>
                    </a:lnTo>
                    <a:lnTo>
                      <a:pt x="28" y="793"/>
                    </a:lnTo>
                    <a:lnTo>
                      <a:pt x="22" y="793"/>
                    </a:lnTo>
                    <a:lnTo>
                      <a:pt x="17" y="791"/>
                    </a:lnTo>
                    <a:lnTo>
                      <a:pt x="12" y="789"/>
                    </a:lnTo>
                    <a:lnTo>
                      <a:pt x="8" y="785"/>
                    </a:lnTo>
                    <a:lnTo>
                      <a:pt x="4" y="781"/>
                    </a:lnTo>
                    <a:lnTo>
                      <a:pt x="2" y="776"/>
                    </a:lnTo>
                    <a:lnTo>
                      <a:pt x="0" y="771"/>
                    </a:lnTo>
                    <a:lnTo>
                      <a:pt x="0" y="765"/>
                    </a:lnTo>
                    <a:lnTo>
                      <a:pt x="0" y="595"/>
                    </a:lnTo>
                    <a:lnTo>
                      <a:pt x="0" y="595"/>
                    </a:lnTo>
                    <a:lnTo>
                      <a:pt x="0" y="589"/>
                    </a:lnTo>
                    <a:lnTo>
                      <a:pt x="2" y="584"/>
                    </a:lnTo>
                    <a:lnTo>
                      <a:pt x="4" y="579"/>
                    </a:lnTo>
                    <a:lnTo>
                      <a:pt x="8" y="575"/>
                    </a:lnTo>
                    <a:lnTo>
                      <a:pt x="12" y="572"/>
                    </a:lnTo>
                    <a:lnTo>
                      <a:pt x="17" y="569"/>
                    </a:lnTo>
                    <a:lnTo>
                      <a:pt x="22" y="568"/>
                    </a:lnTo>
                    <a:lnTo>
                      <a:pt x="28" y="567"/>
                    </a:lnTo>
                    <a:lnTo>
                      <a:pt x="190" y="567"/>
                    </a:lnTo>
                    <a:lnTo>
                      <a:pt x="190" y="567"/>
                    </a:lnTo>
                    <a:lnTo>
                      <a:pt x="199" y="533"/>
                    </a:lnTo>
                    <a:lnTo>
                      <a:pt x="209" y="498"/>
                    </a:lnTo>
                    <a:lnTo>
                      <a:pt x="221" y="465"/>
                    </a:lnTo>
                    <a:lnTo>
                      <a:pt x="227" y="450"/>
                    </a:lnTo>
                    <a:lnTo>
                      <a:pt x="234" y="435"/>
                    </a:lnTo>
                    <a:lnTo>
                      <a:pt x="118" y="319"/>
                    </a:lnTo>
                    <a:lnTo>
                      <a:pt x="118" y="319"/>
                    </a:lnTo>
                    <a:lnTo>
                      <a:pt x="115" y="315"/>
                    </a:lnTo>
                    <a:lnTo>
                      <a:pt x="112" y="310"/>
                    </a:lnTo>
                    <a:lnTo>
                      <a:pt x="111" y="305"/>
                    </a:lnTo>
                    <a:lnTo>
                      <a:pt x="110" y="299"/>
                    </a:lnTo>
                    <a:lnTo>
                      <a:pt x="110" y="299"/>
                    </a:lnTo>
                    <a:lnTo>
                      <a:pt x="111" y="294"/>
                    </a:lnTo>
                    <a:lnTo>
                      <a:pt x="112" y="288"/>
                    </a:lnTo>
                    <a:lnTo>
                      <a:pt x="115" y="284"/>
                    </a:lnTo>
                    <a:lnTo>
                      <a:pt x="118" y="279"/>
                    </a:lnTo>
                    <a:lnTo>
                      <a:pt x="279" y="119"/>
                    </a:lnTo>
                    <a:lnTo>
                      <a:pt x="279" y="119"/>
                    </a:lnTo>
                    <a:lnTo>
                      <a:pt x="284" y="115"/>
                    </a:lnTo>
                    <a:lnTo>
                      <a:pt x="289" y="112"/>
                    </a:lnTo>
                    <a:lnTo>
                      <a:pt x="294" y="111"/>
                    </a:lnTo>
                    <a:lnTo>
                      <a:pt x="299" y="110"/>
                    </a:lnTo>
                    <a:lnTo>
                      <a:pt x="304" y="111"/>
                    </a:lnTo>
                    <a:lnTo>
                      <a:pt x="310" y="112"/>
                    </a:lnTo>
                    <a:lnTo>
                      <a:pt x="315" y="115"/>
                    </a:lnTo>
                    <a:lnTo>
                      <a:pt x="319" y="119"/>
                    </a:lnTo>
                    <a:lnTo>
                      <a:pt x="434" y="235"/>
                    </a:lnTo>
                    <a:lnTo>
                      <a:pt x="434" y="235"/>
                    </a:lnTo>
                    <a:lnTo>
                      <a:pt x="450" y="228"/>
                    </a:lnTo>
                    <a:lnTo>
                      <a:pt x="465" y="221"/>
                    </a:lnTo>
                    <a:lnTo>
                      <a:pt x="498" y="209"/>
                    </a:lnTo>
                    <a:lnTo>
                      <a:pt x="532" y="199"/>
                    </a:lnTo>
                    <a:lnTo>
                      <a:pt x="567" y="190"/>
                    </a:lnTo>
                    <a:lnTo>
                      <a:pt x="567" y="28"/>
                    </a:lnTo>
                    <a:lnTo>
                      <a:pt x="567" y="28"/>
                    </a:lnTo>
                    <a:lnTo>
                      <a:pt x="567" y="22"/>
                    </a:lnTo>
                    <a:lnTo>
                      <a:pt x="569" y="17"/>
                    </a:lnTo>
                    <a:lnTo>
                      <a:pt x="572" y="12"/>
                    </a:lnTo>
                    <a:lnTo>
                      <a:pt x="575" y="8"/>
                    </a:lnTo>
                    <a:lnTo>
                      <a:pt x="579" y="5"/>
                    </a:lnTo>
                    <a:lnTo>
                      <a:pt x="584" y="2"/>
                    </a:lnTo>
                    <a:lnTo>
                      <a:pt x="589" y="0"/>
                    </a:lnTo>
                    <a:lnTo>
                      <a:pt x="595" y="0"/>
                    </a:lnTo>
                    <a:lnTo>
                      <a:pt x="765" y="0"/>
                    </a:lnTo>
                    <a:lnTo>
                      <a:pt x="765" y="0"/>
                    </a:lnTo>
                    <a:lnTo>
                      <a:pt x="771" y="0"/>
                    </a:lnTo>
                    <a:lnTo>
                      <a:pt x="776" y="2"/>
                    </a:lnTo>
                    <a:lnTo>
                      <a:pt x="781" y="5"/>
                    </a:lnTo>
                    <a:lnTo>
                      <a:pt x="785" y="8"/>
                    </a:lnTo>
                    <a:lnTo>
                      <a:pt x="789" y="12"/>
                    </a:lnTo>
                    <a:lnTo>
                      <a:pt x="791" y="17"/>
                    </a:lnTo>
                    <a:lnTo>
                      <a:pt x="793" y="22"/>
                    </a:lnTo>
                    <a:lnTo>
                      <a:pt x="793" y="28"/>
                    </a:lnTo>
                    <a:lnTo>
                      <a:pt x="793" y="190"/>
                    </a:lnTo>
                    <a:lnTo>
                      <a:pt x="793" y="190"/>
                    </a:lnTo>
                    <a:lnTo>
                      <a:pt x="827" y="199"/>
                    </a:lnTo>
                    <a:lnTo>
                      <a:pt x="862" y="209"/>
                    </a:lnTo>
                    <a:lnTo>
                      <a:pt x="895" y="221"/>
                    </a:lnTo>
                    <a:lnTo>
                      <a:pt x="911" y="228"/>
                    </a:lnTo>
                    <a:lnTo>
                      <a:pt x="925" y="235"/>
                    </a:lnTo>
                    <a:lnTo>
                      <a:pt x="1040" y="119"/>
                    </a:lnTo>
                    <a:lnTo>
                      <a:pt x="1040" y="119"/>
                    </a:lnTo>
                    <a:lnTo>
                      <a:pt x="1046" y="115"/>
                    </a:lnTo>
                    <a:lnTo>
                      <a:pt x="1050" y="112"/>
                    </a:lnTo>
                    <a:lnTo>
                      <a:pt x="1056" y="111"/>
                    </a:lnTo>
                    <a:lnTo>
                      <a:pt x="1061" y="110"/>
                    </a:lnTo>
                    <a:lnTo>
                      <a:pt x="1066" y="111"/>
                    </a:lnTo>
                    <a:lnTo>
                      <a:pt x="1072" y="112"/>
                    </a:lnTo>
                    <a:lnTo>
                      <a:pt x="1076" y="115"/>
                    </a:lnTo>
                    <a:lnTo>
                      <a:pt x="1081" y="119"/>
                    </a:lnTo>
                    <a:lnTo>
                      <a:pt x="1241" y="279"/>
                    </a:lnTo>
                    <a:lnTo>
                      <a:pt x="1241" y="279"/>
                    </a:lnTo>
                    <a:lnTo>
                      <a:pt x="1244" y="284"/>
                    </a:lnTo>
                    <a:lnTo>
                      <a:pt x="1248" y="288"/>
                    </a:lnTo>
                    <a:lnTo>
                      <a:pt x="1249" y="294"/>
                    </a:lnTo>
                    <a:lnTo>
                      <a:pt x="1250" y="299"/>
                    </a:lnTo>
                    <a:lnTo>
                      <a:pt x="1250" y="299"/>
                    </a:lnTo>
                    <a:lnTo>
                      <a:pt x="1249" y="305"/>
                    </a:lnTo>
                    <a:lnTo>
                      <a:pt x="1248" y="310"/>
                    </a:lnTo>
                    <a:lnTo>
                      <a:pt x="1244" y="315"/>
                    </a:lnTo>
                    <a:lnTo>
                      <a:pt x="1241" y="319"/>
                    </a:lnTo>
                    <a:lnTo>
                      <a:pt x="1126" y="435"/>
                    </a:lnTo>
                    <a:lnTo>
                      <a:pt x="1126" y="435"/>
                    </a:lnTo>
                    <a:lnTo>
                      <a:pt x="1132" y="450"/>
                    </a:lnTo>
                    <a:lnTo>
                      <a:pt x="1139" y="465"/>
                    </a:lnTo>
                    <a:lnTo>
                      <a:pt x="1151" y="498"/>
                    </a:lnTo>
                    <a:lnTo>
                      <a:pt x="1161" y="533"/>
                    </a:lnTo>
                    <a:lnTo>
                      <a:pt x="1170" y="567"/>
                    </a:lnTo>
                    <a:lnTo>
                      <a:pt x="1331" y="567"/>
                    </a:lnTo>
                    <a:lnTo>
                      <a:pt x="1331" y="567"/>
                    </a:lnTo>
                    <a:lnTo>
                      <a:pt x="1337" y="568"/>
                    </a:lnTo>
                    <a:lnTo>
                      <a:pt x="1342" y="569"/>
                    </a:lnTo>
                    <a:lnTo>
                      <a:pt x="1348" y="572"/>
                    </a:lnTo>
                    <a:lnTo>
                      <a:pt x="1352" y="575"/>
                    </a:lnTo>
                    <a:lnTo>
                      <a:pt x="1356" y="579"/>
                    </a:lnTo>
                    <a:lnTo>
                      <a:pt x="1358" y="584"/>
                    </a:lnTo>
                    <a:lnTo>
                      <a:pt x="1360" y="589"/>
                    </a:lnTo>
                    <a:lnTo>
                      <a:pt x="1361" y="595"/>
                    </a:lnTo>
                    <a:lnTo>
                      <a:pt x="1361" y="765"/>
                    </a:lnTo>
                    <a:lnTo>
                      <a:pt x="1361" y="765"/>
                    </a:lnTo>
                    <a:lnTo>
                      <a:pt x="1360" y="771"/>
                    </a:lnTo>
                    <a:lnTo>
                      <a:pt x="1358" y="776"/>
                    </a:lnTo>
                    <a:lnTo>
                      <a:pt x="1356" y="781"/>
                    </a:lnTo>
                    <a:lnTo>
                      <a:pt x="1352" y="785"/>
                    </a:lnTo>
                    <a:lnTo>
                      <a:pt x="1348" y="789"/>
                    </a:lnTo>
                    <a:lnTo>
                      <a:pt x="1342" y="791"/>
                    </a:lnTo>
                    <a:lnTo>
                      <a:pt x="1337" y="793"/>
                    </a:lnTo>
                    <a:lnTo>
                      <a:pt x="1331" y="793"/>
                    </a:lnTo>
                    <a:lnTo>
                      <a:pt x="1170" y="793"/>
                    </a:lnTo>
                    <a:lnTo>
                      <a:pt x="1170" y="793"/>
                    </a:lnTo>
                    <a:lnTo>
                      <a:pt x="1161" y="828"/>
                    </a:lnTo>
                    <a:lnTo>
                      <a:pt x="1151" y="863"/>
                    </a:lnTo>
                    <a:lnTo>
                      <a:pt x="1138" y="895"/>
                    </a:lnTo>
                    <a:lnTo>
                      <a:pt x="1132" y="911"/>
                    </a:lnTo>
                    <a:lnTo>
                      <a:pt x="1126" y="926"/>
                    </a:lnTo>
                    <a:lnTo>
                      <a:pt x="1241" y="1041"/>
                    </a:lnTo>
                    <a:lnTo>
                      <a:pt x="1241" y="1041"/>
                    </a:lnTo>
                    <a:lnTo>
                      <a:pt x="1244" y="1046"/>
                    </a:lnTo>
                    <a:lnTo>
                      <a:pt x="1248" y="1051"/>
                    </a:lnTo>
                    <a:lnTo>
                      <a:pt x="1249" y="1056"/>
                    </a:lnTo>
                    <a:lnTo>
                      <a:pt x="1250" y="1061"/>
                    </a:lnTo>
                    <a:lnTo>
                      <a:pt x="1249" y="1067"/>
                    </a:lnTo>
                    <a:lnTo>
                      <a:pt x="1248" y="1072"/>
                    </a:lnTo>
                    <a:lnTo>
                      <a:pt x="1244" y="1077"/>
                    </a:lnTo>
                    <a:lnTo>
                      <a:pt x="1241" y="1081"/>
                    </a:lnTo>
                    <a:lnTo>
                      <a:pt x="1081" y="1242"/>
                    </a:lnTo>
                    <a:lnTo>
                      <a:pt x="1081" y="1242"/>
                    </a:lnTo>
                    <a:lnTo>
                      <a:pt x="1077" y="1245"/>
                    </a:lnTo>
                    <a:lnTo>
                      <a:pt x="1072" y="1248"/>
                    </a:lnTo>
                    <a:lnTo>
                      <a:pt x="1066" y="1249"/>
                    </a:lnTo>
                    <a:lnTo>
                      <a:pt x="1061" y="1250"/>
                    </a:lnTo>
                    <a:lnTo>
                      <a:pt x="1056" y="1249"/>
                    </a:lnTo>
                    <a:lnTo>
                      <a:pt x="1051" y="1248"/>
                    </a:lnTo>
                    <a:lnTo>
                      <a:pt x="1046" y="1245"/>
                    </a:lnTo>
                    <a:lnTo>
                      <a:pt x="1040" y="1242"/>
                    </a:lnTo>
                    <a:lnTo>
                      <a:pt x="925" y="1127"/>
                    </a:lnTo>
                    <a:lnTo>
                      <a:pt x="925" y="1127"/>
                    </a:lnTo>
                    <a:lnTo>
                      <a:pt x="911" y="1133"/>
                    </a:lnTo>
                    <a:lnTo>
                      <a:pt x="895" y="1140"/>
                    </a:lnTo>
                    <a:lnTo>
                      <a:pt x="862" y="1151"/>
                    </a:lnTo>
                    <a:lnTo>
                      <a:pt x="827" y="1161"/>
                    </a:lnTo>
                    <a:lnTo>
                      <a:pt x="793" y="1170"/>
                    </a:lnTo>
                    <a:lnTo>
                      <a:pt x="793" y="1333"/>
                    </a:lnTo>
                    <a:lnTo>
                      <a:pt x="793" y="1333"/>
                    </a:lnTo>
                    <a:lnTo>
                      <a:pt x="793" y="1338"/>
                    </a:lnTo>
                    <a:lnTo>
                      <a:pt x="791" y="1344"/>
                    </a:lnTo>
                    <a:lnTo>
                      <a:pt x="789" y="1348"/>
                    </a:lnTo>
                    <a:lnTo>
                      <a:pt x="785" y="1352"/>
                    </a:lnTo>
                    <a:lnTo>
                      <a:pt x="781" y="1356"/>
                    </a:lnTo>
                    <a:lnTo>
                      <a:pt x="776" y="1358"/>
                    </a:lnTo>
                    <a:lnTo>
                      <a:pt x="771" y="1360"/>
                    </a:lnTo>
                    <a:lnTo>
                      <a:pt x="765" y="1361"/>
                    </a:lnTo>
                    <a:lnTo>
                      <a:pt x="765" y="1361"/>
                    </a:lnTo>
                    <a:close/>
                    <a:moveTo>
                      <a:pt x="623" y="1304"/>
                    </a:moveTo>
                    <a:lnTo>
                      <a:pt x="736" y="1304"/>
                    </a:lnTo>
                    <a:lnTo>
                      <a:pt x="736" y="1148"/>
                    </a:lnTo>
                    <a:lnTo>
                      <a:pt x="736" y="1148"/>
                    </a:lnTo>
                    <a:lnTo>
                      <a:pt x="737" y="1144"/>
                    </a:lnTo>
                    <a:lnTo>
                      <a:pt x="738" y="1139"/>
                    </a:lnTo>
                    <a:lnTo>
                      <a:pt x="740" y="1135"/>
                    </a:lnTo>
                    <a:lnTo>
                      <a:pt x="742" y="1131"/>
                    </a:lnTo>
                    <a:lnTo>
                      <a:pt x="746" y="1128"/>
                    </a:lnTo>
                    <a:lnTo>
                      <a:pt x="750" y="1125"/>
                    </a:lnTo>
                    <a:lnTo>
                      <a:pt x="754" y="1123"/>
                    </a:lnTo>
                    <a:lnTo>
                      <a:pt x="759" y="1121"/>
                    </a:lnTo>
                    <a:lnTo>
                      <a:pt x="759" y="1121"/>
                    </a:lnTo>
                    <a:lnTo>
                      <a:pt x="790" y="1112"/>
                    </a:lnTo>
                    <a:lnTo>
                      <a:pt x="833" y="1100"/>
                    </a:lnTo>
                    <a:lnTo>
                      <a:pt x="856" y="1093"/>
                    </a:lnTo>
                    <a:lnTo>
                      <a:pt x="878" y="1085"/>
                    </a:lnTo>
                    <a:lnTo>
                      <a:pt x="898" y="1076"/>
                    </a:lnTo>
                    <a:lnTo>
                      <a:pt x="916" y="1067"/>
                    </a:lnTo>
                    <a:lnTo>
                      <a:pt x="916" y="1067"/>
                    </a:lnTo>
                    <a:lnTo>
                      <a:pt x="920" y="1065"/>
                    </a:lnTo>
                    <a:lnTo>
                      <a:pt x="924" y="1064"/>
                    </a:lnTo>
                    <a:lnTo>
                      <a:pt x="929" y="1063"/>
                    </a:lnTo>
                    <a:lnTo>
                      <a:pt x="933" y="1063"/>
                    </a:lnTo>
                    <a:lnTo>
                      <a:pt x="938" y="1064"/>
                    </a:lnTo>
                    <a:lnTo>
                      <a:pt x="942" y="1066"/>
                    </a:lnTo>
                    <a:lnTo>
                      <a:pt x="947" y="1068"/>
                    </a:lnTo>
                    <a:lnTo>
                      <a:pt x="951" y="1071"/>
                    </a:lnTo>
                    <a:lnTo>
                      <a:pt x="1061" y="1181"/>
                    </a:lnTo>
                    <a:lnTo>
                      <a:pt x="1181" y="1061"/>
                    </a:lnTo>
                    <a:lnTo>
                      <a:pt x="1071" y="951"/>
                    </a:lnTo>
                    <a:lnTo>
                      <a:pt x="1071" y="951"/>
                    </a:lnTo>
                    <a:lnTo>
                      <a:pt x="1068" y="947"/>
                    </a:lnTo>
                    <a:lnTo>
                      <a:pt x="1066" y="943"/>
                    </a:lnTo>
                    <a:lnTo>
                      <a:pt x="1064" y="939"/>
                    </a:lnTo>
                    <a:lnTo>
                      <a:pt x="1063" y="935"/>
                    </a:lnTo>
                    <a:lnTo>
                      <a:pt x="1063" y="930"/>
                    </a:lnTo>
                    <a:lnTo>
                      <a:pt x="1064" y="925"/>
                    </a:lnTo>
                    <a:lnTo>
                      <a:pt x="1065" y="921"/>
                    </a:lnTo>
                    <a:lnTo>
                      <a:pt x="1067" y="916"/>
                    </a:lnTo>
                    <a:lnTo>
                      <a:pt x="1067" y="916"/>
                    </a:lnTo>
                    <a:lnTo>
                      <a:pt x="1076" y="898"/>
                    </a:lnTo>
                    <a:lnTo>
                      <a:pt x="1085" y="878"/>
                    </a:lnTo>
                    <a:lnTo>
                      <a:pt x="1093" y="856"/>
                    </a:lnTo>
                    <a:lnTo>
                      <a:pt x="1100" y="834"/>
                    </a:lnTo>
                    <a:lnTo>
                      <a:pt x="1112" y="791"/>
                    </a:lnTo>
                    <a:lnTo>
                      <a:pt x="1120" y="759"/>
                    </a:lnTo>
                    <a:lnTo>
                      <a:pt x="1120" y="759"/>
                    </a:lnTo>
                    <a:lnTo>
                      <a:pt x="1122" y="754"/>
                    </a:lnTo>
                    <a:lnTo>
                      <a:pt x="1124" y="750"/>
                    </a:lnTo>
                    <a:lnTo>
                      <a:pt x="1127" y="746"/>
                    </a:lnTo>
                    <a:lnTo>
                      <a:pt x="1130" y="743"/>
                    </a:lnTo>
                    <a:lnTo>
                      <a:pt x="1134" y="741"/>
                    </a:lnTo>
                    <a:lnTo>
                      <a:pt x="1138" y="739"/>
                    </a:lnTo>
                    <a:lnTo>
                      <a:pt x="1143" y="738"/>
                    </a:lnTo>
                    <a:lnTo>
                      <a:pt x="1148" y="737"/>
                    </a:lnTo>
                    <a:lnTo>
                      <a:pt x="1303" y="737"/>
                    </a:lnTo>
                    <a:lnTo>
                      <a:pt x="1303" y="624"/>
                    </a:lnTo>
                    <a:lnTo>
                      <a:pt x="1148" y="624"/>
                    </a:lnTo>
                    <a:lnTo>
                      <a:pt x="1148" y="624"/>
                    </a:lnTo>
                    <a:lnTo>
                      <a:pt x="1142" y="624"/>
                    </a:lnTo>
                    <a:lnTo>
                      <a:pt x="1138" y="622"/>
                    </a:lnTo>
                    <a:lnTo>
                      <a:pt x="1134" y="620"/>
                    </a:lnTo>
                    <a:lnTo>
                      <a:pt x="1130" y="617"/>
                    </a:lnTo>
                    <a:lnTo>
                      <a:pt x="1127" y="614"/>
                    </a:lnTo>
                    <a:lnTo>
                      <a:pt x="1124" y="610"/>
                    </a:lnTo>
                    <a:lnTo>
                      <a:pt x="1122" y="606"/>
                    </a:lnTo>
                    <a:lnTo>
                      <a:pt x="1120" y="602"/>
                    </a:lnTo>
                    <a:lnTo>
                      <a:pt x="1120" y="602"/>
                    </a:lnTo>
                    <a:lnTo>
                      <a:pt x="1112" y="570"/>
                    </a:lnTo>
                    <a:lnTo>
                      <a:pt x="1100" y="528"/>
                    </a:lnTo>
                    <a:lnTo>
                      <a:pt x="1093" y="504"/>
                    </a:lnTo>
                    <a:lnTo>
                      <a:pt x="1085" y="482"/>
                    </a:lnTo>
                    <a:lnTo>
                      <a:pt x="1076" y="462"/>
                    </a:lnTo>
                    <a:lnTo>
                      <a:pt x="1067" y="445"/>
                    </a:lnTo>
                    <a:lnTo>
                      <a:pt x="1067" y="445"/>
                    </a:lnTo>
                    <a:lnTo>
                      <a:pt x="1065" y="440"/>
                    </a:lnTo>
                    <a:lnTo>
                      <a:pt x="1064" y="436"/>
                    </a:lnTo>
                    <a:lnTo>
                      <a:pt x="1063" y="431"/>
                    </a:lnTo>
                    <a:lnTo>
                      <a:pt x="1063" y="427"/>
                    </a:lnTo>
                    <a:lnTo>
                      <a:pt x="1064" y="421"/>
                    </a:lnTo>
                    <a:lnTo>
                      <a:pt x="1066" y="417"/>
                    </a:lnTo>
                    <a:lnTo>
                      <a:pt x="1068" y="413"/>
                    </a:lnTo>
                    <a:lnTo>
                      <a:pt x="1071" y="409"/>
                    </a:lnTo>
                    <a:lnTo>
                      <a:pt x="1181" y="299"/>
                    </a:lnTo>
                    <a:lnTo>
                      <a:pt x="1061" y="179"/>
                    </a:lnTo>
                    <a:lnTo>
                      <a:pt x="951" y="289"/>
                    </a:lnTo>
                    <a:lnTo>
                      <a:pt x="951" y="289"/>
                    </a:lnTo>
                    <a:lnTo>
                      <a:pt x="947" y="292"/>
                    </a:lnTo>
                    <a:lnTo>
                      <a:pt x="942" y="295"/>
                    </a:lnTo>
                    <a:lnTo>
                      <a:pt x="938" y="296"/>
                    </a:lnTo>
                    <a:lnTo>
                      <a:pt x="933" y="297"/>
                    </a:lnTo>
                    <a:lnTo>
                      <a:pt x="929" y="297"/>
                    </a:lnTo>
                    <a:lnTo>
                      <a:pt x="924" y="297"/>
                    </a:lnTo>
                    <a:lnTo>
                      <a:pt x="920" y="295"/>
                    </a:lnTo>
                    <a:lnTo>
                      <a:pt x="916" y="293"/>
                    </a:lnTo>
                    <a:lnTo>
                      <a:pt x="916" y="293"/>
                    </a:lnTo>
                    <a:lnTo>
                      <a:pt x="900" y="285"/>
                    </a:lnTo>
                    <a:lnTo>
                      <a:pt x="882" y="277"/>
                    </a:lnTo>
                    <a:lnTo>
                      <a:pt x="863" y="270"/>
                    </a:lnTo>
                    <a:lnTo>
                      <a:pt x="841" y="263"/>
                    </a:lnTo>
                    <a:lnTo>
                      <a:pt x="798" y="250"/>
                    </a:lnTo>
                    <a:lnTo>
                      <a:pt x="759" y="240"/>
                    </a:lnTo>
                    <a:lnTo>
                      <a:pt x="759" y="240"/>
                    </a:lnTo>
                    <a:lnTo>
                      <a:pt x="754" y="239"/>
                    </a:lnTo>
                    <a:lnTo>
                      <a:pt x="750" y="237"/>
                    </a:lnTo>
                    <a:lnTo>
                      <a:pt x="746" y="234"/>
                    </a:lnTo>
                    <a:lnTo>
                      <a:pt x="742" y="230"/>
                    </a:lnTo>
                    <a:lnTo>
                      <a:pt x="740" y="226"/>
                    </a:lnTo>
                    <a:lnTo>
                      <a:pt x="738" y="221"/>
                    </a:lnTo>
                    <a:lnTo>
                      <a:pt x="737" y="217"/>
                    </a:lnTo>
                    <a:lnTo>
                      <a:pt x="736" y="212"/>
                    </a:lnTo>
                    <a:lnTo>
                      <a:pt x="736" y="57"/>
                    </a:lnTo>
                    <a:lnTo>
                      <a:pt x="623" y="57"/>
                    </a:lnTo>
                    <a:lnTo>
                      <a:pt x="623" y="212"/>
                    </a:lnTo>
                    <a:lnTo>
                      <a:pt x="623" y="212"/>
                    </a:lnTo>
                    <a:lnTo>
                      <a:pt x="623" y="217"/>
                    </a:lnTo>
                    <a:lnTo>
                      <a:pt x="621" y="221"/>
                    </a:lnTo>
                    <a:lnTo>
                      <a:pt x="620" y="226"/>
                    </a:lnTo>
                    <a:lnTo>
                      <a:pt x="617" y="230"/>
                    </a:lnTo>
                    <a:lnTo>
                      <a:pt x="614" y="234"/>
                    </a:lnTo>
                    <a:lnTo>
                      <a:pt x="610" y="237"/>
                    </a:lnTo>
                    <a:lnTo>
                      <a:pt x="606" y="239"/>
                    </a:lnTo>
                    <a:lnTo>
                      <a:pt x="601" y="240"/>
                    </a:lnTo>
                    <a:lnTo>
                      <a:pt x="601" y="240"/>
                    </a:lnTo>
                    <a:lnTo>
                      <a:pt x="570" y="248"/>
                    </a:lnTo>
                    <a:lnTo>
                      <a:pt x="526" y="260"/>
                    </a:lnTo>
                    <a:lnTo>
                      <a:pt x="504" y="267"/>
                    </a:lnTo>
                    <a:lnTo>
                      <a:pt x="482" y="275"/>
                    </a:lnTo>
                    <a:lnTo>
                      <a:pt x="462" y="284"/>
                    </a:lnTo>
                    <a:lnTo>
                      <a:pt x="445" y="293"/>
                    </a:lnTo>
                    <a:lnTo>
                      <a:pt x="445" y="293"/>
                    </a:lnTo>
                    <a:lnTo>
                      <a:pt x="439" y="295"/>
                    </a:lnTo>
                    <a:lnTo>
                      <a:pt x="435" y="297"/>
                    </a:lnTo>
                    <a:lnTo>
                      <a:pt x="430" y="297"/>
                    </a:lnTo>
                    <a:lnTo>
                      <a:pt x="426" y="297"/>
                    </a:lnTo>
                    <a:lnTo>
                      <a:pt x="421" y="296"/>
                    </a:lnTo>
                    <a:lnTo>
                      <a:pt x="417" y="295"/>
                    </a:lnTo>
                    <a:lnTo>
                      <a:pt x="413" y="292"/>
                    </a:lnTo>
                    <a:lnTo>
                      <a:pt x="409" y="289"/>
                    </a:lnTo>
                    <a:lnTo>
                      <a:pt x="299" y="179"/>
                    </a:lnTo>
                    <a:lnTo>
                      <a:pt x="179" y="299"/>
                    </a:lnTo>
                    <a:lnTo>
                      <a:pt x="289" y="409"/>
                    </a:lnTo>
                    <a:lnTo>
                      <a:pt x="289" y="409"/>
                    </a:lnTo>
                    <a:lnTo>
                      <a:pt x="292" y="413"/>
                    </a:lnTo>
                    <a:lnTo>
                      <a:pt x="295" y="417"/>
                    </a:lnTo>
                    <a:lnTo>
                      <a:pt x="296" y="421"/>
                    </a:lnTo>
                    <a:lnTo>
                      <a:pt x="297" y="427"/>
                    </a:lnTo>
                    <a:lnTo>
                      <a:pt x="297" y="431"/>
                    </a:lnTo>
                    <a:lnTo>
                      <a:pt x="297" y="436"/>
                    </a:lnTo>
                    <a:lnTo>
                      <a:pt x="295" y="440"/>
                    </a:lnTo>
                    <a:lnTo>
                      <a:pt x="293" y="445"/>
                    </a:lnTo>
                    <a:lnTo>
                      <a:pt x="293" y="445"/>
                    </a:lnTo>
                    <a:lnTo>
                      <a:pt x="284" y="462"/>
                    </a:lnTo>
                    <a:lnTo>
                      <a:pt x="275" y="482"/>
                    </a:lnTo>
                    <a:lnTo>
                      <a:pt x="267" y="504"/>
                    </a:lnTo>
                    <a:lnTo>
                      <a:pt x="260" y="527"/>
                    </a:lnTo>
                    <a:lnTo>
                      <a:pt x="248" y="570"/>
                    </a:lnTo>
                    <a:lnTo>
                      <a:pt x="239" y="602"/>
                    </a:lnTo>
                    <a:lnTo>
                      <a:pt x="239" y="602"/>
                    </a:lnTo>
                    <a:lnTo>
                      <a:pt x="238" y="606"/>
                    </a:lnTo>
                    <a:lnTo>
                      <a:pt x="235" y="610"/>
                    </a:lnTo>
                    <a:lnTo>
                      <a:pt x="233" y="614"/>
                    </a:lnTo>
                    <a:lnTo>
                      <a:pt x="229" y="617"/>
                    </a:lnTo>
                    <a:lnTo>
                      <a:pt x="225" y="620"/>
                    </a:lnTo>
                    <a:lnTo>
                      <a:pt x="221" y="622"/>
                    </a:lnTo>
                    <a:lnTo>
                      <a:pt x="217" y="624"/>
                    </a:lnTo>
                    <a:lnTo>
                      <a:pt x="212" y="624"/>
                    </a:lnTo>
                    <a:lnTo>
                      <a:pt x="57" y="624"/>
                    </a:lnTo>
                    <a:lnTo>
                      <a:pt x="57" y="737"/>
                    </a:lnTo>
                    <a:lnTo>
                      <a:pt x="212" y="737"/>
                    </a:lnTo>
                    <a:lnTo>
                      <a:pt x="212" y="737"/>
                    </a:lnTo>
                    <a:lnTo>
                      <a:pt x="217" y="738"/>
                    </a:lnTo>
                    <a:lnTo>
                      <a:pt x="221" y="739"/>
                    </a:lnTo>
                    <a:lnTo>
                      <a:pt x="225" y="741"/>
                    </a:lnTo>
                    <a:lnTo>
                      <a:pt x="229" y="743"/>
                    </a:lnTo>
                    <a:lnTo>
                      <a:pt x="233" y="746"/>
                    </a:lnTo>
                    <a:lnTo>
                      <a:pt x="235" y="750"/>
                    </a:lnTo>
                    <a:lnTo>
                      <a:pt x="238" y="754"/>
                    </a:lnTo>
                    <a:lnTo>
                      <a:pt x="239" y="759"/>
                    </a:lnTo>
                    <a:lnTo>
                      <a:pt x="239" y="759"/>
                    </a:lnTo>
                    <a:lnTo>
                      <a:pt x="248" y="791"/>
                    </a:lnTo>
                    <a:lnTo>
                      <a:pt x="260" y="834"/>
                    </a:lnTo>
                    <a:lnTo>
                      <a:pt x="267" y="856"/>
                    </a:lnTo>
                    <a:lnTo>
                      <a:pt x="275" y="878"/>
                    </a:lnTo>
                    <a:lnTo>
                      <a:pt x="284" y="898"/>
                    </a:lnTo>
                    <a:lnTo>
                      <a:pt x="293" y="916"/>
                    </a:lnTo>
                    <a:lnTo>
                      <a:pt x="293" y="916"/>
                    </a:lnTo>
                    <a:lnTo>
                      <a:pt x="295" y="921"/>
                    </a:lnTo>
                    <a:lnTo>
                      <a:pt x="297" y="925"/>
                    </a:lnTo>
                    <a:lnTo>
                      <a:pt x="297" y="930"/>
                    </a:lnTo>
                    <a:lnTo>
                      <a:pt x="297" y="935"/>
                    </a:lnTo>
                    <a:lnTo>
                      <a:pt x="296" y="939"/>
                    </a:lnTo>
                    <a:lnTo>
                      <a:pt x="295" y="943"/>
                    </a:lnTo>
                    <a:lnTo>
                      <a:pt x="292" y="947"/>
                    </a:lnTo>
                    <a:lnTo>
                      <a:pt x="289" y="951"/>
                    </a:lnTo>
                    <a:lnTo>
                      <a:pt x="179" y="1061"/>
                    </a:lnTo>
                    <a:lnTo>
                      <a:pt x="299" y="1181"/>
                    </a:lnTo>
                    <a:lnTo>
                      <a:pt x="409" y="1071"/>
                    </a:lnTo>
                    <a:lnTo>
                      <a:pt x="409" y="1071"/>
                    </a:lnTo>
                    <a:lnTo>
                      <a:pt x="413" y="1068"/>
                    </a:lnTo>
                    <a:lnTo>
                      <a:pt x="417" y="1066"/>
                    </a:lnTo>
                    <a:lnTo>
                      <a:pt x="421" y="1064"/>
                    </a:lnTo>
                    <a:lnTo>
                      <a:pt x="426" y="1063"/>
                    </a:lnTo>
                    <a:lnTo>
                      <a:pt x="430" y="1063"/>
                    </a:lnTo>
                    <a:lnTo>
                      <a:pt x="435" y="1064"/>
                    </a:lnTo>
                    <a:lnTo>
                      <a:pt x="439" y="1065"/>
                    </a:lnTo>
                    <a:lnTo>
                      <a:pt x="445" y="1067"/>
                    </a:lnTo>
                    <a:lnTo>
                      <a:pt x="445" y="1067"/>
                    </a:lnTo>
                    <a:lnTo>
                      <a:pt x="462" y="1076"/>
                    </a:lnTo>
                    <a:lnTo>
                      <a:pt x="482" y="1085"/>
                    </a:lnTo>
                    <a:lnTo>
                      <a:pt x="504" y="1093"/>
                    </a:lnTo>
                    <a:lnTo>
                      <a:pt x="526" y="1100"/>
                    </a:lnTo>
                    <a:lnTo>
                      <a:pt x="570" y="1112"/>
                    </a:lnTo>
                    <a:lnTo>
                      <a:pt x="602" y="1121"/>
                    </a:lnTo>
                    <a:lnTo>
                      <a:pt x="602" y="1121"/>
                    </a:lnTo>
                    <a:lnTo>
                      <a:pt x="606" y="1123"/>
                    </a:lnTo>
                    <a:lnTo>
                      <a:pt x="610" y="1125"/>
                    </a:lnTo>
                    <a:lnTo>
                      <a:pt x="614" y="1128"/>
                    </a:lnTo>
                    <a:lnTo>
                      <a:pt x="617" y="1131"/>
                    </a:lnTo>
                    <a:lnTo>
                      <a:pt x="620" y="1135"/>
                    </a:lnTo>
                    <a:lnTo>
                      <a:pt x="621" y="1139"/>
                    </a:lnTo>
                    <a:lnTo>
                      <a:pt x="623" y="1144"/>
                    </a:lnTo>
                    <a:lnTo>
                      <a:pt x="623" y="1148"/>
                    </a:lnTo>
                    <a:lnTo>
                      <a:pt x="623" y="1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01" name="Freeform 17">
                <a:extLst>
                  <a:ext uri="{FF2B5EF4-FFF2-40B4-BE49-F238E27FC236}">
                    <a16:creationId xmlns:a16="http://schemas.microsoft.com/office/drawing/2014/main" id="{9C0FE9DE-F277-0E25-3DC9-CDFA670FBCE3}"/>
                  </a:ext>
                </a:extLst>
              </p:cNvPr>
              <p:cNvSpPr>
                <a:spLocks noEditPoints="1"/>
              </p:cNvSpPr>
              <p:nvPr/>
            </p:nvSpPr>
            <p:spPr bwMode="auto">
              <a:xfrm>
                <a:off x="4221163" y="4073526"/>
                <a:ext cx="150813" cy="150813"/>
              </a:xfrm>
              <a:custGeom>
                <a:avLst/>
                <a:gdLst>
                  <a:gd name="T0" fmla="*/ 255 w 568"/>
                  <a:gd name="T1" fmla="*/ 565 h 567"/>
                  <a:gd name="T2" fmla="*/ 200 w 568"/>
                  <a:gd name="T3" fmla="*/ 554 h 567"/>
                  <a:gd name="T4" fmla="*/ 149 w 568"/>
                  <a:gd name="T5" fmla="*/ 533 h 567"/>
                  <a:gd name="T6" fmla="*/ 104 w 568"/>
                  <a:gd name="T7" fmla="*/ 502 h 567"/>
                  <a:gd name="T8" fmla="*/ 66 w 568"/>
                  <a:gd name="T9" fmla="*/ 464 h 567"/>
                  <a:gd name="T10" fmla="*/ 34 w 568"/>
                  <a:gd name="T11" fmla="*/ 418 h 567"/>
                  <a:gd name="T12" fmla="*/ 13 w 568"/>
                  <a:gd name="T13" fmla="*/ 368 h 567"/>
                  <a:gd name="T14" fmla="*/ 2 w 568"/>
                  <a:gd name="T15" fmla="*/ 312 h 567"/>
                  <a:gd name="T16" fmla="*/ 1 w 568"/>
                  <a:gd name="T17" fmla="*/ 269 h 567"/>
                  <a:gd name="T18" fmla="*/ 9 w 568"/>
                  <a:gd name="T19" fmla="*/ 212 h 567"/>
                  <a:gd name="T20" fmla="*/ 28 w 568"/>
                  <a:gd name="T21" fmla="*/ 161 h 567"/>
                  <a:gd name="T22" fmla="*/ 57 w 568"/>
                  <a:gd name="T23" fmla="*/ 113 h 567"/>
                  <a:gd name="T24" fmla="*/ 94 w 568"/>
                  <a:gd name="T25" fmla="*/ 74 h 567"/>
                  <a:gd name="T26" fmla="*/ 137 w 568"/>
                  <a:gd name="T27" fmla="*/ 41 h 567"/>
                  <a:gd name="T28" fmla="*/ 187 w 568"/>
                  <a:gd name="T29" fmla="*/ 17 h 567"/>
                  <a:gd name="T30" fmla="*/ 240 w 568"/>
                  <a:gd name="T31" fmla="*/ 3 h 567"/>
                  <a:gd name="T32" fmla="*/ 284 w 568"/>
                  <a:gd name="T33" fmla="*/ 0 h 567"/>
                  <a:gd name="T34" fmla="*/ 341 w 568"/>
                  <a:gd name="T35" fmla="*/ 5 h 567"/>
                  <a:gd name="T36" fmla="*/ 394 w 568"/>
                  <a:gd name="T37" fmla="*/ 22 h 567"/>
                  <a:gd name="T38" fmla="*/ 442 w 568"/>
                  <a:gd name="T39" fmla="*/ 49 h 567"/>
                  <a:gd name="T40" fmla="*/ 484 w 568"/>
                  <a:gd name="T41" fmla="*/ 83 h 567"/>
                  <a:gd name="T42" fmla="*/ 519 w 568"/>
                  <a:gd name="T43" fmla="*/ 124 h 567"/>
                  <a:gd name="T44" fmla="*/ 545 w 568"/>
                  <a:gd name="T45" fmla="*/ 173 h 567"/>
                  <a:gd name="T46" fmla="*/ 562 w 568"/>
                  <a:gd name="T47" fmla="*/ 227 h 567"/>
                  <a:gd name="T48" fmla="*/ 568 w 568"/>
                  <a:gd name="T49" fmla="*/ 283 h 567"/>
                  <a:gd name="T50" fmla="*/ 564 w 568"/>
                  <a:gd name="T51" fmla="*/ 327 h 567"/>
                  <a:gd name="T52" fmla="*/ 551 w 568"/>
                  <a:gd name="T53" fmla="*/ 381 h 567"/>
                  <a:gd name="T54" fmla="*/ 526 w 568"/>
                  <a:gd name="T55" fmla="*/ 431 h 567"/>
                  <a:gd name="T56" fmla="*/ 494 w 568"/>
                  <a:gd name="T57" fmla="*/ 474 h 567"/>
                  <a:gd name="T58" fmla="*/ 454 w 568"/>
                  <a:gd name="T59" fmla="*/ 510 h 567"/>
                  <a:gd name="T60" fmla="*/ 407 w 568"/>
                  <a:gd name="T61" fmla="*/ 539 h 567"/>
                  <a:gd name="T62" fmla="*/ 355 w 568"/>
                  <a:gd name="T63" fmla="*/ 558 h 567"/>
                  <a:gd name="T64" fmla="*/ 299 w 568"/>
                  <a:gd name="T65" fmla="*/ 566 h 567"/>
                  <a:gd name="T66" fmla="*/ 284 w 568"/>
                  <a:gd name="T67" fmla="*/ 57 h 567"/>
                  <a:gd name="T68" fmla="*/ 196 w 568"/>
                  <a:gd name="T69" fmla="*/ 74 h 567"/>
                  <a:gd name="T70" fmla="*/ 123 w 568"/>
                  <a:gd name="T71" fmla="*/ 123 h 567"/>
                  <a:gd name="T72" fmla="*/ 75 w 568"/>
                  <a:gd name="T73" fmla="*/ 195 h 567"/>
                  <a:gd name="T74" fmla="*/ 58 w 568"/>
                  <a:gd name="T75" fmla="*/ 283 h 567"/>
                  <a:gd name="T76" fmla="*/ 68 w 568"/>
                  <a:gd name="T77" fmla="*/ 351 h 567"/>
                  <a:gd name="T78" fmla="*/ 109 w 568"/>
                  <a:gd name="T79" fmla="*/ 428 h 567"/>
                  <a:gd name="T80" fmla="*/ 176 w 568"/>
                  <a:gd name="T81" fmla="*/ 483 h 567"/>
                  <a:gd name="T82" fmla="*/ 261 w 568"/>
                  <a:gd name="T83" fmla="*/ 509 h 567"/>
                  <a:gd name="T84" fmla="*/ 329 w 568"/>
                  <a:gd name="T85" fmla="*/ 505 h 567"/>
                  <a:gd name="T86" fmla="*/ 411 w 568"/>
                  <a:gd name="T87" fmla="*/ 471 h 567"/>
                  <a:gd name="T88" fmla="*/ 472 w 568"/>
                  <a:gd name="T89" fmla="*/ 410 h 567"/>
                  <a:gd name="T90" fmla="*/ 506 w 568"/>
                  <a:gd name="T91" fmla="*/ 329 h 567"/>
                  <a:gd name="T92" fmla="*/ 509 w 568"/>
                  <a:gd name="T93" fmla="*/ 260 h 567"/>
                  <a:gd name="T94" fmla="*/ 483 w 568"/>
                  <a:gd name="T95" fmla="*/ 175 h 567"/>
                  <a:gd name="T96" fmla="*/ 428 w 568"/>
                  <a:gd name="T97" fmla="*/ 108 h 567"/>
                  <a:gd name="T98" fmla="*/ 352 w 568"/>
                  <a:gd name="T99" fmla="*/ 67 h 567"/>
                  <a:gd name="T100" fmla="*/ 284 w 568"/>
                  <a:gd name="T101" fmla="*/ 57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8" h="567">
                    <a:moveTo>
                      <a:pt x="284" y="567"/>
                    </a:moveTo>
                    <a:lnTo>
                      <a:pt x="284" y="567"/>
                    </a:lnTo>
                    <a:lnTo>
                      <a:pt x="270" y="566"/>
                    </a:lnTo>
                    <a:lnTo>
                      <a:pt x="255" y="565"/>
                    </a:lnTo>
                    <a:lnTo>
                      <a:pt x="240" y="564"/>
                    </a:lnTo>
                    <a:lnTo>
                      <a:pt x="227" y="561"/>
                    </a:lnTo>
                    <a:lnTo>
                      <a:pt x="213" y="558"/>
                    </a:lnTo>
                    <a:lnTo>
                      <a:pt x="200" y="554"/>
                    </a:lnTo>
                    <a:lnTo>
                      <a:pt x="187" y="550"/>
                    </a:lnTo>
                    <a:lnTo>
                      <a:pt x="174" y="545"/>
                    </a:lnTo>
                    <a:lnTo>
                      <a:pt x="162" y="539"/>
                    </a:lnTo>
                    <a:lnTo>
                      <a:pt x="149" y="533"/>
                    </a:lnTo>
                    <a:lnTo>
                      <a:pt x="137" y="526"/>
                    </a:lnTo>
                    <a:lnTo>
                      <a:pt x="125" y="518"/>
                    </a:lnTo>
                    <a:lnTo>
                      <a:pt x="114" y="510"/>
                    </a:lnTo>
                    <a:lnTo>
                      <a:pt x="104" y="502"/>
                    </a:lnTo>
                    <a:lnTo>
                      <a:pt x="94" y="493"/>
                    </a:lnTo>
                    <a:lnTo>
                      <a:pt x="84" y="484"/>
                    </a:lnTo>
                    <a:lnTo>
                      <a:pt x="74" y="474"/>
                    </a:lnTo>
                    <a:lnTo>
                      <a:pt x="66" y="464"/>
                    </a:lnTo>
                    <a:lnTo>
                      <a:pt x="57" y="453"/>
                    </a:lnTo>
                    <a:lnTo>
                      <a:pt x="49" y="442"/>
                    </a:lnTo>
                    <a:lnTo>
                      <a:pt x="41" y="431"/>
                    </a:lnTo>
                    <a:lnTo>
                      <a:pt x="34" y="418"/>
                    </a:lnTo>
                    <a:lnTo>
                      <a:pt x="28" y="406"/>
                    </a:lnTo>
                    <a:lnTo>
                      <a:pt x="23" y="393"/>
                    </a:lnTo>
                    <a:lnTo>
                      <a:pt x="18" y="381"/>
                    </a:lnTo>
                    <a:lnTo>
                      <a:pt x="13" y="368"/>
                    </a:lnTo>
                    <a:lnTo>
                      <a:pt x="9" y="354"/>
                    </a:lnTo>
                    <a:lnTo>
                      <a:pt x="6" y="341"/>
                    </a:lnTo>
                    <a:lnTo>
                      <a:pt x="4" y="327"/>
                    </a:lnTo>
                    <a:lnTo>
                      <a:pt x="2" y="312"/>
                    </a:lnTo>
                    <a:lnTo>
                      <a:pt x="1" y="298"/>
                    </a:lnTo>
                    <a:lnTo>
                      <a:pt x="0" y="283"/>
                    </a:lnTo>
                    <a:lnTo>
                      <a:pt x="0" y="283"/>
                    </a:lnTo>
                    <a:lnTo>
                      <a:pt x="1" y="269"/>
                    </a:lnTo>
                    <a:lnTo>
                      <a:pt x="2" y="255"/>
                    </a:lnTo>
                    <a:lnTo>
                      <a:pt x="4" y="241"/>
                    </a:lnTo>
                    <a:lnTo>
                      <a:pt x="6" y="227"/>
                    </a:lnTo>
                    <a:lnTo>
                      <a:pt x="9" y="212"/>
                    </a:lnTo>
                    <a:lnTo>
                      <a:pt x="13" y="199"/>
                    </a:lnTo>
                    <a:lnTo>
                      <a:pt x="18" y="186"/>
                    </a:lnTo>
                    <a:lnTo>
                      <a:pt x="23" y="173"/>
                    </a:lnTo>
                    <a:lnTo>
                      <a:pt x="28" y="161"/>
                    </a:lnTo>
                    <a:lnTo>
                      <a:pt x="34" y="149"/>
                    </a:lnTo>
                    <a:lnTo>
                      <a:pt x="41" y="137"/>
                    </a:lnTo>
                    <a:lnTo>
                      <a:pt x="49" y="124"/>
                    </a:lnTo>
                    <a:lnTo>
                      <a:pt x="57" y="113"/>
                    </a:lnTo>
                    <a:lnTo>
                      <a:pt x="66" y="103"/>
                    </a:lnTo>
                    <a:lnTo>
                      <a:pt x="74" y="93"/>
                    </a:lnTo>
                    <a:lnTo>
                      <a:pt x="84" y="83"/>
                    </a:lnTo>
                    <a:lnTo>
                      <a:pt x="94" y="74"/>
                    </a:lnTo>
                    <a:lnTo>
                      <a:pt x="104" y="65"/>
                    </a:lnTo>
                    <a:lnTo>
                      <a:pt x="114" y="56"/>
                    </a:lnTo>
                    <a:lnTo>
                      <a:pt x="125" y="49"/>
                    </a:lnTo>
                    <a:lnTo>
                      <a:pt x="137" y="41"/>
                    </a:lnTo>
                    <a:lnTo>
                      <a:pt x="149" y="34"/>
                    </a:lnTo>
                    <a:lnTo>
                      <a:pt x="162" y="28"/>
                    </a:lnTo>
                    <a:lnTo>
                      <a:pt x="174" y="22"/>
                    </a:lnTo>
                    <a:lnTo>
                      <a:pt x="187" y="17"/>
                    </a:lnTo>
                    <a:lnTo>
                      <a:pt x="200" y="12"/>
                    </a:lnTo>
                    <a:lnTo>
                      <a:pt x="213" y="8"/>
                    </a:lnTo>
                    <a:lnTo>
                      <a:pt x="227" y="5"/>
                    </a:lnTo>
                    <a:lnTo>
                      <a:pt x="240" y="3"/>
                    </a:lnTo>
                    <a:lnTo>
                      <a:pt x="255" y="1"/>
                    </a:lnTo>
                    <a:lnTo>
                      <a:pt x="270" y="0"/>
                    </a:lnTo>
                    <a:lnTo>
                      <a:pt x="284" y="0"/>
                    </a:lnTo>
                    <a:lnTo>
                      <a:pt x="284" y="0"/>
                    </a:lnTo>
                    <a:lnTo>
                      <a:pt x="299" y="0"/>
                    </a:lnTo>
                    <a:lnTo>
                      <a:pt x="313" y="1"/>
                    </a:lnTo>
                    <a:lnTo>
                      <a:pt x="327" y="3"/>
                    </a:lnTo>
                    <a:lnTo>
                      <a:pt x="341" y="5"/>
                    </a:lnTo>
                    <a:lnTo>
                      <a:pt x="355" y="8"/>
                    </a:lnTo>
                    <a:lnTo>
                      <a:pt x="368" y="12"/>
                    </a:lnTo>
                    <a:lnTo>
                      <a:pt x="381" y="17"/>
                    </a:lnTo>
                    <a:lnTo>
                      <a:pt x="394" y="22"/>
                    </a:lnTo>
                    <a:lnTo>
                      <a:pt x="407" y="28"/>
                    </a:lnTo>
                    <a:lnTo>
                      <a:pt x="419" y="34"/>
                    </a:lnTo>
                    <a:lnTo>
                      <a:pt x="430" y="41"/>
                    </a:lnTo>
                    <a:lnTo>
                      <a:pt x="442" y="49"/>
                    </a:lnTo>
                    <a:lnTo>
                      <a:pt x="454" y="56"/>
                    </a:lnTo>
                    <a:lnTo>
                      <a:pt x="464" y="65"/>
                    </a:lnTo>
                    <a:lnTo>
                      <a:pt x="475" y="74"/>
                    </a:lnTo>
                    <a:lnTo>
                      <a:pt x="484" y="83"/>
                    </a:lnTo>
                    <a:lnTo>
                      <a:pt x="494" y="93"/>
                    </a:lnTo>
                    <a:lnTo>
                      <a:pt x="503" y="103"/>
                    </a:lnTo>
                    <a:lnTo>
                      <a:pt x="511" y="113"/>
                    </a:lnTo>
                    <a:lnTo>
                      <a:pt x="519" y="124"/>
                    </a:lnTo>
                    <a:lnTo>
                      <a:pt x="526" y="137"/>
                    </a:lnTo>
                    <a:lnTo>
                      <a:pt x="533" y="149"/>
                    </a:lnTo>
                    <a:lnTo>
                      <a:pt x="539" y="161"/>
                    </a:lnTo>
                    <a:lnTo>
                      <a:pt x="545" y="173"/>
                    </a:lnTo>
                    <a:lnTo>
                      <a:pt x="551" y="186"/>
                    </a:lnTo>
                    <a:lnTo>
                      <a:pt x="555" y="199"/>
                    </a:lnTo>
                    <a:lnTo>
                      <a:pt x="559" y="212"/>
                    </a:lnTo>
                    <a:lnTo>
                      <a:pt x="562" y="227"/>
                    </a:lnTo>
                    <a:lnTo>
                      <a:pt x="564" y="241"/>
                    </a:lnTo>
                    <a:lnTo>
                      <a:pt x="566" y="255"/>
                    </a:lnTo>
                    <a:lnTo>
                      <a:pt x="567" y="269"/>
                    </a:lnTo>
                    <a:lnTo>
                      <a:pt x="568" y="283"/>
                    </a:lnTo>
                    <a:lnTo>
                      <a:pt x="568" y="283"/>
                    </a:lnTo>
                    <a:lnTo>
                      <a:pt x="567" y="298"/>
                    </a:lnTo>
                    <a:lnTo>
                      <a:pt x="566" y="312"/>
                    </a:lnTo>
                    <a:lnTo>
                      <a:pt x="564" y="327"/>
                    </a:lnTo>
                    <a:lnTo>
                      <a:pt x="562" y="341"/>
                    </a:lnTo>
                    <a:lnTo>
                      <a:pt x="559" y="354"/>
                    </a:lnTo>
                    <a:lnTo>
                      <a:pt x="555" y="368"/>
                    </a:lnTo>
                    <a:lnTo>
                      <a:pt x="551" y="381"/>
                    </a:lnTo>
                    <a:lnTo>
                      <a:pt x="545" y="393"/>
                    </a:lnTo>
                    <a:lnTo>
                      <a:pt x="539" y="406"/>
                    </a:lnTo>
                    <a:lnTo>
                      <a:pt x="533" y="418"/>
                    </a:lnTo>
                    <a:lnTo>
                      <a:pt x="526" y="431"/>
                    </a:lnTo>
                    <a:lnTo>
                      <a:pt x="519" y="442"/>
                    </a:lnTo>
                    <a:lnTo>
                      <a:pt x="511" y="453"/>
                    </a:lnTo>
                    <a:lnTo>
                      <a:pt x="503" y="464"/>
                    </a:lnTo>
                    <a:lnTo>
                      <a:pt x="494" y="474"/>
                    </a:lnTo>
                    <a:lnTo>
                      <a:pt x="484" y="484"/>
                    </a:lnTo>
                    <a:lnTo>
                      <a:pt x="475" y="493"/>
                    </a:lnTo>
                    <a:lnTo>
                      <a:pt x="464" y="502"/>
                    </a:lnTo>
                    <a:lnTo>
                      <a:pt x="454" y="510"/>
                    </a:lnTo>
                    <a:lnTo>
                      <a:pt x="442" y="518"/>
                    </a:lnTo>
                    <a:lnTo>
                      <a:pt x="430" y="526"/>
                    </a:lnTo>
                    <a:lnTo>
                      <a:pt x="419" y="533"/>
                    </a:lnTo>
                    <a:lnTo>
                      <a:pt x="407" y="539"/>
                    </a:lnTo>
                    <a:lnTo>
                      <a:pt x="394" y="545"/>
                    </a:lnTo>
                    <a:lnTo>
                      <a:pt x="381" y="550"/>
                    </a:lnTo>
                    <a:lnTo>
                      <a:pt x="368" y="554"/>
                    </a:lnTo>
                    <a:lnTo>
                      <a:pt x="355" y="558"/>
                    </a:lnTo>
                    <a:lnTo>
                      <a:pt x="341" y="561"/>
                    </a:lnTo>
                    <a:lnTo>
                      <a:pt x="327" y="564"/>
                    </a:lnTo>
                    <a:lnTo>
                      <a:pt x="313" y="565"/>
                    </a:lnTo>
                    <a:lnTo>
                      <a:pt x="299" y="566"/>
                    </a:lnTo>
                    <a:lnTo>
                      <a:pt x="284" y="567"/>
                    </a:lnTo>
                    <a:lnTo>
                      <a:pt x="284" y="567"/>
                    </a:lnTo>
                    <a:close/>
                    <a:moveTo>
                      <a:pt x="284" y="57"/>
                    </a:moveTo>
                    <a:lnTo>
                      <a:pt x="284" y="57"/>
                    </a:lnTo>
                    <a:lnTo>
                      <a:pt x="261" y="58"/>
                    </a:lnTo>
                    <a:lnTo>
                      <a:pt x="238" y="61"/>
                    </a:lnTo>
                    <a:lnTo>
                      <a:pt x="216" y="67"/>
                    </a:lnTo>
                    <a:lnTo>
                      <a:pt x="196" y="74"/>
                    </a:lnTo>
                    <a:lnTo>
                      <a:pt x="176" y="84"/>
                    </a:lnTo>
                    <a:lnTo>
                      <a:pt x="158" y="95"/>
                    </a:lnTo>
                    <a:lnTo>
                      <a:pt x="139" y="108"/>
                    </a:lnTo>
                    <a:lnTo>
                      <a:pt x="123" y="123"/>
                    </a:lnTo>
                    <a:lnTo>
                      <a:pt x="109" y="139"/>
                    </a:lnTo>
                    <a:lnTo>
                      <a:pt x="96" y="157"/>
                    </a:lnTo>
                    <a:lnTo>
                      <a:pt x="85" y="175"/>
                    </a:lnTo>
                    <a:lnTo>
                      <a:pt x="75" y="195"/>
                    </a:lnTo>
                    <a:lnTo>
                      <a:pt x="68" y="216"/>
                    </a:lnTo>
                    <a:lnTo>
                      <a:pt x="62" y="238"/>
                    </a:lnTo>
                    <a:lnTo>
                      <a:pt x="59" y="260"/>
                    </a:lnTo>
                    <a:lnTo>
                      <a:pt x="58" y="283"/>
                    </a:lnTo>
                    <a:lnTo>
                      <a:pt x="58" y="283"/>
                    </a:lnTo>
                    <a:lnTo>
                      <a:pt x="59" y="306"/>
                    </a:lnTo>
                    <a:lnTo>
                      <a:pt x="62" y="329"/>
                    </a:lnTo>
                    <a:lnTo>
                      <a:pt x="68" y="351"/>
                    </a:lnTo>
                    <a:lnTo>
                      <a:pt x="75" y="371"/>
                    </a:lnTo>
                    <a:lnTo>
                      <a:pt x="85" y="391"/>
                    </a:lnTo>
                    <a:lnTo>
                      <a:pt x="96" y="410"/>
                    </a:lnTo>
                    <a:lnTo>
                      <a:pt x="109" y="428"/>
                    </a:lnTo>
                    <a:lnTo>
                      <a:pt x="123" y="444"/>
                    </a:lnTo>
                    <a:lnTo>
                      <a:pt x="139" y="458"/>
                    </a:lnTo>
                    <a:lnTo>
                      <a:pt x="158" y="471"/>
                    </a:lnTo>
                    <a:lnTo>
                      <a:pt x="176" y="483"/>
                    </a:lnTo>
                    <a:lnTo>
                      <a:pt x="196" y="492"/>
                    </a:lnTo>
                    <a:lnTo>
                      <a:pt x="216" y="500"/>
                    </a:lnTo>
                    <a:lnTo>
                      <a:pt x="238" y="505"/>
                    </a:lnTo>
                    <a:lnTo>
                      <a:pt x="261" y="509"/>
                    </a:lnTo>
                    <a:lnTo>
                      <a:pt x="284" y="510"/>
                    </a:lnTo>
                    <a:lnTo>
                      <a:pt x="284" y="510"/>
                    </a:lnTo>
                    <a:lnTo>
                      <a:pt x="307" y="509"/>
                    </a:lnTo>
                    <a:lnTo>
                      <a:pt x="329" y="505"/>
                    </a:lnTo>
                    <a:lnTo>
                      <a:pt x="352" y="500"/>
                    </a:lnTo>
                    <a:lnTo>
                      <a:pt x="372" y="492"/>
                    </a:lnTo>
                    <a:lnTo>
                      <a:pt x="392" y="483"/>
                    </a:lnTo>
                    <a:lnTo>
                      <a:pt x="411" y="471"/>
                    </a:lnTo>
                    <a:lnTo>
                      <a:pt x="428" y="458"/>
                    </a:lnTo>
                    <a:lnTo>
                      <a:pt x="444" y="444"/>
                    </a:lnTo>
                    <a:lnTo>
                      <a:pt x="459" y="428"/>
                    </a:lnTo>
                    <a:lnTo>
                      <a:pt x="472" y="410"/>
                    </a:lnTo>
                    <a:lnTo>
                      <a:pt x="483" y="391"/>
                    </a:lnTo>
                    <a:lnTo>
                      <a:pt x="493" y="371"/>
                    </a:lnTo>
                    <a:lnTo>
                      <a:pt x="500" y="351"/>
                    </a:lnTo>
                    <a:lnTo>
                      <a:pt x="506" y="329"/>
                    </a:lnTo>
                    <a:lnTo>
                      <a:pt x="509" y="306"/>
                    </a:lnTo>
                    <a:lnTo>
                      <a:pt x="511" y="283"/>
                    </a:lnTo>
                    <a:lnTo>
                      <a:pt x="511" y="283"/>
                    </a:lnTo>
                    <a:lnTo>
                      <a:pt x="509" y="260"/>
                    </a:lnTo>
                    <a:lnTo>
                      <a:pt x="506" y="238"/>
                    </a:lnTo>
                    <a:lnTo>
                      <a:pt x="500" y="216"/>
                    </a:lnTo>
                    <a:lnTo>
                      <a:pt x="493" y="195"/>
                    </a:lnTo>
                    <a:lnTo>
                      <a:pt x="483" y="175"/>
                    </a:lnTo>
                    <a:lnTo>
                      <a:pt x="472" y="157"/>
                    </a:lnTo>
                    <a:lnTo>
                      <a:pt x="459" y="139"/>
                    </a:lnTo>
                    <a:lnTo>
                      <a:pt x="444" y="123"/>
                    </a:lnTo>
                    <a:lnTo>
                      <a:pt x="428" y="108"/>
                    </a:lnTo>
                    <a:lnTo>
                      <a:pt x="411" y="95"/>
                    </a:lnTo>
                    <a:lnTo>
                      <a:pt x="392" y="84"/>
                    </a:lnTo>
                    <a:lnTo>
                      <a:pt x="372" y="74"/>
                    </a:lnTo>
                    <a:lnTo>
                      <a:pt x="352" y="67"/>
                    </a:lnTo>
                    <a:lnTo>
                      <a:pt x="329" y="61"/>
                    </a:lnTo>
                    <a:lnTo>
                      <a:pt x="307" y="58"/>
                    </a:lnTo>
                    <a:lnTo>
                      <a:pt x="284" y="57"/>
                    </a:lnTo>
                    <a:lnTo>
                      <a:pt x="28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grpSp>
        <p:nvGrpSpPr>
          <p:cNvPr id="5" name="Group 4">
            <a:extLst>
              <a:ext uri="{FF2B5EF4-FFF2-40B4-BE49-F238E27FC236}">
                <a16:creationId xmlns:a16="http://schemas.microsoft.com/office/drawing/2014/main" id="{C433E344-AAFB-5084-5220-AC53BDC4071D}"/>
              </a:ext>
            </a:extLst>
          </p:cNvPr>
          <p:cNvGrpSpPr/>
          <p:nvPr/>
        </p:nvGrpSpPr>
        <p:grpSpPr>
          <a:xfrm>
            <a:off x="1008132" y="2269512"/>
            <a:ext cx="11176505" cy="2940837"/>
            <a:chOff x="1008132" y="2252714"/>
            <a:chExt cx="11176505" cy="2940837"/>
          </a:xfrm>
        </p:grpSpPr>
        <p:sp>
          <p:nvSpPr>
            <p:cNvPr id="282" name="Rectangle: Rounded Corners 281">
              <a:extLst>
                <a:ext uri="{FF2B5EF4-FFF2-40B4-BE49-F238E27FC236}">
                  <a16:creationId xmlns:a16="http://schemas.microsoft.com/office/drawing/2014/main" id="{9AD6099D-4B78-0B30-ECE8-CC3D5D7C49F1}"/>
                </a:ext>
              </a:extLst>
            </p:cNvPr>
            <p:cNvSpPr/>
            <p:nvPr/>
          </p:nvSpPr>
          <p:spPr>
            <a:xfrm flipH="1">
              <a:off x="8193792" y="2252714"/>
              <a:ext cx="3662010" cy="2940837"/>
            </a:xfrm>
            <a:prstGeom prst="roundRect">
              <a:avLst>
                <a:gd name="adj" fmla="val 1947"/>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000" b="1" i="0" u="none" strike="noStrike" kern="1200" cap="none" spc="0" normalizeH="0" baseline="0" noProof="0">
                <a:ln>
                  <a:noFill/>
                </a:ln>
                <a:solidFill>
                  <a:prstClr val="black"/>
                </a:solidFill>
                <a:effectLst/>
                <a:uLnTx/>
                <a:uFillTx/>
                <a:latin typeface="Roboto"/>
                <a:ea typeface="+mn-ea"/>
                <a:cs typeface="+mn-cs"/>
              </a:endParaRPr>
            </a:p>
          </p:txBody>
        </p:sp>
        <p:sp>
          <p:nvSpPr>
            <p:cNvPr id="48" name="Rectangle: Rounded Corners 47">
              <a:extLst>
                <a:ext uri="{FF2B5EF4-FFF2-40B4-BE49-F238E27FC236}">
                  <a16:creationId xmlns:a16="http://schemas.microsoft.com/office/drawing/2014/main" id="{8AF1B4C7-3AC3-4C5C-307E-25225B28FD79}"/>
                </a:ext>
              </a:extLst>
            </p:cNvPr>
            <p:cNvSpPr/>
            <p:nvPr/>
          </p:nvSpPr>
          <p:spPr>
            <a:xfrm flipH="1">
              <a:off x="1008132" y="2252714"/>
              <a:ext cx="7038587" cy="2940837"/>
            </a:xfrm>
            <a:prstGeom prst="roundRect">
              <a:avLst>
                <a:gd name="adj" fmla="val 1532"/>
              </a:avLst>
            </a:prstGeom>
            <a:solidFill>
              <a:schemeClr val="bg1"/>
            </a:solidFill>
            <a:ln>
              <a:noFill/>
            </a:ln>
            <a:effectLst>
              <a:outerShdw blurRad="279400" sx="102000" sy="102000" algn="ctr" rotWithShape="0">
                <a:srgbClr val="7868E6">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000" b="1" i="0" u="none" strike="noStrike" kern="1200" cap="none" spc="0" normalizeH="0" baseline="0" noProof="0">
                <a:ln>
                  <a:noFill/>
                </a:ln>
                <a:solidFill>
                  <a:prstClr val="black"/>
                </a:solidFill>
                <a:effectLst/>
                <a:uLnTx/>
                <a:uFillTx/>
                <a:latin typeface="Roboto"/>
                <a:ea typeface="+mn-ea"/>
                <a:cs typeface="+mn-cs"/>
              </a:endParaRPr>
            </a:p>
          </p:txBody>
        </p:sp>
        <p:sp>
          <p:nvSpPr>
            <p:cNvPr id="176" name="TextBox 175">
              <a:extLst>
                <a:ext uri="{FF2B5EF4-FFF2-40B4-BE49-F238E27FC236}">
                  <a16:creationId xmlns:a16="http://schemas.microsoft.com/office/drawing/2014/main" id="{A1C07C70-1F01-53BC-E6B0-D28C12844910}"/>
                </a:ext>
              </a:extLst>
            </p:cNvPr>
            <p:cNvSpPr txBox="1"/>
            <p:nvPr/>
          </p:nvSpPr>
          <p:spPr>
            <a:xfrm>
              <a:off x="11112078" y="2609215"/>
              <a:ext cx="1072559"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C97DA"/>
                  </a:solidFill>
                  <a:effectLst/>
                  <a:uLnTx/>
                  <a:uFillTx/>
                  <a:latin typeface="Roboto"/>
                  <a:ea typeface="+mn-ea"/>
                  <a:cs typeface="+mn-cs"/>
                </a:rPr>
                <a:t>Planning</a:t>
              </a:r>
            </a:p>
          </p:txBody>
        </p:sp>
        <p:sp>
          <p:nvSpPr>
            <p:cNvPr id="178" name="TextBox 177">
              <a:extLst>
                <a:ext uri="{FF2B5EF4-FFF2-40B4-BE49-F238E27FC236}">
                  <a16:creationId xmlns:a16="http://schemas.microsoft.com/office/drawing/2014/main" id="{4424E597-81B7-4DD5-E7E5-C6D8C86AA151}"/>
                </a:ext>
              </a:extLst>
            </p:cNvPr>
            <p:cNvSpPr txBox="1"/>
            <p:nvPr/>
          </p:nvSpPr>
          <p:spPr>
            <a:xfrm>
              <a:off x="10549129" y="4789889"/>
              <a:ext cx="1413652"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C000"/>
                  </a:solidFill>
                  <a:effectLst/>
                  <a:uLnTx/>
                  <a:uFillTx/>
                  <a:latin typeface="Roboto"/>
                  <a:ea typeface="+mn-ea"/>
                  <a:cs typeface="+mn-cs"/>
                </a:rPr>
                <a:t>Implementation </a:t>
              </a:r>
            </a:p>
          </p:txBody>
        </p:sp>
        <p:sp>
          <p:nvSpPr>
            <p:cNvPr id="175" name="TextBox 174">
              <a:extLst>
                <a:ext uri="{FF2B5EF4-FFF2-40B4-BE49-F238E27FC236}">
                  <a16:creationId xmlns:a16="http://schemas.microsoft.com/office/drawing/2014/main" id="{D99A80C0-3847-F924-CBB1-BF50AAFE2DB0}"/>
                </a:ext>
              </a:extLst>
            </p:cNvPr>
            <p:cNvSpPr txBox="1"/>
            <p:nvPr/>
          </p:nvSpPr>
          <p:spPr>
            <a:xfrm>
              <a:off x="8225178" y="2733862"/>
              <a:ext cx="1072559" cy="73866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E4D7F"/>
                  </a:solidFill>
                  <a:effectLst/>
                  <a:uLnTx/>
                  <a:uFillTx/>
                  <a:latin typeface="Roboto"/>
                  <a:ea typeface="+mn-ea"/>
                  <a:cs typeface="+mn-cs"/>
                </a:rPr>
                <a:t>Impact, vulnerability and risk assessment</a:t>
              </a:r>
              <a:endParaRPr kumimoji="0" lang="en-US" sz="900" b="0" i="0" u="none" strike="noStrike" kern="1200" cap="none" spc="0" normalizeH="0" baseline="0" noProof="0" dirty="0">
                <a:ln>
                  <a:noFill/>
                </a:ln>
                <a:solidFill>
                  <a:srgbClr val="1E4D7F"/>
                </a:solidFill>
                <a:effectLst/>
                <a:uLnTx/>
                <a:uFillTx/>
                <a:latin typeface="Roboto"/>
                <a:ea typeface="+mn-ea"/>
                <a:cs typeface="+mn-cs"/>
              </a:endParaRPr>
            </a:p>
          </p:txBody>
        </p:sp>
        <p:sp>
          <p:nvSpPr>
            <p:cNvPr id="177" name="TextBox 176">
              <a:extLst>
                <a:ext uri="{FF2B5EF4-FFF2-40B4-BE49-F238E27FC236}">
                  <a16:creationId xmlns:a16="http://schemas.microsoft.com/office/drawing/2014/main" id="{086FE7C1-B909-685B-0D2C-D1100BE50EB2}"/>
                </a:ext>
              </a:extLst>
            </p:cNvPr>
            <p:cNvSpPr txBox="1"/>
            <p:nvPr/>
          </p:nvSpPr>
          <p:spPr>
            <a:xfrm>
              <a:off x="8316450" y="4511707"/>
              <a:ext cx="1219884" cy="553998"/>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2D786"/>
                  </a:solidFill>
                  <a:effectLst/>
                  <a:uLnTx/>
                  <a:uFillTx/>
                  <a:latin typeface="Roboto"/>
                  <a:ea typeface="+mn-ea"/>
                  <a:cs typeface="+mn-cs"/>
                </a:rPr>
                <a:t>Monitoring, evaluation and learning</a:t>
              </a:r>
            </a:p>
          </p:txBody>
        </p:sp>
        <p:sp>
          <p:nvSpPr>
            <p:cNvPr id="179" name="Oval 178">
              <a:extLst>
                <a:ext uri="{FF2B5EF4-FFF2-40B4-BE49-F238E27FC236}">
                  <a16:creationId xmlns:a16="http://schemas.microsoft.com/office/drawing/2014/main" id="{B4A68946-BB6D-70E5-C975-0E2D5CDA74DB}"/>
                </a:ext>
              </a:extLst>
            </p:cNvPr>
            <p:cNvSpPr/>
            <p:nvPr/>
          </p:nvSpPr>
          <p:spPr>
            <a:xfrm>
              <a:off x="9562209" y="3026475"/>
              <a:ext cx="1415299" cy="1415299"/>
            </a:xfrm>
            <a:prstGeom prst="ellipse">
              <a:avLst/>
            </a:prstGeom>
            <a:solidFill>
              <a:schemeClr val="bg1"/>
            </a:solidFill>
            <a:ln>
              <a:noFill/>
            </a:ln>
            <a:effectLst>
              <a:outerShdw blurRad="2032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Roboto"/>
                  <a:ea typeface="+mn-ea"/>
                  <a:cs typeface="+mn-cs"/>
                </a:rPr>
                <a:t>    </a:t>
              </a:r>
              <a:endParaRPr kumimoji="0" lang="en-ID" sz="1200" b="0" i="0" u="none" strike="noStrike" kern="1200" cap="none" spc="0" normalizeH="0" baseline="0" noProof="0" dirty="0">
                <a:ln>
                  <a:noFill/>
                </a:ln>
                <a:solidFill>
                  <a:prstClr val="white"/>
                </a:solidFill>
                <a:effectLst/>
                <a:uLnTx/>
                <a:uFillTx/>
                <a:latin typeface="Roboto"/>
                <a:ea typeface="+mn-ea"/>
                <a:cs typeface="+mn-cs"/>
              </a:endParaRPr>
            </a:p>
          </p:txBody>
        </p:sp>
        <p:sp>
          <p:nvSpPr>
            <p:cNvPr id="181" name="TextBox 180">
              <a:extLst>
                <a:ext uri="{FF2B5EF4-FFF2-40B4-BE49-F238E27FC236}">
                  <a16:creationId xmlns:a16="http://schemas.microsoft.com/office/drawing/2014/main" id="{244CCD0E-412D-A5C0-9E62-E5379CA8837A}"/>
                </a:ext>
              </a:extLst>
            </p:cNvPr>
            <p:cNvSpPr txBox="1"/>
            <p:nvPr/>
          </p:nvSpPr>
          <p:spPr>
            <a:xfrm>
              <a:off x="9693590" y="3410959"/>
              <a:ext cx="1152537" cy="64633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Roboto"/>
                  <a:ea typeface="+mn-ea"/>
                  <a:cs typeface="+mn-cs"/>
                </a:rPr>
                <a:t>Iterative adaptation cycle</a:t>
              </a:r>
              <a:endParaRPr kumimoji="0" lang="en-US" sz="1000" b="0" i="0" u="none" strike="noStrike" kern="1200" cap="none" spc="0" normalizeH="0" baseline="0" noProof="0" dirty="0">
                <a:ln>
                  <a:noFill/>
                </a:ln>
                <a:solidFill>
                  <a:prstClr val="black"/>
                </a:solidFill>
                <a:effectLst/>
                <a:uLnTx/>
                <a:uFillTx/>
                <a:latin typeface="Roboto"/>
                <a:ea typeface="+mn-ea"/>
                <a:cs typeface="+mn-cs"/>
              </a:endParaRPr>
            </a:p>
          </p:txBody>
        </p:sp>
        <p:sp>
          <p:nvSpPr>
            <p:cNvPr id="182" name="Oval 181">
              <a:extLst>
                <a:ext uri="{FF2B5EF4-FFF2-40B4-BE49-F238E27FC236}">
                  <a16:creationId xmlns:a16="http://schemas.microsoft.com/office/drawing/2014/main" id="{0C77F14B-53A4-30FD-1059-9365D42453B5}"/>
                </a:ext>
              </a:extLst>
            </p:cNvPr>
            <p:cNvSpPr/>
            <p:nvPr/>
          </p:nvSpPr>
          <p:spPr>
            <a:xfrm>
              <a:off x="9274548" y="2745199"/>
              <a:ext cx="1977850" cy="1977850"/>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sp>
          <p:nvSpPr>
            <p:cNvPr id="225" name="Arc 224">
              <a:extLst>
                <a:ext uri="{FF2B5EF4-FFF2-40B4-BE49-F238E27FC236}">
                  <a16:creationId xmlns:a16="http://schemas.microsoft.com/office/drawing/2014/main" id="{1CA3663A-C32E-29FD-BEBB-534774DFF8D3}"/>
                </a:ext>
              </a:extLst>
            </p:cNvPr>
            <p:cNvSpPr/>
            <p:nvPr/>
          </p:nvSpPr>
          <p:spPr>
            <a:xfrm>
              <a:off x="9333179" y="2747809"/>
              <a:ext cx="1904049" cy="1904049"/>
            </a:xfrm>
            <a:prstGeom prst="arc">
              <a:avLst>
                <a:gd name="adj1" fmla="val 17576154"/>
                <a:gd name="adj2" fmla="val 20326711"/>
              </a:avLst>
            </a:prstGeom>
            <a:ln w="44450" cap="rnd">
              <a:solidFill>
                <a:srgbClr val="0089EF"/>
              </a:solidFill>
              <a:round/>
              <a:headEnd type="none" w="med" len="med"/>
              <a:tailEnd type="arrow"/>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Roboto"/>
                <a:ea typeface="+mn-ea"/>
                <a:cs typeface="+mn-cs"/>
              </a:endParaRPr>
            </a:p>
          </p:txBody>
        </p:sp>
        <p:sp>
          <p:nvSpPr>
            <p:cNvPr id="226" name="Arc 225">
              <a:extLst>
                <a:ext uri="{FF2B5EF4-FFF2-40B4-BE49-F238E27FC236}">
                  <a16:creationId xmlns:a16="http://schemas.microsoft.com/office/drawing/2014/main" id="{F8BCD020-2A0B-854A-C9A6-BDB07BCE0FCF}"/>
                </a:ext>
              </a:extLst>
            </p:cNvPr>
            <p:cNvSpPr/>
            <p:nvPr/>
          </p:nvSpPr>
          <p:spPr>
            <a:xfrm flipH="1">
              <a:off x="9287318" y="2747809"/>
              <a:ext cx="1952310" cy="1952310"/>
            </a:xfrm>
            <a:prstGeom prst="arc">
              <a:avLst>
                <a:gd name="adj1" fmla="val 17729714"/>
                <a:gd name="adj2" fmla="val 20343747"/>
              </a:avLst>
            </a:prstGeom>
            <a:ln w="44450" cap="rnd">
              <a:solidFill>
                <a:schemeClr val="accent1"/>
              </a:solidFill>
              <a:round/>
              <a:headEnd type="triangle"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Roboto"/>
                <a:ea typeface="+mn-ea"/>
                <a:cs typeface="+mn-cs"/>
              </a:endParaRPr>
            </a:p>
          </p:txBody>
        </p:sp>
        <p:grpSp>
          <p:nvGrpSpPr>
            <p:cNvPr id="184" name="Group 183">
              <a:extLst>
                <a:ext uri="{FF2B5EF4-FFF2-40B4-BE49-F238E27FC236}">
                  <a16:creationId xmlns:a16="http://schemas.microsoft.com/office/drawing/2014/main" id="{1CA2C0A5-42F1-339D-A5AE-E834299F1CBE}"/>
                </a:ext>
              </a:extLst>
            </p:cNvPr>
            <p:cNvGrpSpPr/>
            <p:nvPr/>
          </p:nvGrpSpPr>
          <p:grpSpPr>
            <a:xfrm flipV="1">
              <a:off x="9279698" y="2763049"/>
              <a:ext cx="1967550" cy="1954850"/>
              <a:chOff x="3724521" y="1088006"/>
              <a:chExt cx="4742954" cy="4712339"/>
            </a:xfrm>
          </p:grpSpPr>
          <p:sp>
            <p:nvSpPr>
              <p:cNvPr id="223" name="Arc 222">
                <a:extLst>
                  <a:ext uri="{FF2B5EF4-FFF2-40B4-BE49-F238E27FC236}">
                    <a16:creationId xmlns:a16="http://schemas.microsoft.com/office/drawing/2014/main" id="{5D7517B6-9625-5A18-7FA8-F61869DDB9D1}"/>
                  </a:ext>
                </a:extLst>
              </p:cNvPr>
              <p:cNvSpPr/>
              <p:nvPr/>
            </p:nvSpPr>
            <p:spPr>
              <a:xfrm>
                <a:off x="3761259" y="1088006"/>
                <a:ext cx="4706216" cy="4706216"/>
              </a:xfrm>
              <a:prstGeom prst="arc">
                <a:avLst>
                  <a:gd name="adj1" fmla="val 17902375"/>
                  <a:gd name="adj2" fmla="val 20392528"/>
                </a:avLst>
              </a:prstGeom>
              <a:ln w="44450" cap="rnd">
                <a:solidFill>
                  <a:schemeClr val="accent3"/>
                </a:solidFill>
                <a:round/>
                <a:headEnd type="triangle"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Roboto"/>
                  <a:ea typeface="+mn-ea"/>
                  <a:cs typeface="+mn-cs"/>
                </a:endParaRPr>
              </a:p>
            </p:txBody>
          </p:sp>
          <p:sp>
            <p:nvSpPr>
              <p:cNvPr id="224" name="Arc 223">
                <a:extLst>
                  <a:ext uri="{FF2B5EF4-FFF2-40B4-BE49-F238E27FC236}">
                    <a16:creationId xmlns:a16="http://schemas.microsoft.com/office/drawing/2014/main" id="{A0060F43-36A8-F792-998C-57FC71B16A2E}"/>
                  </a:ext>
                </a:extLst>
              </p:cNvPr>
              <p:cNvSpPr/>
              <p:nvPr/>
            </p:nvSpPr>
            <p:spPr>
              <a:xfrm flipH="1">
                <a:off x="3724521" y="1094129"/>
                <a:ext cx="4706217" cy="4706216"/>
              </a:xfrm>
              <a:prstGeom prst="arc">
                <a:avLst>
                  <a:gd name="adj1" fmla="val 17856647"/>
                  <a:gd name="adj2" fmla="val 20434478"/>
                </a:avLst>
              </a:prstGeom>
              <a:ln w="44450" cap="rnd">
                <a:solidFill>
                  <a:schemeClr val="accent4"/>
                </a:solidFill>
                <a:round/>
                <a:headEnd type="none" w="med" len="med"/>
                <a:tailEnd type="arrow"/>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210" name="Group 209">
              <a:extLst>
                <a:ext uri="{FF2B5EF4-FFF2-40B4-BE49-F238E27FC236}">
                  <a16:creationId xmlns:a16="http://schemas.microsoft.com/office/drawing/2014/main" id="{10E3DBCA-7225-58A3-032D-3766858BBF77}"/>
                </a:ext>
              </a:extLst>
            </p:cNvPr>
            <p:cNvGrpSpPr/>
            <p:nvPr/>
          </p:nvGrpSpPr>
          <p:grpSpPr>
            <a:xfrm>
              <a:off x="9279415" y="2772724"/>
              <a:ext cx="500843" cy="500843"/>
              <a:chOff x="2113138" y="1888897"/>
              <a:chExt cx="957720" cy="957720"/>
            </a:xfrm>
          </p:grpSpPr>
          <p:sp>
            <p:nvSpPr>
              <p:cNvPr id="221" name="Elipse 29">
                <a:extLst>
                  <a:ext uri="{FF2B5EF4-FFF2-40B4-BE49-F238E27FC236}">
                    <a16:creationId xmlns:a16="http://schemas.microsoft.com/office/drawing/2014/main" id="{05B60656-37CF-6F73-298C-571DBD41F898}"/>
                  </a:ext>
                </a:extLst>
              </p:cNvPr>
              <p:cNvSpPr/>
              <p:nvPr/>
            </p:nvSpPr>
            <p:spPr>
              <a:xfrm>
                <a:off x="2113138" y="1888897"/>
                <a:ext cx="957720" cy="957720"/>
              </a:xfrm>
              <a:prstGeom prst="ellipse">
                <a:avLst/>
              </a:prstGeom>
              <a:solidFill>
                <a:schemeClr val="bg1"/>
              </a:solidFill>
              <a:ln>
                <a:noFill/>
              </a:ln>
              <a:effectLst>
                <a:outerShdw blurRad="2032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a:ea typeface="+mn-ea"/>
                  <a:cs typeface="+mn-cs"/>
                </a:endParaRPr>
              </a:p>
            </p:txBody>
          </p:sp>
          <p:sp>
            <p:nvSpPr>
              <p:cNvPr id="222" name="Oval 221">
                <a:extLst>
                  <a:ext uri="{FF2B5EF4-FFF2-40B4-BE49-F238E27FC236}">
                    <a16:creationId xmlns:a16="http://schemas.microsoft.com/office/drawing/2014/main" id="{5DE3E60C-356D-2069-3AB7-7779272EDDE3}"/>
                  </a:ext>
                </a:extLst>
              </p:cNvPr>
              <p:cNvSpPr/>
              <p:nvPr/>
            </p:nvSpPr>
            <p:spPr>
              <a:xfrm>
                <a:off x="2200705" y="1976466"/>
                <a:ext cx="782583" cy="782583"/>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Roboto"/>
                  <a:ea typeface="+mn-ea"/>
                  <a:cs typeface="+mn-cs"/>
                </a:endParaRPr>
              </a:p>
            </p:txBody>
          </p:sp>
        </p:grpSp>
        <p:grpSp>
          <p:nvGrpSpPr>
            <p:cNvPr id="212" name="Group 211">
              <a:extLst>
                <a:ext uri="{FF2B5EF4-FFF2-40B4-BE49-F238E27FC236}">
                  <a16:creationId xmlns:a16="http://schemas.microsoft.com/office/drawing/2014/main" id="{EFCAEC12-2EE5-C502-3E50-11E9779BAEA7}"/>
                </a:ext>
              </a:extLst>
            </p:cNvPr>
            <p:cNvGrpSpPr/>
            <p:nvPr/>
          </p:nvGrpSpPr>
          <p:grpSpPr>
            <a:xfrm>
              <a:off x="10764325" y="2772724"/>
              <a:ext cx="500843" cy="500843"/>
              <a:chOff x="2113138" y="1888897"/>
              <a:chExt cx="957720" cy="957720"/>
            </a:xfrm>
          </p:grpSpPr>
          <p:sp>
            <p:nvSpPr>
              <p:cNvPr id="219" name="Elipse 29">
                <a:extLst>
                  <a:ext uri="{FF2B5EF4-FFF2-40B4-BE49-F238E27FC236}">
                    <a16:creationId xmlns:a16="http://schemas.microsoft.com/office/drawing/2014/main" id="{7C8962F6-0969-EE92-84E9-160762D8C851}"/>
                  </a:ext>
                </a:extLst>
              </p:cNvPr>
              <p:cNvSpPr/>
              <p:nvPr/>
            </p:nvSpPr>
            <p:spPr>
              <a:xfrm>
                <a:off x="2113138" y="1888897"/>
                <a:ext cx="957720" cy="957720"/>
              </a:xfrm>
              <a:prstGeom prst="ellipse">
                <a:avLst/>
              </a:prstGeom>
              <a:solidFill>
                <a:schemeClr val="bg1"/>
              </a:solidFill>
              <a:ln>
                <a:noFill/>
              </a:ln>
              <a:effectLst>
                <a:outerShdw blurRad="2032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a:ea typeface="+mn-ea"/>
                  <a:cs typeface="+mn-cs"/>
                </a:endParaRPr>
              </a:p>
            </p:txBody>
          </p:sp>
          <p:sp>
            <p:nvSpPr>
              <p:cNvPr id="220" name="Oval 219">
                <a:extLst>
                  <a:ext uri="{FF2B5EF4-FFF2-40B4-BE49-F238E27FC236}">
                    <a16:creationId xmlns:a16="http://schemas.microsoft.com/office/drawing/2014/main" id="{9042DAC3-78EF-D56A-2E3B-B14D5FBB489C}"/>
                  </a:ext>
                </a:extLst>
              </p:cNvPr>
              <p:cNvSpPr/>
              <p:nvPr/>
            </p:nvSpPr>
            <p:spPr>
              <a:xfrm>
                <a:off x="2200704" y="1976464"/>
                <a:ext cx="782583" cy="782583"/>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Roboto"/>
                  <a:ea typeface="+mn-ea"/>
                  <a:cs typeface="+mn-cs"/>
                </a:endParaRPr>
              </a:p>
            </p:txBody>
          </p:sp>
        </p:grpSp>
        <p:grpSp>
          <p:nvGrpSpPr>
            <p:cNvPr id="213" name="Group 212">
              <a:extLst>
                <a:ext uri="{FF2B5EF4-FFF2-40B4-BE49-F238E27FC236}">
                  <a16:creationId xmlns:a16="http://schemas.microsoft.com/office/drawing/2014/main" id="{C9D90D60-8770-2DEA-B0F0-C80996331F3F}"/>
                </a:ext>
              </a:extLst>
            </p:cNvPr>
            <p:cNvGrpSpPr/>
            <p:nvPr/>
          </p:nvGrpSpPr>
          <p:grpSpPr>
            <a:xfrm>
              <a:off x="9279415" y="4119293"/>
              <a:ext cx="500843" cy="500843"/>
              <a:chOff x="2113138" y="1888897"/>
              <a:chExt cx="957720" cy="957720"/>
            </a:xfrm>
          </p:grpSpPr>
          <p:sp>
            <p:nvSpPr>
              <p:cNvPr id="217" name="Elipse 29">
                <a:extLst>
                  <a:ext uri="{FF2B5EF4-FFF2-40B4-BE49-F238E27FC236}">
                    <a16:creationId xmlns:a16="http://schemas.microsoft.com/office/drawing/2014/main" id="{E5AFCB42-9DD7-F850-571C-E8241955055C}"/>
                  </a:ext>
                </a:extLst>
              </p:cNvPr>
              <p:cNvSpPr/>
              <p:nvPr/>
            </p:nvSpPr>
            <p:spPr>
              <a:xfrm>
                <a:off x="2113138" y="1888897"/>
                <a:ext cx="957720" cy="957720"/>
              </a:xfrm>
              <a:prstGeom prst="ellipse">
                <a:avLst/>
              </a:prstGeom>
              <a:solidFill>
                <a:schemeClr val="bg1"/>
              </a:solidFill>
              <a:ln>
                <a:noFill/>
              </a:ln>
              <a:effectLst>
                <a:outerShdw blurRad="2032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a:ea typeface="+mn-ea"/>
                  <a:cs typeface="+mn-cs"/>
                </a:endParaRPr>
              </a:p>
            </p:txBody>
          </p:sp>
          <p:sp>
            <p:nvSpPr>
              <p:cNvPr id="218" name="Oval 217">
                <a:extLst>
                  <a:ext uri="{FF2B5EF4-FFF2-40B4-BE49-F238E27FC236}">
                    <a16:creationId xmlns:a16="http://schemas.microsoft.com/office/drawing/2014/main" id="{490DF62D-1E30-9CF9-2210-BE22F239DCDA}"/>
                  </a:ext>
                </a:extLst>
              </p:cNvPr>
              <p:cNvSpPr/>
              <p:nvPr/>
            </p:nvSpPr>
            <p:spPr>
              <a:xfrm>
                <a:off x="2200705" y="1976466"/>
                <a:ext cx="782583" cy="78258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214" name="Group 213">
              <a:extLst>
                <a:ext uri="{FF2B5EF4-FFF2-40B4-BE49-F238E27FC236}">
                  <a16:creationId xmlns:a16="http://schemas.microsoft.com/office/drawing/2014/main" id="{137E0A92-F3CA-0992-7942-8025A353A0AD}"/>
                </a:ext>
              </a:extLst>
            </p:cNvPr>
            <p:cNvGrpSpPr/>
            <p:nvPr/>
          </p:nvGrpSpPr>
          <p:grpSpPr>
            <a:xfrm>
              <a:off x="10764325" y="4119293"/>
              <a:ext cx="500843" cy="500843"/>
              <a:chOff x="2113138" y="1888897"/>
              <a:chExt cx="957720" cy="957720"/>
            </a:xfrm>
          </p:grpSpPr>
          <p:sp>
            <p:nvSpPr>
              <p:cNvPr id="215" name="Elipse 29">
                <a:extLst>
                  <a:ext uri="{FF2B5EF4-FFF2-40B4-BE49-F238E27FC236}">
                    <a16:creationId xmlns:a16="http://schemas.microsoft.com/office/drawing/2014/main" id="{B1CBCDD5-6846-BD55-9FDB-87B223F7F672}"/>
                  </a:ext>
                </a:extLst>
              </p:cNvPr>
              <p:cNvSpPr/>
              <p:nvPr/>
            </p:nvSpPr>
            <p:spPr>
              <a:xfrm>
                <a:off x="2113138" y="1888897"/>
                <a:ext cx="957720" cy="957720"/>
              </a:xfrm>
              <a:prstGeom prst="ellipse">
                <a:avLst/>
              </a:prstGeom>
              <a:solidFill>
                <a:schemeClr val="bg1"/>
              </a:solidFill>
              <a:ln>
                <a:noFill/>
              </a:ln>
              <a:effectLst>
                <a:outerShdw blurRad="2032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a:ea typeface="+mn-ea"/>
                  <a:cs typeface="+mn-cs"/>
                </a:endParaRPr>
              </a:p>
            </p:txBody>
          </p:sp>
          <p:sp>
            <p:nvSpPr>
              <p:cNvPr id="216" name="Oval 215">
                <a:extLst>
                  <a:ext uri="{FF2B5EF4-FFF2-40B4-BE49-F238E27FC236}">
                    <a16:creationId xmlns:a16="http://schemas.microsoft.com/office/drawing/2014/main" id="{4CA3CEC4-EC05-0DBA-5A0B-D70DDC09A178}"/>
                  </a:ext>
                </a:extLst>
              </p:cNvPr>
              <p:cNvSpPr/>
              <p:nvPr/>
            </p:nvSpPr>
            <p:spPr>
              <a:xfrm>
                <a:off x="2200705" y="1976466"/>
                <a:ext cx="782583" cy="782583"/>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13" name="Group 12">
              <a:extLst>
                <a:ext uri="{FF2B5EF4-FFF2-40B4-BE49-F238E27FC236}">
                  <a16:creationId xmlns:a16="http://schemas.microsoft.com/office/drawing/2014/main" id="{307DC494-DE26-F9F1-54E0-FC8B35CD79C8}"/>
                </a:ext>
              </a:extLst>
            </p:cNvPr>
            <p:cNvGrpSpPr/>
            <p:nvPr/>
          </p:nvGrpSpPr>
          <p:grpSpPr>
            <a:xfrm>
              <a:off x="10918856" y="2912113"/>
              <a:ext cx="219067" cy="219067"/>
              <a:chOff x="9155113" y="2168525"/>
              <a:chExt cx="360363" cy="360363"/>
            </a:xfrm>
            <a:solidFill>
              <a:schemeClr val="bg1"/>
            </a:solidFill>
          </p:grpSpPr>
          <p:sp>
            <p:nvSpPr>
              <p:cNvPr id="40" name="Freeform 91">
                <a:extLst>
                  <a:ext uri="{FF2B5EF4-FFF2-40B4-BE49-F238E27FC236}">
                    <a16:creationId xmlns:a16="http://schemas.microsoft.com/office/drawing/2014/main" id="{3652D12D-7D59-120D-0E58-372FAD6912EA}"/>
                  </a:ext>
                </a:extLst>
              </p:cNvPr>
              <p:cNvSpPr>
                <a:spLocks noEditPoints="1"/>
              </p:cNvSpPr>
              <p:nvPr/>
            </p:nvSpPr>
            <p:spPr bwMode="auto">
              <a:xfrm>
                <a:off x="9336088" y="2347913"/>
                <a:ext cx="179388" cy="180975"/>
              </a:xfrm>
              <a:custGeom>
                <a:avLst/>
                <a:gdLst>
                  <a:gd name="T0" fmla="*/ 33 w 794"/>
                  <a:gd name="T1" fmla="*/ 794 h 794"/>
                  <a:gd name="T2" fmla="*/ 33 w 794"/>
                  <a:gd name="T3" fmla="*/ 794 h 794"/>
                  <a:gd name="T4" fmla="*/ 27 w 794"/>
                  <a:gd name="T5" fmla="*/ 794 h 794"/>
                  <a:gd name="T6" fmla="*/ 21 w 794"/>
                  <a:gd name="T7" fmla="*/ 792 h 794"/>
                  <a:gd name="T8" fmla="*/ 15 w 794"/>
                  <a:gd name="T9" fmla="*/ 789 h 794"/>
                  <a:gd name="T10" fmla="*/ 10 w 794"/>
                  <a:gd name="T11" fmla="*/ 785 h 794"/>
                  <a:gd name="T12" fmla="*/ 10 w 794"/>
                  <a:gd name="T13" fmla="*/ 785 h 794"/>
                  <a:gd name="T14" fmla="*/ 4 w 794"/>
                  <a:gd name="T15" fmla="*/ 778 h 794"/>
                  <a:gd name="T16" fmla="*/ 1 w 794"/>
                  <a:gd name="T17" fmla="*/ 769 h 794"/>
                  <a:gd name="T18" fmla="*/ 0 w 794"/>
                  <a:gd name="T19" fmla="*/ 761 h 794"/>
                  <a:gd name="T20" fmla="*/ 1 w 794"/>
                  <a:gd name="T21" fmla="*/ 753 h 794"/>
                  <a:gd name="T22" fmla="*/ 68 w 794"/>
                  <a:gd name="T23" fmla="*/ 521 h 794"/>
                  <a:gd name="T24" fmla="*/ 68 w 794"/>
                  <a:gd name="T25" fmla="*/ 521 h 794"/>
                  <a:gd name="T26" fmla="*/ 71 w 794"/>
                  <a:gd name="T27" fmla="*/ 513 h 794"/>
                  <a:gd name="T28" fmla="*/ 76 w 794"/>
                  <a:gd name="T29" fmla="*/ 506 h 794"/>
                  <a:gd name="T30" fmla="*/ 573 w 794"/>
                  <a:gd name="T31" fmla="*/ 10 h 794"/>
                  <a:gd name="T32" fmla="*/ 573 w 794"/>
                  <a:gd name="T33" fmla="*/ 10 h 794"/>
                  <a:gd name="T34" fmla="*/ 578 w 794"/>
                  <a:gd name="T35" fmla="*/ 6 h 794"/>
                  <a:gd name="T36" fmla="*/ 583 w 794"/>
                  <a:gd name="T37" fmla="*/ 3 h 794"/>
                  <a:gd name="T38" fmla="*/ 589 w 794"/>
                  <a:gd name="T39" fmla="*/ 1 h 794"/>
                  <a:gd name="T40" fmla="*/ 595 w 794"/>
                  <a:gd name="T41" fmla="*/ 0 h 794"/>
                  <a:gd name="T42" fmla="*/ 602 w 794"/>
                  <a:gd name="T43" fmla="*/ 1 h 794"/>
                  <a:gd name="T44" fmla="*/ 608 w 794"/>
                  <a:gd name="T45" fmla="*/ 3 h 794"/>
                  <a:gd name="T46" fmla="*/ 614 w 794"/>
                  <a:gd name="T47" fmla="*/ 6 h 794"/>
                  <a:gd name="T48" fmla="*/ 619 w 794"/>
                  <a:gd name="T49" fmla="*/ 10 h 794"/>
                  <a:gd name="T50" fmla="*/ 785 w 794"/>
                  <a:gd name="T51" fmla="*/ 175 h 794"/>
                  <a:gd name="T52" fmla="*/ 785 w 794"/>
                  <a:gd name="T53" fmla="*/ 175 h 794"/>
                  <a:gd name="T54" fmla="*/ 789 w 794"/>
                  <a:gd name="T55" fmla="*/ 180 h 794"/>
                  <a:gd name="T56" fmla="*/ 792 w 794"/>
                  <a:gd name="T57" fmla="*/ 186 h 794"/>
                  <a:gd name="T58" fmla="*/ 793 w 794"/>
                  <a:gd name="T59" fmla="*/ 193 h 794"/>
                  <a:gd name="T60" fmla="*/ 794 w 794"/>
                  <a:gd name="T61" fmla="*/ 199 h 794"/>
                  <a:gd name="T62" fmla="*/ 794 w 794"/>
                  <a:gd name="T63" fmla="*/ 199 h 794"/>
                  <a:gd name="T64" fmla="*/ 793 w 794"/>
                  <a:gd name="T65" fmla="*/ 205 h 794"/>
                  <a:gd name="T66" fmla="*/ 792 w 794"/>
                  <a:gd name="T67" fmla="*/ 211 h 794"/>
                  <a:gd name="T68" fmla="*/ 789 w 794"/>
                  <a:gd name="T69" fmla="*/ 218 h 794"/>
                  <a:gd name="T70" fmla="*/ 785 w 794"/>
                  <a:gd name="T71" fmla="*/ 223 h 794"/>
                  <a:gd name="T72" fmla="*/ 288 w 794"/>
                  <a:gd name="T73" fmla="*/ 719 h 794"/>
                  <a:gd name="T74" fmla="*/ 288 w 794"/>
                  <a:gd name="T75" fmla="*/ 719 h 794"/>
                  <a:gd name="T76" fmla="*/ 282 w 794"/>
                  <a:gd name="T77" fmla="*/ 724 h 794"/>
                  <a:gd name="T78" fmla="*/ 273 w 794"/>
                  <a:gd name="T79" fmla="*/ 727 h 794"/>
                  <a:gd name="T80" fmla="*/ 43 w 794"/>
                  <a:gd name="T81" fmla="*/ 793 h 794"/>
                  <a:gd name="T82" fmla="*/ 43 w 794"/>
                  <a:gd name="T83" fmla="*/ 793 h 794"/>
                  <a:gd name="T84" fmla="*/ 38 w 794"/>
                  <a:gd name="T85" fmla="*/ 794 h 794"/>
                  <a:gd name="T86" fmla="*/ 33 w 794"/>
                  <a:gd name="T87" fmla="*/ 794 h 794"/>
                  <a:gd name="T88" fmla="*/ 33 w 794"/>
                  <a:gd name="T89" fmla="*/ 794 h 794"/>
                  <a:gd name="T90" fmla="*/ 129 w 794"/>
                  <a:gd name="T91" fmla="*/ 547 h 794"/>
                  <a:gd name="T92" fmla="*/ 81 w 794"/>
                  <a:gd name="T93" fmla="*/ 713 h 794"/>
                  <a:gd name="T94" fmla="*/ 248 w 794"/>
                  <a:gd name="T95" fmla="*/ 666 h 794"/>
                  <a:gd name="T96" fmla="*/ 714 w 794"/>
                  <a:gd name="T97" fmla="*/ 199 h 794"/>
                  <a:gd name="T98" fmla="*/ 595 w 794"/>
                  <a:gd name="T99" fmla="*/ 80 h 794"/>
                  <a:gd name="T100" fmla="*/ 129 w 794"/>
                  <a:gd name="T101" fmla="*/ 547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94" h="794">
                    <a:moveTo>
                      <a:pt x="33" y="794"/>
                    </a:moveTo>
                    <a:lnTo>
                      <a:pt x="33" y="794"/>
                    </a:lnTo>
                    <a:lnTo>
                      <a:pt x="27" y="794"/>
                    </a:lnTo>
                    <a:lnTo>
                      <a:pt x="21" y="792"/>
                    </a:lnTo>
                    <a:lnTo>
                      <a:pt x="15" y="789"/>
                    </a:lnTo>
                    <a:lnTo>
                      <a:pt x="10" y="785"/>
                    </a:lnTo>
                    <a:lnTo>
                      <a:pt x="10" y="785"/>
                    </a:lnTo>
                    <a:lnTo>
                      <a:pt x="4" y="778"/>
                    </a:lnTo>
                    <a:lnTo>
                      <a:pt x="1" y="769"/>
                    </a:lnTo>
                    <a:lnTo>
                      <a:pt x="0" y="761"/>
                    </a:lnTo>
                    <a:lnTo>
                      <a:pt x="1" y="753"/>
                    </a:lnTo>
                    <a:lnTo>
                      <a:pt x="68" y="521"/>
                    </a:lnTo>
                    <a:lnTo>
                      <a:pt x="68" y="521"/>
                    </a:lnTo>
                    <a:lnTo>
                      <a:pt x="71" y="513"/>
                    </a:lnTo>
                    <a:lnTo>
                      <a:pt x="76" y="506"/>
                    </a:lnTo>
                    <a:lnTo>
                      <a:pt x="573" y="10"/>
                    </a:lnTo>
                    <a:lnTo>
                      <a:pt x="573" y="10"/>
                    </a:lnTo>
                    <a:lnTo>
                      <a:pt x="578" y="6"/>
                    </a:lnTo>
                    <a:lnTo>
                      <a:pt x="583" y="3"/>
                    </a:lnTo>
                    <a:lnTo>
                      <a:pt x="589" y="1"/>
                    </a:lnTo>
                    <a:lnTo>
                      <a:pt x="595" y="0"/>
                    </a:lnTo>
                    <a:lnTo>
                      <a:pt x="602" y="1"/>
                    </a:lnTo>
                    <a:lnTo>
                      <a:pt x="608" y="3"/>
                    </a:lnTo>
                    <a:lnTo>
                      <a:pt x="614" y="6"/>
                    </a:lnTo>
                    <a:lnTo>
                      <a:pt x="619" y="10"/>
                    </a:lnTo>
                    <a:lnTo>
                      <a:pt x="785" y="175"/>
                    </a:lnTo>
                    <a:lnTo>
                      <a:pt x="785" y="175"/>
                    </a:lnTo>
                    <a:lnTo>
                      <a:pt x="789" y="180"/>
                    </a:lnTo>
                    <a:lnTo>
                      <a:pt x="792" y="186"/>
                    </a:lnTo>
                    <a:lnTo>
                      <a:pt x="793" y="193"/>
                    </a:lnTo>
                    <a:lnTo>
                      <a:pt x="794" y="199"/>
                    </a:lnTo>
                    <a:lnTo>
                      <a:pt x="794" y="199"/>
                    </a:lnTo>
                    <a:lnTo>
                      <a:pt x="793" y="205"/>
                    </a:lnTo>
                    <a:lnTo>
                      <a:pt x="792" y="211"/>
                    </a:lnTo>
                    <a:lnTo>
                      <a:pt x="789" y="218"/>
                    </a:lnTo>
                    <a:lnTo>
                      <a:pt x="785" y="223"/>
                    </a:lnTo>
                    <a:lnTo>
                      <a:pt x="288" y="719"/>
                    </a:lnTo>
                    <a:lnTo>
                      <a:pt x="288" y="719"/>
                    </a:lnTo>
                    <a:lnTo>
                      <a:pt x="282" y="724"/>
                    </a:lnTo>
                    <a:lnTo>
                      <a:pt x="273" y="727"/>
                    </a:lnTo>
                    <a:lnTo>
                      <a:pt x="43" y="793"/>
                    </a:lnTo>
                    <a:lnTo>
                      <a:pt x="43" y="793"/>
                    </a:lnTo>
                    <a:lnTo>
                      <a:pt x="38" y="794"/>
                    </a:lnTo>
                    <a:lnTo>
                      <a:pt x="33" y="794"/>
                    </a:lnTo>
                    <a:lnTo>
                      <a:pt x="33" y="794"/>
                    </a:lnTo>
                    <a:close/>
                    <a:moveTo>
                      <a:pt x="129" y="547"/>
                    </a:moveTo>
                    <a:lnTo>
                      <a:pt x="81" y="713"/>
                    </a:lnTo>
                    <a:lnTo>
                      <a:pt x="248" y="666"/>
                    </a:lnTo>
                    <a:lnTo>
                      <a:pt x="714" y="199"/>
                    </a:lnTo>
                    <a:lnTo>
                      <a:pt x="595" y="80"/>
                    </a:lnTo>
                    <a:lnTo>
                      <a:pt x="129" y="5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1" name="Freeform 92">
                <a:extLst>
                  <a:ext uri="{FF2B5EF4-FFF2-40B4-BE49-F238E27FC236}">
                    <a16:creationId xmlns:a16="http://schemas.microsoft.com/office/drawing/2014/main" id="{F0AC5B74-2CFA-818D-EFA2-C7EB480087CE}"/>
                  </a:ext>
                </a:extLst>
              </p:cNvPr>
              <p:cNvSpPr>
                <a:spLocks/>
              </p:cNvSpPr>
              <p:nvPr/>
            </p:nvSpPr>
            <p:spPr bwMode="auto">
              <a:xfrm>
                <a:off x="9434513" y="2381250"/>
                <a:ext cx="49213" cy="47625"/>
              </a:xfrm>
              <a:custGeom>
                <a:avLst/>
                <a:gdLst>
                  <a:gd name="T0" fmla="*/ 166 w 212"/>
                  <a:gd name="T1" fmla="*/ 211 h 211"/>
                  <a:gd name="T2" fmla="*/ 0 w 212"/>
                  <a:gd name="T3" fmla="*/ 47 h 211"/>
                  <a:gd name="T4" fmla="*/ 47 w 212"/>
                  <a:gd name="T5" fmla="*/ 0 h 211"/>
                  <a:gd name="T6" fmla="*/ 212 w 212"/>
                  <a:gd name="T7" fmla="*/ 165 h 211"/>
                  <a:gd name="T8" fmla="*/ 166 w 212"/>
                  <a:gd name="T9" fmla="*/ 211 h 211"/>
                </a:gdLst>
                <a:ahLst/>
                <a:cxnLst>
                  <a:cxn ang="0">
                    <a:pos x="T0" y="T1"/>
                  </a:cxn>
                  <a:cxn ang="0">
                    <a:pos x="T2" y="T3"/>
                  </a:cxn>
                  <a:cxn ang="0">
                    <a:pos x="T4" y="T5"/>
                  </a:cxn>
                  <a:cxn ang="0">
                    <a:pos x="T6" y="T7"/>
                  </a:cxn>
                  <a:cxn ang="0">
                    <a:pos x="T8" y="T9"/>
                  </a:cxn>
                </a:cxnLst>
                <a:rect l="0" t="0" r="r" b="b"/>
                <a:pathLst>
                  <a:path w="212" h="211">
                    <a:moveTo>
                      <a:pt x="166" y="211"/>
                    </a:moveTo>
                    <a:lnTo>
                      <a:pt x="0" y="47"/>
                    </a:lnTo>
                    <a:lnTo>
                      <a:pt x="47" y="0"/>
                    </a:lnTo>
                    <a:lnTo>
                      <a:pt x="212" y="165"/>
                    </a:lnTo>
                    <a:lnTo>
                      <a:pt x="1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2" name="Freeform 93">
                <a:extLst>
                  <a:ext uri="{FF2B5EF4-FFF2-40B4-BE49-F238E27FC236}">
                    <a16:creationId xmlns:a16="http://schemas.microsoft.com/office/drawing/2014/main" id="{EDF101A6-7D52-C595-7B5D-D15E00C864C1}"/>
                  </a:ext>
                </a:extLst>
              </p:cNvPr>
              <p:cNvSpPr>
                <a:spLocks/>
              </p:cNvSpPr>
              <p:nvPr/>
            </p:nvSpPr>
            <p:spPr bwMode="auto">
              <a:xfrm>
                <a:off x="9350375" y="2460625"/>
                <a:ext cx="52388" cy="52388"/>
              </a:xfrm>
              <a:custGeom>
                <a:avLst/>
                <a:gdLst>
                  <a:gd name="T0" fmla="*/ 199 w 232"/>
                  <a:gd name="T1" fmla="*/ 231 h 231"/>
                  <a:gd name="T2" fmla="*/ 199 w 232"/>
                  <a:gd name="T3" fmla="*/ 231 h 231"/>
                  <a:gd name="T4" fmla="*/ 193 w 232"/>
                  <a:gd name="T5" fmla="*/ 231 h 231"/>
                  <a:gd name="T6" fmla="*/ 187 w 232"/>
                  <a:gd name="T7" fmla="*/ 229 h 231"/>
                  <a:gd name="T8" fmla="*/ 181 w 232"/>
                  <a:gd name="T9" fmla="*/ 226 h 231"/>
                  <a:gd name="T10" fmla="*/ 175 w 232"/>
                  <a:gd name="T11" fmla="*/ 222 h 231"/>
                  <a:gd name="T12" fmla="*/ 10 w 232"/>
                  <a:gd name="T13" fmla="*/ 56 h 231"/>
                  <a:gd name="T14" fmla="*/ 10 w 232"/>
                  <a:gd name="T15" fmla="*/ 56 h 231"/>
                  <a:gd name="T16" fmla="*/ 6 w 232"/>
                  <a:gd name="T17" fmla="*/ 51 h 231"/>
                  <a:gd name="T18" fmla="*/ 3 w 232"/>
                  <a:gd name="T19" fmla="*/ 46 h 231"/>
                  <a:gd name="T20" fmla="*/ 2 w 232"/>
                  <a:gd name="T21" fmla="*/ 39 h 231"/>
                  <a:gd name="T22" fmla="*/ 0 w 232"/>
                  <a:gd name="T23" fmla="*/ 33 h 231"/>
                  <a:gd name="T24" fmla="*/ 2 w 232"/>
                  <a:gd name="T25" fmla="*/ 27 h 231"/>
                  <a:gd name="T26" fmla="*/ 3 w 232"/>
                  <a:gd name="T27" fmla="*/ 21 h 231"/>
                  <a:gd name="T28" fmla="*/ 6 w 232"/>
                  <a:gd name="T29" fmla="*/ 15 h 231"/>
                  <a:gd name="T30" fmla="*/ 10 w 232"/>
                  <a:gd name="T31" fmla="*/ 9 h 231"/>
                  <a:gd name="T32" fmla="*/ 10 w 232"/>
                  <a:gd name="T33" fmla="*/ 9 h 231"/>
                  <a:gd name="T34" fmla="*/ 15 w 232"/>
                  <a:gd name="T35" fmla="*/ 5 h 231"/>
                  <a:gd name="T36" fmla="*/ 21 w 232"/>
                  <a:gd name="T37" fmla="*/ 2 h 231"/>
                  <a:gd name="T38" fmla="*/ 27 w 232"/>
                  <a:gd name="T39" fmla="*/ 0 h 231"/>
                  <a:gd name="T40" fmla="*/ 34 w 232"/>
                  <a:gd name="T41" fmla="*/ 0 h 231"/>
                  <a:gd name="T42" fmla="*/ 40 w 232"/>
                  <a:gd name="T43" fmla="*/ 0 h 231"/>
                  <a:gd name="T44" fmla="*/ 46 w 232"/>
                  <a:gd name="T45" fmla="*/ 2 h 231"/>
                  <a:gd name="T46" fmla="*/ 51 w 232"/>
                  <a:gd name="T47" fmla="*/ 5 h 231"/>
                  <a:gd name="T48" fmla="*/ 56 w 232"/>
                  <a:gd name="T49" fmla="*/ 9 h 231"/>
                  <a:gd name="T50" fmla="*/ 222 w 232"/>
                  <a:gd name="T51" fmla="*/ 175 h 231"/>
                  <a:gd name="T52" fmla="*/ 222 w 232"/>
                  <a:gd name="T53" fmla="*/ 175 h 231"/>
                  <a:gd name="T54" fmla="*/ 226 w 232"/>
                  <a:gd name="T55" fmla="*/ 180 h 231"/>
                  <a:gd name="T56" fmla="*/ 229 w 232"/>
                  <a:gd name="T57" fmla="*/ 185 h 231"/>
                  <a:gd name="T58" fmla="*/ 231 w 232"/>
                  <a:gd name="T59" fmla="*/ 192 h 231"/>
                  <a:gd name="T60" fmla="*/ 232 w 232"/>
                  <a:gd name="T61" fmla="*/ 198 h 231"/>
                  <a:gd name="T62" fmla="*/ 231 w 232"/>
                  <a:gd name="T63" fmla="*/ 205 h 231"/>
                  <a:gd name="T64" fmla="*/ 229 w 232"/>
                  <a:gd name="T65" fmla="*/ 210 h 231"/>
                  <a:gd name="T66" fmla="*/ 226 w 232"/>
                  <a:gd name="T67" fmla="*/ 216 h 231"/>
                  <a:gd name="T68" fmla="*/ 222 w 232"/>
                  <a:gd name="T69" fmla="*/ 222 h 231"/>
                  <a:gd name="T70" fmla="*/ 222 w 232"/>
                  <a:gd name="T71" fmla="*/ 222 h 231"/>
                  <a:gd name="T72" fmla="*/ 217 w 232"/>
                  <a:gd name="T73" fmla="*/ 226 h 231"/>
                  <a:gd name="T74" fmla="*/ 212 w 232"/>
                  <a:gd name="T75" fmla="*/ 229 h 231"/>
                  <a:gd name="T76" fmla="*/ 205 w 232"/>
                  <a:gd name="T77" fmla="*/ 231 h 231"/>
                  <a:gd name="T78" fmla="*/ 199 w 232"/>
                  <a:gd name="T79" fmla="*/ 231 h 231"/>
                  <a:gd name="T80" fmla="*/ 199 w 232"/>
                  <a:gd name="T81"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2" h="231">
                    <a:moveTo>
                      <a:pt x="199" y="231"/>
                    </a:moveTo>
                    <a:lnTo>
                      <a:pt x="199" y="231"/>
                    </a:lnTo>
                    <a:lnTo>
                      <a:pt x="193" y="231"/>
                    </a:lnTo>
                    <a:lnTo>
                      <a:pt x="187" y="229"/>
                    </a:lnTo>
                    <a:lnTo>
                      <a:pt x="181" y="226"/>
                    </a:lnTo>
                    <a:lnTo>
                      <a:pt x="175" y="222"/>
                    </a:lnTo>
                    <a:lnTo>
                      <a:pt x="10" y="56"/>
                    </a:lnTo>
                    <a:lnTo>
                      <a:pt x="10" y="56"/>
                    </a:lnTo>
                    <a:lnTo>
                      <a:pt x="6" y="51"/>
                    </a:lnTo>
                    <a:lnTo>
                      <a:pt x="3" y="46"/>
                    </a:lnTo>
                    <a:lnTo>
                      <a:pt x="2" y="39"/>
                    </a:lnTo>
                    <a:lnTo>
                      <a:pt x="0" y="33"/>
                    </a:lnTo>
                    <a:lnTo>
                      <a:pt x="2" y="27"/>
                    </a:lnTo>
                    <a:lnTo>
                      <a:pt x="3" y="21"/>
                    </a:lnTo>
                    <a:lnTo>
                      <a:pt x="6" y="15"/>
                    </a:lnTo>
                    <a:lnTo>
                      <a:pt x="10" y="9"/>
                    </a:lnTo>
                    <a:lnTo>
                      <a:pt x="10" y="9"/>
                    </a:lnTo>
                    <a:lnTo>
                      <a:pt x="15" y="5"/>
                    </a:lnTo>
                    <a:lnTo>
                      <a:pt x="21" y="2"/>
                    </a:lnTo>
                    <a:lnTo>
                      <a:pt x="27" y="0"/>
                    </a:lnTo>
                    <a:lnTo>
                      <a:pt x="34" y="0"/>
                    </a:lnTo>
                    <a:lnTo>
                      <a:pt x="40" y="0"/>
                    </a:lnTo>
                    <a:lnTo>
                      <a:pt x="46" y="2"/>
                    </a:lnTo>
                    <a:lnTo>
                      <a:pt x="51" y="5"/>
                    </a:lnTo>
                    <a:lnTo>
                      <a:pt x="56" y="9"/>
                    </a:lnTo>
                    <a:lnTo>
                      <a:pt x="222" y="175"/>
                    </a:lnTo>
                    <a:lnTo>
                      <a:pt x="222" y="175"/>
                    </a:lnTo>
                    <a:lnTo>
                      <a:pt x="226" y="180"/>
                    </a:lnTo>
                    <a:lnTo>
                      <a:pt x="229" y="185"/>
                    </a:lnTo>
                    <a:lnTo>
                      <a:pt x="231" y="192"/>
                    </a:lnTo>
                    <a:lnTo>
                      <a:pt x="232" y="198"/>
                    </a:lnTo>
                    <a:lnTo>
                      <a:pt x="231" y="205"/>
                    </a:lnTo>
                    <a:lnTo>
                      <a:pt x="229" y="210"/>
                    </a:lnTo>
                    <a:lnTo>
                      <a:pt x="226" y="216"/>
                    </a:lnTo>
                    <a:lnTo>
                      <a:pt x="222" y="222"/>
                    </a:lnTo>
                    <a:lnTo>
                      <a:pt x="222" y="222"/>
                    </a:lnTo>
                    <a:lnTo>
                      <a:pt x="217" y="226"/>
                    </a:lnTo>
                    <a:lnTo>
                      <a:pt x="212" y="229"/>
                    </a:lnTo>
                    <a:lnTo>
                      <a:pt x="205" y="231"/>
                    </a:lnTo>
                    <a:lnTo>
                      <a:pt x="199" y="231"/>
                    </a:lnTo>
                    <a:lnTo>
                      <a:pt x="199"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3" name="Freeform 94">
                <a:extLst>
                  <a:ext uri="{FF2B5EF4-FFF2-40B4-BE49-F238E27FC236}">
                    <a16:creationId xmlns:a16="http://schemas.microsoft.com/office/drawing/2014/main" id="{0ECF67DC-E712-DC01-A1F4-FA512593F3ED}"/>
                  </a:ext>
                </a:extLst>
              </p:cNvPr>
              <p:cNvSpPr>
                <a:spLocks/>
              </p:cNvSpPr>
              <p:nvPr/>
            </p:nvSpPr>
            <p:spPr bwMode="auto">
              <a:xfrm>
                <a:off x="9155113" y="2212975"/>
                <a:ext cx="157163" cy="285750"/>
              </a:xfrm>
              <a:custGeom>
                <a:avLst/>
                <a:gdLst>
                  <a:gd name="T0" fmla="*/ 165 w 694"/>
                  <a:gd name="T1" fmla="*/ 1257 h 1257"/>
                  <a:gd name="T2" fmla="*/ 149 w 694"/>
                  <a:gd name="T3" fmla="*/ 1257 h 1257"/>
                  <a:gd name="T4" fmla="*/ 116 w 694"/>
                  <a:gd name="T5" fmla="*/ 1249 h 1257"/>
                  <a:gd name="T6" fmla="*/ 86 w 694"/>
                  <a:gd name="T7" fmla="*/ 1237 h 1257"/>
                  <a:gd name="T8" fmla="*/ 60 w 694"/>
                  <a:gd name="T9" fmla="*/ 1219 h 1257"/>
                  <a:gd name="T10" fmla="*/ 38 w 694"/>
                  <a:gd name="T11" fmla="*/ 1197 h 1257"/>
                  <a:gd name="T12" fmla="*/ 20 w 694"/>
                  <a:gd name="T13" fmla="*/ 1171 h 1257"/>
                  <a:gd name="T14" fmla="*/ 8 w 694"/>
                  <a:gd name="T15" fmla="*/ 1141 h 1257"/>
                  <a:gd name="T16" fmla="*/ 1 w 694"/>
                  <a:gd name="T17" fmla="*/ 1109 h 1257"/>
                  <a:gd name="T18" fmla="*/ 0 w 694"/>
                  <a:gd name="T19" fmla="*/ 33 h 1257"/>
                  <a:gd name="T20" fmla="*/ 1 w 694"/>
                  <a:gd name="T21" fmla="*/ 27 h 1257"/>
                  <a:gd name="T22" fmla="*/ 6 w 694"/>
                  <a:gd name="T23" fmla="*/ 14 h 1257"/>
                  <a:gd name="T24" fmla="*/ 14 w 694"/>
                  <a:gd name="T25" fmla="*/ 6 h 1257"/>
                  <a:gd name="T26" fmla="*/ 26 w 694"/>
                  <a:gd name="T27" fmla="*/ 1 h 1257"/>
                  <a:gd name="T28" fmla="*/ 298 w 694"/>
                  <a:gd name="T29" fmla="*/ 0 h 1257"/>
                  <a:gd name="T30" fmla="*/ 304 w 694"/>
                  <a:gd name="T31" fmla="*/ 1 h 1257"/>
                  <a:gd name="T32" fmla="*/ 316 w 694"/>
                  <a:gd name="T33" fmla="*/ 6 h 1257"/>
                  <a:gd name="T34" fmla="*/ 324 w 694"/>
                  <a:gd name="T35" fmla="*/ 14 h 1257"/>
                  <a:gd name="T36" fmla="*/ 330 w 694"/>
                  <a:gd name="T37" fmla="*/ 27 h 1257"/>
                  <a:gd name="T38" fmla="*/ 331 w 694"/>
                  <a:gd name="T39" fmla="*/ 33 h 1257"/>
                  <a:gd name="T40" fmla="*/ 328 w 694"/>
                  <a:gd name="T41" fmla="*/ 46 h 1257"/>
                  <a:gd name="T42" fmla="*/ 320 w 694"/>
                  <a:gd name="T43" fmla="*/ 57 h 1257"/>
                  <a:gd name="T44" fmla="*/ 310 w 694"/>
                  <a:gd name="T45" fmla="*/ 64 h 1257"/>
                  <a:gd name="T46" fmla="*/ 298 w 694"/>
                  <a:gd name="T47" fmla="*/ 66 h 1257"/>
                  <a:gd name="T48" fmla="*/ 66 w 694"/>
                  <a:gd name="T49" fmla="*/ 1092 h 1257"/>
                  <a:gd name="T50" fmla="*/ 67 w 694"/>
                  <a:gd name="T51" fmla="*/ 1101 h 1257"/>
                  <a:gd name="T52" fmla="*/ 71 w 694"/>
                  <a:gd name="T53" fmla="*/ 1121 h 1257"/>
                  <a:gd name="T54" fmla="*/ 78 w 694"/>
                  <a:gd name="T55" fmla="*/ 1139 h 1257"/>
                  <a:gd name="T56" fmla="*/ 89 w 694"/>
                  <a:gd name="T57" fmla="*/ 1155 h 1257"/>
                  <a:gd name="T58" fmla="*/ 102 w 694"/>
                  <a:gd name="T59" fmla="*/ 1169 h 1257"/>
                  <a:gd name="T60" fmla="*/ 117 w 694"/>
                  <a:gd name="T61" fmla="*/ 1179 h 1257"/>
                  <a:gd name="T62" fmla="*/ 136 w 694"/>
                  <a:gd name="T63" fmla="*/ 1186 h 1257"/>
                  <a:gd name="T64" fmla="*/ 155 w 694"/>
                  <a:gd name="T65" fmla="*/ 1190 h 1257"/>
                  <a:gd name="T66" fmla="*/ 661 w 694"/>
                  <a:gd name="T67" fmla="*/ 1192 h 1257"/>
                  <a:gd name="T68" fmla="*/ 668 w 694"/>
                  <a:gd name="T69" fmla="*/ 1192 h 1257"/>
                  <a:gd name="T70" fmla="*/ 679 w 694"/>
                  <a:gd name="T71" fmla="*/ 1197 h 1257"/>
                  <a:gd name="T72" fmla="*/ 689 w 694"/>
                  <a:gd name="T73" fmla="*/ 1206 h 1257"/>
                  <a:gd name="T74" fmla="*/ 694 w 694"/>
                  <a:gd name="T75" fmla="*/ 1217 h 1257"/>
                  <a:gd name="T76" fmla="*/ 694 w 694"/>
                  <a:gd name="T77" fmla="*/ 1225 h 1257"/>
                  <a:gd name="T78" fmla="*/ 692 w 694"/>
                  <a:gd name="T79" fmla="*/ 1237 h 1257"/>
                  <a:gd name="T80" fmla="*/ 685 w 694"/>
                  <a:gd name="T81" fmla="*/ 1247 h 1257"/>
                  <a:gd name="T82" fmla="*/ 674 w 694"/>
                  <a:gd name="T83" fmla="*/ 1255 h 1257"/>
                  <a:gd name="T84" fmla="*/ 661 w 694"/>
                  <a:gd name="T85" fmla="*/ 1257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4" h="1257">
                    <a:moveTo>
                      <a:pt x="661" y="1257"/>
                    </a:moveTo>
                    <a:lnTo>
                      <a:pt x="165" y="1257"/>
                    </a:lnTo>
                    <a:lnTo>
                      <a:pt x="165" y="1257"/>
                    </a:lnTo>
                    <a:lnTo>
                      <a:pt x="149" y="1257"/>
                    </a:lnTo>
                    <a:lnTo>
                      <a:pt x="132" y="1254"/>
                    </a:lnTo>
                    <a:lnTo>
                      <a:pt x="116" y="1249"/>
                    </a:lnTo>
                    <a:lnTo>
                      <a:pt x="101" y="1244"/>
                    </a:lnTo>
                    <a:lnTo>
                      <a:pt x="86" y="1237"/>
                    </a:lnTo>
                    <a:lnTo>
                      <a:pt x="73" y="1229"/>
                    </a:lnTo>
                    <a:lnTo>
                      <a:pt x="60" y="1219"/>
                    </a:lnTo>
                    <a:lnTo>
                      <a:pt x="48" y="1209"/>
                    </a:lnTo>
                    <a:lnTo>
                      <a:pt x="38" y="1197"/>
                    </a:lnTo>
                    <a:lnTo>
                      <a:pt x="28" y="1184"/>
                    </a:lnTo>
                    <a:lnTo>
                      <a:pt x="20" y="1171"/>
                    </a:lnTo>
                    <a:lnTo>
                      <a:pt x="13" y="1156"/>
                    </a:lnTo>
                    <a:lnTo>
                      <a:pt x="8" y="1141"/>
                    </a:lnTo>
                    <a:lnTo>
                      <a:pt x="4" y="1125"/>
                    </a:lnTo>
                    <a:lnTo>
                      <a:pt x="1" y="1109"/>
                    </a:lnTo>
                    <a:lnTo>
                      <a:pt x="0" y="1092"/>
                    </a:lnTo>
                    <a:lnTo>
                      <a:pt x="0" y="33"/>
                    </a:lnTo>
                    <a:lnTo>
                      <a:pt x="0" y="33"/>
                    </a:lnTo>
                    <a:lnTo>
                      <a:pt x="1" y="27"/>
                    </a:lnTo>
                    <a:lnTo>
                      <a:pt x="3" y="20"/>
                    </a:lnTo>
                    <a:lnTo>
                      <a:pt x="6" y="14"/>
                    </a:lnTo>
                    <a:lnTo>
                      <a:pt x="10" y="10"/>
                    </a:lnTo>
                    <a:lnTo>
                      <a:pt x="14" y="6"/>
                    </a:lnTo>
                    <a:lnTo>
                      <a:pt x="20" y="3"/>
                    </a:lnTo>
                    <a:lnTo>
                      <a:pt x="26" y="1"/>
                    </a:lnTo>
                    <a:lnTo>
                      <a:pt x="33" y="0"/>
                    </a:lnTo>
                    <a:lnTo>
                      <a:pt x="298" y="0"/>
                    </a:lnTo>
                    <a:lnTo>
                      <a:pt x="298" y="0"/>
                    </a:lnTo>
                    <a:lnTo>
                      <a:pt x="304" y="1"/>
                    </a:lnTo>
                    <a:lnTo>
                      <a:pt x="310" y="3"/>
                    </a:lnTo>
                    <a:lnTo>
                      <a:pt x="316" y="6"/>
                    </a:lnTo>
                    <a:lnTo>
                      <a:pt x="320" y="10"/>
                    </a:lnTo>
                    <a:lnTo>
                      <a:pt x="324" y="14"/>
                    </a:lnTo>
                    <a:lnTo>
                      <a:pt x="328" y="20"/>
                    </a:lnTo>
                    <a:lnTo>
                      <a:pt x="330" y="27"/>
                    </a:lnTo>
                    <a:lnTo>
                      <a:pt x="331" y="33"/>
                    </a:lnTo>
                    <a:lnTo>
                      <a:pt x="331" y="33"/>
                    </a:lnTo>
                    <a:lnTo>
                      <a:pt x="330" y="40"/>
                    </a:lnTo>
                    <a:lnTo>
                      <a:pt x="328" y="46"/>
                    </a:lnTo>
                    <a:lnTo>
                      <a:pt x="324" y="52"/>
                    </a:lnTo>
                    <a:lnTo>
                      <a:pt x="320" y="57"/>
                    </a:lnTo>
                    <a:lnTo>
                      <a:pt x="316" y="61"/>
                    </a:lnTo>
                    <a:lnTo>
                      <a:pt x="310" y="64"/>
                    </a:lnTo>
                    <a:lnTo>
                      <a:pt x="304" y="66"/>
                    </a:lnTo>
                    <a:lnTo>
                      <a:pt x="298" y="66"/>
                    </a:lnTo>
                    <a:lnTo>
                      <a:pt x="66" y="66"/>
                    </a:lnTo>
                    <a:lnTo>
                      <a:pt x="66" y="1092"/>
                    </a:lnTo>
                    <a:lnTo>
                      <a:pt x="66" y="1092"/>
                    </a:lnTo>
                    <a:lnTo>
                      <a:pt x="67" y="1101"/>
                    </a:lnTo>
                    <a:lnTo>
                      <a:pt x="68" y="1112"/>
                    </a:lnTo>
                    <a:lnTo>
                      <a:pt x="71" y="1121"/>
                    </a:lnTo>
                    <a:lnTo>
                      <a:pt x="74" y="1130"/>
                    </a:lnTo>
                    <a:lnTo>
                      <a:pt x="78" y="1139"/>
                    </a:lnTo>
                    <a:lnTo>
                      <a:pt x="83" y="1147"/>
                    </a:lnTo>
                    <a:lnTo>
                      <a:pt x="89" y="1155"/>
                    </a:lnTo>
                    <a:lnTo>
                      <a:pt x="95" y="1161"/>
                    </a:lnTo>
                    <a:lnTo>
                      <a:pt x="102" y="1169"/>
                    </a:lnTo>
                    <a:lnTo>
                      <a:pt x="110" y="1174"/>
                    </a:lnTo>
                    <a:lnTo>
                      <a:pt x="117" y="1179"/>
                    </a:lnTo>
                    <a:lnTo>
                      <a:pt x="127" y="1183"/>
                    </a:lnTo>
                    <a:lnTo>
                      <a:pt x="136" y="1186"/>
                    </a:lnTo>
                    <a:lnTo>
                      <a:pt x="145" y="1189"/>
                    </a:lnTo>
                    <a:lnTo>
                      <a:pt x="155" y="1190"/>
                    </a:lnTo>
                    <a:lnTo>
                      <a:pt x="165" y="1192"/>
                    </a:lnTo>
                    <a:lnTo>
                      <a:pt x="661" y="1192"/>
                    </a:lnTo>
                    <a:lnTo>
                      <a:pt x="661" y="1192"/>
                    </a:lnTo>
                    <a:lnTo>
                      <a:pt x="668" y="1192"/>
                    </a:lnTo>
                    <a:lnTo>
                      <a:pt x="674" y="1194"/>
                    </a:lnTo>
                    <a:lnTo>
                      <a:pt x="679" y="1197"/>
                    </a:lnTo>
                    <a:lnTo>
                      <a:pt x="685" y="1201"/>
                    </a:lnTo>
                    <a:lnTo>
                      <a:pt x="689" y="1206"/>
                    </a:lnTo>
                    <a:lnTo>
                      <a:pt x="692" y="1211"/>
                    </a:lnTo>
                    <a:lnTo>
                      <a:pt x="694" y="1217"/>
                    </a:lnTo>
                    <a:lnTo>
                      <a:pt x="694" y="1225"/>
                    </a:lnTo>
                    <a:lnTo>
                      <a:pt x="694" y="1225"/>
                    </a:lnTo>
                    <a:lnTo>
                      <a:pt x="694" y="1231"/>
                    </a:lnTo>
                    <a:lnTo>
                      <a:pt x="692" y="1237"/>
                    </a:lnTo>
                    <a:lnTo>
                      <a:pt x="689" y="1242"/>
                    </a:lnTo>
                    <a:lnTo>
                      <a:pt x="685" y="1247"/>
                    </a:lnTo>
                    <a:lnTo>
                      <a:pt x="679" y="1252"/>
                    </a:lnTo>
                    <a:lnTo>
                      <a:pt x="674" y="1255"/>
                    </a:lnTo>
                    <a:lnTo>
                      <a:pt x="668" y="1257"/>
                    </a:lnTo>
                    <a:lnTo>
                      <a:pt x="661" y="1257"/>
                    </a:lnTo>
                    <a:lnTo>
                      <a:pt x="661" y="1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5" name="Freeform 95">
                <a:extLst>
                  <a:ext uri="{FF2B5EF4-FFF2-40B4-BE49-F238E27FC236}">
                    <a16:creationId xmlns:a16="http://schemas.microsoft.com/office/drawing/2014/main" id="{E4A9D853-2B76-D080-EABE-0C574A062C0A}"/>
                  </a:ext>
                </a:extLst>
              </p:cNvPr>
              <p:cNvSpPr>
                <a:spLocks/>
              </p:cNvSpPr>
              <p:nvPr/>
            </p:nvSpPr>
            <p:spPr bwMode="auto">
              <a:xfrm>
                <a:off x="9185275" y="2243138"/>
                <a:ext cx="120650" cy="225425"/>
              </a:xfrm>
              <a:custGeom>
                <a:avLst/>
                <a:gdLst>
                  <a:gd name="T0" fmla="*/ 496 w 529"/>
                  <a:gd name="T1" fmla="*/ 993 h 993"/>
                  <a:gd name="T2" fmla="*/ 33 w 529"/>
                  <a:gd name="T3" fmla="*/ 993 h 993"/>
                  <a:gd name="T4" fmla="*/ 33 w 529"/>
                  <a:gd name="T5" fmla="*/ 993 h 993"/>
                  <a:gd name="T6" fmla="*/ 27 w 529"/>
                  <a:gd name="T7" fmla="*/ 992 h 993"/>
                  <a:gd name="T8" fmla="*/ 21 w 529"/>
                  <a:gd name="T9" fmla="*/ 990 h 993"/>
                  <a:gd name="T10" fmla="*/ 14 w 529"/>
                  <a:gd name="T11" fmla="*/ 987 h 993"/>
                  <a:gd name="T12" fmla="*/ 9 w 529"/>
                  <a:gd name="T13" fmla="*/ 983 h 993"/>
                  <a:gd name="T14" fmla="*/ 6 w 529"/>
                  <a:gd name="T15" fmla="*/ 979 h 993"/>
                  <a:gd name="T16" fmla="*/ 3 w 529"/>
                  <a:gd name="T17" fmla="*/ 973 h 993"/>
                  <a:gd name="T18" fmla="*/ 1 w 529"/>
                  <a:gd name="T19" fmla="*/ 966 h 993"/>
                  <a:gd name="T20" fmla="*/ 0 w 529"/>
                  <a:gd name="T21" fmla="*/ 960 h 993"/>
                  <a:gd name="T22" fmla="*/ 0 w 529"/>
                  <a:gd name="T23" fmla="*/ 33 h 993"/>
                  <a:gd name="T24" fmla="*/ 0 w 529"/>
                  <a:gd name="T25" fmla="*/ 33 h 993"/>
                  <a:gd name="T26" fmla="*/ 1 w 529"/>
                  <a:gd name="T27" fmla="*/ 27 h 993"/>
                  <a:gd name="T28" fmla="*/ 3 w 529"/>
                  <a:gd name="T29" fmla="*/ 21 h 993"/>
                  <a:gd name="T30" fmla="*/ 6 w 529"/>
                  <a:gd name="T31" fmla="*/ 15 h 993"/>
                  <a:gd name="T32" fmla="*/ 9 w 529"/>
                  <a:gd name="T33" fmla="*/ 10 h 993"/>
                  <a:gd name="T34" fmla="*/ 14 w 529"/>
                  <a:gd name="T35" fmla="*/ 7 h 993"/>
                  <a:gd name="T36" fmla="*/ 21 w 529"/>
                  <a:gd name="T37" fmla="*/ 3 h 993"/>
                  <a:gd name="T38" fmla="*/ 27 w 529"/>
                  <a:gd name="T39" fmla="*/ 1 h 993"/>
                  <a:gd name="T40" fmla="*/ 33 w 529"/>
                  <a:gd name="T41" fmla="*/ 0 h 993"/>
                  <a:gd name="T42" fmla="*/ 166 w 529"/>
                  <a:gd name="T43" fmla="*/ 0 h 993"/>
                  <a:gd name="T44" fmla="*/ 166 w 529"/>
                  <a:gd name="T45" fmla="*/ 0 h 993"/>
                  <a:gd name="T46" fmla="*/ 172 w 529"/>
                  <a:gd name="T47" fmla="*/ 1 h 993"/>
                  <a:gd name="T48" fmla="*/ 178 w 529"/>
                  <a:gd name="T49" fmla="*/ 3 h 993"/>
                  <a:gd name="T50" fmla="*/ 184 w 529"/>
                  <a:gd name="T51" fmla="*/ 7 h 993"/>
                  <a:gd name="T52" fmla="*/ 188 w 529"/>
                  <a:gd name="T53" fmla="*/ 10 h 993"/>
                  <a:gd name="T54" fmla="*/ 192 w 529"/>
                  <a:gd name="T55" fmla="*/ 15 h 993"/>
                  <a:gd name="T56" fmla="*/ 196 w 529"/>
                  <a:gd name="T57" fmla="*/ 21 h 993"/>
                  <a:gd name="T58" fmla="*/ 198 w 529"/>
                  <a:gd name="T59" fmla="*/ 27 h 993"/>
                  <a:gd name="T60" fmla="*/ 199 w 529"/>
                  <a:gd name="T61" fmla="*/ 33 h 993"/>
                  <a:gd name="T62" fmla="*/ 199 w 529"/>
                  <a:gd name="T63" fmla="*/ 33 h 993"/>
                  <a:gd name="T64" fmla="*/ 198 w 529"/>
                  <a:gd name="T65" fmla="*/ 40 h 993"/>
                  <a:gd name="T66" fmla="*/ 196 w 529"/>
                  <a:gd name="T67" fmla="*/ 46 h 993"/>
                  <a:gd name="T68" fmla="*/ 192 w 529"/>
                  <a:gd name="T69" fmla="*/ 52 h 993"/>
                  <a:gd name="T70" fmla="*/ 188 w 529"/>
                  <a:gd name="T71" fmla="*/ 57 h 993"/>
                  <a:gd name="T72" fmla="*/ 184 w 529"/>
                  <a:gd name="T73" fmla="*/ 61 h 993"/>
                  <a:gd name="T74" fmla="*/ 178 w 529"/>
                  <a:gd name="T75" fmla="*/ 63 h 993"/>
                  <a:gd name="T76" fmla="*/ 172 w 529"/>
                  <a:gd name="T77" fmla="*/ 66 h 993"/>
                  <a:gd name="T78" fmla="*/ 166 w 529"/>
                  <a:gd name="T79" fmla="*/ 67 h 993"/>
                  <a:gd name="T80" fmla="*/ 66 w 529"/>
                  <a:gd name="T81" fmla="*/ 67 h 993"/>
                  <a:gd name="T82" fmla="*/ 66 w 529"/>
                  <a:gd name="T83" fmla="*/ 927 h 993"/>
                  <a:gd name="T84" fmla="*/ 496 w 529"/>
                  <a:gd name="T85" fmla="*/ 927 h 993"/>
                  <a:gd name="T86" fmla="*/ 496 w 529"/>
                  <a:gd name="T87" fmla="*/ 927 h 993"/>
                  <a:gd name="T88" fmla="*/ 503 w 529"/>
                  <a:gd name="T89" fmla="*/ 927 h 993"/>
                  <a:gd name="T90" fmla="*/ 509 w 529"/>
                  <a:gd name="T91" fmla="*/ 929 h 993"/>
                  <a:gd name="T92" fmla="*/ 514 w 529"/>
                  <a:gd name="T93" fmla="*/ 932 h 993"/>
                  <a:gd name="T94" fmla="*/ 519 w 529"/>
                  <a:gd name="T95" fmla="*/ 936 h 993"/>
                  <a:gd name="T96" fmla="*/ 524 w 529"/>
                  <a:gd name="T97" fmla="*/ 941 h 993"/>
                  <a:gd name="T98" fmla="*/ 527 w 529"/>
                  <a:gd name="T99" fmla="*/ 947 h 993"/>
                  <a:gd name="T100" fmla="*/ 529 w 529"/>
                  <a:gd name="T101" fmla="*/ 953 h 993"/>
                  <a:gd name="T102" fmla="*/ 529 w 529"/>
                  <a:gd name="T103" fmla="*/ 960 h 993"/>
                  <a:gd name="T104" fmla="*/ 529 w 529"/>
                  <a:gd name="T105" fmla="*/ 960 h 993"/>
                  <a:gd name="T106" fmla="*/ 529 w 529"/>
                  <a:gd name="T107" fmla="*/ 966 h 993"/>
                  <a:gd name="T108" fmla="*/ 527 w 529"/>
                  <a:gd name="T109" fmla="*/ 973 h 993"/>
                  <a:gd name="T110" fmla="*/ 524 w 529"/>
                  <a:gd name="T111" fmla="*/ 979 h 993"/>
                  <a:gd name="T112" fmla="*/ 519 w 529"/>
                  <a:gd name="T113" fmla="*/ 983 h 993"/>
                  <a:gd name="T114" fmla="*/ 514 w 529"/>
                  <a:gd name="T115" fmla="*/ 987 h 993"/>
                  <a:gd name="T116" fmla="*/ 509 w 529"/>
                  <a:gd name="T117" fmla="*/ 990 h 993"/>
                  <a:gd name="T118" fmla="*/ 503 w 529"/>
                  <a:gd name="T119" fmla="*/ 992 h 993"/>
                  <a:gd name="T120" fmla="*/ 496 w 529"/>
                  <a:gd name="T121" fmla="*/ 993 h 993"/>
                  <a:gd name="T122" fmla="*/ 496 w 529"/>
                  <a:gd name="T123" fmla="*/ 993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9" h="993">
                    <a:moveTo>
                      <a:pt x="496" y="993"/>
                    </a:moveTo>
                    <a:lnTo>
                      <a:pt x="33" y="993"/>
                    </a:lnTo>
                    <a:lnTo>
                      <a:pt x="33" y="993"/>
                    </a:lnTo>
                    <a:lnTo>
                      <a:pt x="27" y="992"/>
                    </a:lnTo>
                    <a:lnTo>
                      <a:pt x="21" y="990"/>
                    </a:lnTo>
                    <a:lnTo>
                      <a:pt x="14" y="987"/>
                    </a:lnTo>
                    <a:lnTo>
                      <a:pt x="9" y="983"/>
                    </a:lnTo>
                    <a:lnTo>
                      <a:pt x="6" y="979"/>
                    </a:lnTo>
                    <a:lnTo>
                      <a:pt x="3" y="973"/>
                    </a:lnTo>
                    <a:lnTo>
                      <a:pt x="1" y="966"/>
                    </a:lnTo>
                    <a:lnTo>
                      <a:pt x="0" y="960"/>
                    </a:lnTo>
                    <a:lnTo>
                      <a:pt x="0" y="33"/>
                    </a:lnTo>
                    <a:lnTo>
                      <a:pt x="0" y="33"/>
                    </a:lnTo>
                    <a:lnTo>
                      <a:pt x="1" y="27"/>
                    </a:lnTo>
                    <a:lnTo>
                      <a:pt x="3" y="21"/>
                    </a:lnTo>
                    <a:lnTo>
                      <a:pt x="6" y="15"/>
                    </a:lnTo>
                    <a:lnTo>
                      <a:pt x="9" y="10"/>
                    </a:lnTo>
                    <a:lnTo>
                      <a:pt x="14" y="7"/>
                    </a:lnTo>
                    <a:lnTo>
                      <a:pt x="21" y="3"/>
                    </a:lnTo>
                    <a:lnTo>
                      <a:pt x="27" y="1"/>
                    </a:lnTo>
                    <a:lnTo>
                      <a:pt x="33" y="0"/>
                    </a:lnTo>
                    <a:lnTo>
                      <a:pt x="166" y="0"/>
                    </a:lnTo>
                    <a:lnTo>
                      <a:pt x="166" y="0"/>
                    </a:lnTo>
                    <a:lnTo>
                      <a:pt x="172" y="1"/>
                    </a:lnTo>
                    <a:lnTo>
                      <a:pt x="178" y="3"/>
                    </a:lnTo>
                    <a:lnTo>
                      <a:pt x="184" y="7"/>
                    </a:lnTo>
                    <a:lnTo>
                      <a:pt x="188" y="10"/>
                    </a:lnTo>
                    <a:lnTo>
                      <a:pt x="192" y="15"/>
                    </a:lnTo>
                    <a:lnTo>
                      <a:pt x="196" y="21"/>
                    </a:lnTo>
                    <a:lnTo>
                      <a:pt x="198" y="27"/>
                    </a:lnTo>
                    <a:lnTo>
                      <a:pt x="199" y="33"/>
                    </a:lnTo>
                    <a:lnTo>
                      <a:pt x="199" y="33"/>
                    </a:lnTo>
                    <a:lnTo>
                      <a:pt x="198" y="40"/>
                    </a:lnTo>
                    <a:lnTo>
                      <a:pt x="196" y="46"/>
                    </a:lnTo>
                    <a:lnTo>
                      <a:pt x="192" y="52"/>
                    </a:lnTo>
                    <a:lnTo>
                      <a:pt x="188" y="57"/>
                    </a:lnTo>
                    <a:lnTo>
                      <a:pt x="184" y="61"/>
                    </a:lnTo>
                    <a:lnTo>
                      <a:pt x="178" y="63"/>
                    </a:lnTo>
                    <a:lnTo>
                      <a:pt x="172" y="66"/>
                    </a:lnTo>
                    <a:lnTo>
                      <a:pt x="166" y="67"/>
                    </a:lnTo>
                    <a:lnTo>
                      <a:pt x="66" y="67"/>
                    </a:lnTo>
                    <a:lnTo>
                      <a:pt x="66" y="927"/>
                    </a:lnTo>
                    <a:lnTo>
                      <a:pt x="496" y="927"/>
                    </a:lnTo>
                    <a:lnTo>
                      <a:pt x="496" y="927"/>
                    </a:lnTo>
                    <a:lnTo>
                      <a:pt x="503" y="927"/>
                    </a:lnTo>
                    <a:lnTo>
                      <a:pt x="509" y="929"/>
                    </a:lnTo>
                    <a:lnTo>
                      <a:pt x="514" y="932"/>
                    </a:lnTo>
                    <a:lnTo>
                      <a:pt x="519" y="936"/>
                    </a:lnTo>
                    <a:lnTo>
                      <a:pt x="524" y="941"/>
                    </a:lnTo>
                    <a:lnTo>
                      <a:pt x="527" y="947"/>
                    </a:lnTo>
                    <a:lnTo>
                      <a:pt x="529" y="953"/>
                    </a:lnTo>
                    <a:lnTo>
                      <a:pt x="529" y="960"/>
                    </a:lnTo>
                    <a:lnTo>
                      <a:pt x="529" y="960"/>
                    </a:lnTo>
                    <a:lnTo>
                      <a:pt x="529" y="966"/>
                    </a:lnTo>
                    <a:lnTo>
                      <a:pt x="527" y="973"/>
                    </a:lnTo>
                    <a:lnTo>
                      <a:pt x="524" y="979"/>
                    </a:lnTo>
                    <a:lnTo>
                      <a:pt x="519" y="983"/>
                    </a:lnTo>
                    <a:lnTo>
                      <a:pt x="514" y="987"/>
                    </a:lnTo>
                    <a:lnTo>
                      <a:pt x="509" y="990"/>
                    </a:lnTo>
                    <a:lnTo>
                      <a:pt x="503" y="992"/>
                    </a:lnTo>
                    <a:lnTo>
                      <a:pt x="496" y="993"/>
                    </a:lnTo>
                    <a:lnTo>
                      <a:pt x="496"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46" name="Freeform 96">
                <a:extLst>
                  <a:ext uri="{FF2B5EF4-FFF2-40B4-BE49-F238E27FC236}">
                    <a16:creationId xmlns:a16="http://schemas.microsoft.com/office/drawing/2014/main" id="{F87BC036-D812-F7AF-5CF1-E79D11D2AAD2}"/>
                  </a:ext>
                </a:extLst>
              </p:cNvPr>
              <p:cNvSpPr>
                <a:spLocks/>
              </p:cNvSpPr>
              <p:nvPr/>
            </p:nvSpPr>
            <p:spPr bwMode="auto">
              <a:xfrm>
                <a:off x="9336088" y="2212975"/>
                <a:ext cx="74613" cy="112713"/>
              </a:xfrm>
              <a:custGeom>
                <a:avLst/>
                <a:gdLst>
                  <a:gd name="T0" fmla="*/ 298 w 331"/>
                  <a:gd name="T1" fmla="*/ 497 h 497"/>
                  <a:gd name="T2" fmla="*/ 298 w 331"/>
                  <a:gd name="T3" fmla="*/ 497 h 497"/>
                  <a:gd name="T4" fmla="*/ 291 w 331"/>
                  <a:gd name="T5" fmla="*/ 496 h 497"/>
                  <a:gd name="T6" fmla="*/ 285 w 331"/>
                  <a:gd name="T7" fmla="*/ 494 h 497"/>
                  <a:gd name="T8" fmla="*/ 280 w 331"/>
                  <a:gd name="T9" fmla="*/ 491 h 497"/>
                  <a:gd name="T10" fmla="*/ 274 w 331"/>
                  <a:gd name="T11" fmla="*/ 486 h 497"/>
                  <a:gd name="T12" fmla="*/ 270 w 331"/>
                  <a:gd name="T13" fmla="*/ 481 h 497"/>
                  <a:gd name="T14" fmla="*/ 267 w 331"/>
                  <a:gd name="T15" fmla="*/ 476 h 497"/>
                  <a:gd name="T16" fmla="*/ 265 w 331"/>
                  <a:gd name="T17" fmla="*/ 470 h 497"/>
                  <a:gd name="T18" fmla="*/ 265 w 331"/>
                  <a:gd name="T19" fmla="*/ 464 h 497"/>
                  <a:gd name="T20" fmla="*/ 265 w 331"/>
                  <a:gd name="T21" fmla="*/ 66 h 497"/>
                  <a:gd name="T22" fmla="*/ 33 w 331"/>
                  <a:gd name="T23" fmla="*/ 66 h 497"/>
                  <a:gd name="T24" fmla="*/ 33 w 331"/>
                  <a:gd name="T25" fmla="*/ 66 h 497"/>
                  <a:gd name="T26" fmla="*/ 27 w 331"/>
                  <a:gd name="T27" fmla="*/ 66 h 497"/>
                  <a:gd name="T28" fmla="*/ 21 w 331"/>
                  <a:gd name="T29" fmla="*/ 64 h 497"/>
                  <a:gd name="T30" fmla="*/ 15 w 331"/>
                  <a:gd name="T31" fmla="*/ 61 h 497"/>
                  <a:gd name="T32" fmla="*/ 11 w 331"/>
                  <a:gd name="T33" fmla="*/ 57 h 497"/>
                  <a:gd name="T34" fmla="*/ 6 w 331"/>
                  <a:gd name="T35" fmla="*/ 52 h 497"/>
                  <a:gd name="T36" fmla="*/ 3 w 331"/>
                  <a:gd name="T37" fmla="*/ 46 h 497"/>
                  <a:gd name="T38" fmla="*/ 1 w 331"/>
                  <a:gd name="T39" fmla="*/ 40 h 497"/>
                  <a:gd name="T40" fmla="*/ 0 w 331"/>
                  <a:gd name="T41" fmla="*/ 33 h 497"/>
                  <a:gd name="T42" fmla="*/ 0 w 331"/>
                  <a:gd name="T43" fmla="*/ 33 h 497"/>
                  <a:gd name="T44" fmla="*/ 1 w 331"/>
                  <a:gd name="T45" fmla="*/ 27 h 497"/>
                  <a:gd name="T46" fmla="*/ 3 w 331"/>
                  <a:gd name="T47" fmla="*/ 20 h 497"/>
                  <a:gd name="T48" fmla="*/ 6 w 331"/>
                  <a:gd name="T49" fmla="*/ 14 h 497"/>
                  <a:gd name="T50" fmla="*/ 11 w 331"/>
                  <a:gd name="T51" fmla="*/ 10 h 497"/>
                  <a:gd name="T52" fmla="*/ 15 w 331"/>
                  <a:gd name="T53" fmla="*/ 6 h 497"/>
                  <a:gd name="T54" fmla="*/ 21 w 331"/>
                  <a:gd name="T55" fmla="*/ 3 h 497"/>
                  <a:gd name="T56" fmla="*/ 27 w 331"/>
                  <a:gd name="T57" fmla="*/ 1 h 497"/>
                  <a:gd name="T58" fmla="*/ 33 w 331"/>
                  <a:gd name="T59" fmla="*/ 0 h 497"/>
                  <a:gd name="T60" fmla="*/ 298 w 331"/>
                  <a:gd name="T61" fmla="*/ 0 h 497"/>
                  <a:gd name="T62" fmla="*/ 298 w 331"/>
                  <a:gd name="T63" fmla="*/ 0 h 497"/>
                  <a:gd name="T64" fmla="*/ 305 w 331"/>
                  <a:gd name="T65" fmla="*/ 1 h 497"/>
                  <a:gd name="T66" fmla="*/ 311 w 331"/>
                  <a:gd name="T67" fmla="*/ 3 h 497"/>
                  <a:gd name="T68" fmla="*/ 317 w 331"/>
                  <a:gd name="T69" fmla="*/ 6 h 497"/>
                  <a:gd name="T70" fmla="*/ 321 w 331"/>
                  <a:gd name="T71" fmla="*/ 10 h 497"/>
                  <a:gd name="T72" fmla="*/ 325 w 331"/>
                  <a:gd name="T73" fmla="*/ 14 h 497"/>
                  <a:gd name="T74" fmla="*/ 328 w 331"/>
                  <a:gd name="T75" fmla="*/ 20 h 497"/>
                  <a:gd name="T76" fmla="*/ 330 w 331"/>
                  <a:gd name="T77" fmla="*/ 27 h 497"/>
                  <a:gd name="T78" fmla="*/ 331 w 331"/>
                  <a:gd name="T79" fmla="*/ 33 h 497"/>
                  <a:gd name="T80" fmla="*/ 331 w 331"/>
                  <a:gd name="T81" fmla="*/ 464 h 497"/>
                  <a:gd name="T82" fmla="*/ 331 w 331"/>
                  <a:gd name="T83" fmla="*/ 464 h 497"/>
                  <a:gd name="T84" fmla="*/ 330 w 331"/>
                  <a:gd name="T85" fmla="*/ 470 h 497"/>
                  <a:gd name="T86" fmla="*/ 328 w 331"/>
                  <a:gd name="T87" fmla="*/ 476 h 497"/>
                  <a:gd name="T88" fmla="*/ 325 w 331"/>
                  <a:gd name="T89" fmla="*/ 481 h 497"/>
                  <a:gd name="T90" fmla="*/ 321 w 331"/>
                  <a:gd name="T91" fmla="*/ 486 h 497"/>
                  <a:gd name="T92" fmla="*/ 317 w 331"/>
                  <a:gd name="T93" fmla="*/ 491 h 497"/>
                  <a:gd name="T94" fmla="*/ 311 w 331"/>
                  <a:gd name="T95" fmla="*/ 494 h 497"/>
                  <a:gd name="T96" fmla="*/ 305 w 331"/>
                  <a:gd name="T97" fmla="*/ 496 h 497"/>
                  <a:gd name="T98" fmla="*/ 298 w 331"/>
                  <a:gd name="T99" fmla="*/ 497 h 497"/>
                  <a:gd name="T100" fmla="*/ 298 w 331"/>
                  <a:gd name="T101" fmla="*/ 49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1" h="497">
                    <a:moveTo>
                      <a:pt x="298" y="497"/>
                    </a:moveTo>
                    <a:lnTo>
                      <a:pt x="298" y="497"/>
                    </a:lnTo>
                    <a:lnTo>
                      <a:pt x="291" y="496"/>
                    </a:lnTo>
                    <a:lnTo>
                      <a:pt x="285" y="494"/>
                    </a:lnTo>
                    <a:lnTo>
                      <a:pt x="280" y="491"/>
                    </a:lnTo>
                    <a:lnTo>
                      <a:pt x="274" y="486"/>
                    </a:lnTo>
                    <a:lnTo>
                      <a:pt x="270" y="481"/>
                    </a:lnTo>
                    <a:lnTo>
                      <a:pt x="267" y="476"/>
                    </a:lnTo>
                    <a:lnTo>
                      <a:pt x="265" y="470"/>
                    </a:lnTo>
                    <a:lnTo>
                      <a:pt x="265" y="464"/>
                    </a:lnTo>
                    <a:lnTo>
                      <a:pt x="265" y="66"/>
                    </a:lnTo>
                    <a:lnTo>
                      <a:pt x="33" y="66"/>
                    </a:lnTo>
                    <a:lnTo>
                      <a:pt x="33" y="66"/>
                    </a:lnTo>
                    <a:lnTo>
                      <a:pt x="27" y="66"/>
                    </a:lnTo>
                    <a:lnTo>
                      <a:pt x="21" y="64"/>
                    </a:lnTo>
                    <a:lnTo>
                      <a:pt x="15" y="61"/>
                    </a:lnTo>
                    <a:lnTo>
                      <a:pt x="11" y="57"/>
                    </a:lnTo>
                    <a:lnTo>
                      <a:pt x="6" y="52"/>
                    </a:lnTo>
                    <a:lnTo>
                      <a:pt x="3" y="46"/>
                    </a:lnTo>
                    <a:lnTo>
                      <a:pt x="1" y="40"/>
                    </a:lnTo>
                    <a:lnTo>
                      <a:pt x="0" y="33"/>
                    </a:lnTo>
                    <a:lnTo>
                      <a:pt x="0" y="33"/>
                    </a:lnTo>
                    <a:lnTo>
                      <a:pt x="1" y="27"/>
                    </a:lnTo>
                    <a:lnTo>
                      <a:pt x="3" y="20"/>
                    </a:lnTo>
                    <a:lnTo>
                      <a:pt x="6" y="14"/>
                    </a:lnTo>
                    <a:lnTo>
                      <a:pt x="11" y="10"/>
                    </a:lnTo>
                    <a:lnTo>
                      <a:pt x="15" y="6"/>
                    </a:lnTo>
                    <a:lnTo>
                      <a:pt x="21" y="3"/>
                    </a:lnTo>
                    <a:lnTo>
                      <a:pt x="27" y="1"/>
                    </a:lnTo>
                    <a:lnTo>
                      <a:pt x="33" y="0"/>
                    </a:lnTo>
                    <a:lnTo>
                      <a:pt x="298" y="0"/>
                    </a:lnTo>
                    <a:lnTo>
                      <a:pt x="298" y="0"/>
                    </a:lnTo>
                    <a:lnTo>
                      <a:pt x="305" y="1"/>
                    </a:lnTo>
                    <a:lnTo>
                      <a:pt x="311" y="3"/>
                    </a:lnTo>
                    <a:lnTo>
                      <a:pt x="317" y="6"/>
                    </a:lnTo>
                    <a:lnTo>
                      <a:pt x="321" y="10"/>
                    </a:lnTo>
                    <a:lnTo>
                      <a:pt x="325" y="14"/>
                    </a:lnTo>
                    <a:lnTo>
                      <a:pt x="328" y="20"/>
                    </a:lnTo>
                    <a:lnTo>
                      <a:pt x="330" y="27"/>
                    </a:lnTo>
                    <a:lnTo>
                      <a:pt x="331" y="33"/>
                    </a:lnTo>
                    <a:lnTo>
                      <a:pt x="331" y="464"/>
                    </a:lnTo>
                    <a:lnTo>
                      <a:pt x="331" y="464"/>
                    </a:lnTo>
                    <a:lnTo>
                      <a:pt x="330" y="470"/>
                    </a:lnTo>
                    <a:lnTo>
                      <a:pt x="328" y="476"/>
                    </a:lnTo>
                    <a:lnTo>
                      <a:pt x="325" y="481"/>
                    </a:lnTo>
                    <a:lnTo>
                      <a:pt x="321" y="486"/>
                    </a:lnTo>
                    <a:lnTo>
                      <a:pt x="317" y="491"/>
                    </a:lnTo>
                    <a:lnTo>
                      <a:pt x="311" y="494"/>
                    </a:lnTo>
                    <a:lnTo>
                      <a:pt x="305" y="496"/>
                    </a:lnTo>
                    <a:lnTo>
                      <a:pt x="298" y="497"/>
                    </a:lnTo>
                    <a:lnTo>
                      <a:pt x="298" y="4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0" name="Freeform 97">
                <a:extLst>
                  <a:ext uri="{FF2B5EF4-FFF2-40B4-BE49-F238E27FC236}">
                    <a16:creationId xmlns:a16="http://schemas.microsoft.com/office/drawing/2014/main" id="{DE7AE697-28FB-140E-CAD2-94A1802B37F9}"/>
                  </a:ext>
                </a:extLst>
              </p:cNvPr>
              <p:cNvSpPr>
                <a:spLocks noEditPoints="1"/>
              </p:cNvSpPr>
              <p:nvPr/>
            </p:nvSpPr>
            <p:spPr bwMode="auto">
              <a:xfrm>
                <a:off x="9215438" y="2168525"/>
                <a:ext cx="134938" cy="104775"/>
              </a:xfrm>
              <a:custGeom>
                <a:avLst/>
                <a:gdLst>
                  <a:gd name="T0" fmla="*/ 34 w 595"/>
                  <a:gd name="T1" fmla="*/ 463 h 463"/>
                  <a:gd name="T2" fmla="*/ 15 w 595"/>
                  <a:gd name="T3" fmla="*/ 457 h 463"/>
                  <a:gd name="T4" fmla="*/ 3 w 595"/>
                  <a:gd name="T5" fmla="*/ 442 h 463"/>
                  <a:gd name="T6" fmla="*/ 0 w 595"/>
                  <a:gd name="T7" fmla="*/ 165 h 463"/>
                  <a:gd name="T8" fmla="*/ 3 w 595"/>
                  <a:gd name="T9" fmla="*/ 152 h 463"/>
                  <a:gd name="T10" fmla="*/ 15 w 595"/>
                  <a:gd name="T11" fmla="*/ 138 h 463"/>
                  <a:gd name="T12" fmla="*/ 34 w 595"/>
                  <a:gd name="T13" fmla="*/ 131 h 463"/>
                  <a:gd name="T14" fmla="*/ 138 w 595"/>
                  <a:gd name="T15" fmla="*/ 119 h 463"/>
                  <a:gd name="T16" fmla="*/ 153 w 595"/>
                  <a:gd name="T17" fmla="*/ 82 h 463"/>
                  <a:gd name="T18" fmla="*/ 175 w 595"/>
                  <a:gd name="T19" fmla="*/ 50 h 463"/>
                  <a:gd name="T20" fmla="*/ 206 w 595"/>
                  <a:gd name="T21" fmla="*/ 24 h 463"/>
                  <a:gd name="T22" fmla="*/ 248 w 595"/>
                  <a:gd name="T23" fmla="*/ 6 h 463"/>
                  <a:gd name="T24" fmla="*/ 297 w 595"/>
                  <a:gd name="T25" fmla="*/ 0 h 463"/>
                  <a:gd name="T26" fmla="*/ 333 w 595"/>
                  <a:gd name="T27" fmla="*/ 2 h 463"/>
                  <a:gd name="T28" fmla="*/ 376 w 595"/>
                  <a:gd name="T29" fmla="*/ 17 h 463"/>
                  <a:gd name="T30" fmla="*/ 411 w 595"/>
                  <a:gd name="T31" fmla="*/ 40 h 463"/>
                  <a:gd name="T32" fmla="*/ 437 w 595"/>
                  <a:gd name="T33" fmla="*/ 70 h 463"/>
                  <a:gd name="T34" fmla="*/ 454 w 595"/>
                  <a:gd name="T35" fmla="*/ 107 h 463"/>
                  <a:gd name="T36" fmla="*/ 562 w 595"/>
                  <a:gd name="T37" fmla="*/ 131 h 463"/>
                  <a:gd name="T38" fmla="*/ 576 w 595"/>
                  <a:gd name="T39" fmla="*/ 135 h 463"/>
                  <a:gd name="T40" fmla="*/ 590 w 595"/>
                  <a:gd name="T41" fmla="*/ 146 h 463"/>
                  <a:gd name="T42" fmla="*/ 595 w 595"/>
                  <a:gd name="T43" fmla="*/ 165 h 463"/>
                  <a:gd name="T44" fmla="*/ 594 w 595"/>
                  <a:gd name="T45" fmla="*/ 436 h 463"/>
                  <a:gd name="T46" fmla="*/ 586 w 595"/>
                  <a:gd name="T47" fmla="*/ 454 h 463"/>
                  <a:gd name="T48" fmla="*/ 570 w 595"/>
                  <a:gd name="T49" fmla="*/ 462 h 463"/>
                  <a:gd name="T50" fmla="*/ 67 w 595"/>
                  <a:gd name="T51" fmla="*/ 397 h 463"/>
                  <a:gd name="T52" fmla="*/ 430 w 595"/>
                  <a:gd name="T53" fmla="*/ 198 h 463"/>
                  <a:gd name="T54" fmla="*/ 417 w 595"/>
                  <a:gd name="T55" fmla="*/ 196 h 463"/>
                  <a:gd name="T56" fmla="*/ 403 w 595"/>
                  <a:gd name="T57" fmla="*/ 183 h 463"/>
                  <a:gd name="T58" fmla="*/ 397 w 595"/>
                  <a:gd name="T59" fmla="*/ 165 h 463"/>
                  <a:gd name="T60" fmla="*/ 395 w 595"/>
                  <a:gd name="T61" fmla="*/ 145 h 463"/>
                  <a:gd name="T62" fmla="*/ 387 w 595"/>
                  <a:gd name="T63" fmla="*/ 120 h 463"/>
                  <a:gd name="T64" fmla="*/ 372 w 595"/>
                  <a:gd name="T65" fmla="*/ 94 h 463"/>
                  <a:gd name="T66" fmla="*/ 343 w 595"/>
                  <a:gd name="T67" fmla="*/ 74 h 463"/>
                  <a:gd name="T68" fmla="*/ 297 w 595"/>
                  <a:gd name="T69" fmla="*/ 65 h 463"/>
                  <a:gd name="T70" fmla="*/ 266 w 595"/>
                  <a:gd name="T71" fmla="*/ 69 h 463"/>
                  <a:gd name="T72" fmla="*/ 232 w 595"/>
                  <a:gd name="T73" fmla="*/ 87 h 463"/>
                  <a:gd name="T74" fmla="*/ 213 w 595"/>
                  <a:gd name="T75" fmla="*/ 112 h 463"/>
                  <a:gd name="T76" fmla="*/ 202 w 595"/>
                  <a:gd name="T77" fmla="*/ 138 h 463"/>
                  <a:gd name="T78" fmla="*/ 199 w 595"/>
                  <a:gd name="T79" fmla="*/ 165 h 463"/>
                  <a:gd name="T80" fmla="*/ 196 w 595"/>
                  <a:gd name="T81" fmla="*/ 178 h 463"/>
                  <a:gd name="T82" fmla="*/ 185 w 595"/>
                  <a:gd name="T83" fmla="*/ 193 h 463"/>
                  <a:gd name="T84" fmla="*/ 166 w 595"/>
                  <a:gd name="T85" fmla="*/ 198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95" h="463">
                    <a:moveTo>
                      <a:pt x="562" y="463"/>
                    </a:moveTo>
                    <a:lnTo>
                      <a:pt x="34" y="463"/>
                    </a:lnTo>
                    <a:lnTo>
                      <a:pt x="34" y="463"/>
                    </a:lnTo>
                    <a:lnTo>
                      <a:pt x="26" y="462"/>
                    </a:lnTo>
                    <a:lnTo>
                      <a:pt x="20" y="460"/>
                    </a:lnTo>
                    <a:lnTo>
                      <a:pt x="15" y="457"/>
                    </a:lnTo>
                    <a:lnTo>
                      <a:pt x="10" y="454"/>
                    </a:lnTo>
                    <a:lnTo>
                      <a:pt x="6" y="448"/>
                    </a:lnTo>
                    <a:lnTo>
                      <a:pt x="3" y="442"/>
                    </a:lnTo>
                    <a:lnTo>
                      <a:pt x="1" y="436"/>
                    </a:lnTo>
                    <a:lnTo>
                      <a:pt x="0" y="430"/>
                    </a:lnTo>
                    <a:lnTo>
                      <a:pt x="0" y="165"/>
                    </a:lnTo>
                    <a:lnTo>
                      <a:pt x="0" y="165"/>
                    </a:lnTo>
                    <a:lnTo>
                      <a:pt x="1" y="158"/>
                    </a:lnTo>
                    <a:lnTo>
                      <a:pt x="3" y="152"/>
                    </a:lnTo>
                    <a:lnTo>
                      <a:pt x="6" y="146"/>
                    </a:lnTo>
                    <a:lnTo>
                      <a:pt x="10" y="142"/>
                    </a:lnTo>
                    <a:lnTo>
                      <a:pt x="15" y="138"/>
                    </a:lnTo>
                    <a:lnTo>
                      <a:pt x="20" y="135"/>
                    </a:lnTo>
                    <a:lnTo>
                      <a:pt x="26" y="133"/>
                    </a:lnTo>
                    <a:lnTo>
                      <a:pt x="34" y="131"/>
                    </a:lnTo>
                    <a:lnTo>
                      <a:pt x="136" y="131"/>
                    </a:lnTo>
                    <a:lnTo>
                      <a:pt x="136" y="131"/>
                    </a:lnTo>
                    <a:lnTo>
                      <a:pt x="138" y="119"/>
                    </a:lnTo>
                    <a:lnTo>
                      <a:pt x="142" y="107"/>
                    </a:lnTo>
                    <a:lnTo>
                      <a:pt x="146" y="94"/>
                    </a:lnTo>
                    <a:lnTo>
                      <a:pt x="153" y="82"/>
                    </a:lnTo>
                    <a:lnTo>
                      <a:pt x="159" y="70"/>
                    </a:lnTo>
                    <a:lnTo>
                      <a:pt x="167" y="60"/>
                    </a:lnTo>
                    <a:lnTo>
                      <a:pt x="175" y="50"/>
                    </a:lnTo>
                    <a:lnTo>
                      <a:pt x="185" y="40"/>
                    </a:lnTo>
                    <a:lnTo>
                      <a:pt x="195" y="31"/>
                    </a:lnTo>
                    <a:lnTo>
                      <a:pt x="206" y="24"/>
                    </a:lnTo>
                    <a:lnTo>
                      <a:pt x="220" y="17"/>
                    </a:lnTo>
                    <a:lnTo>
                      <a:pt x="233" y="10"/>
                    </a:lnTo>
                    <a:lnTo>
                      <a:pt x="248" y="6"/>
                    </a:lnTo>
                    <a:lnTo>
                      <a:pt x="263" y="2"/>
                    </a:lnTo>
                    <a:lnTo>
                      <a:pt x="280" y="0"/>
                    </a:lnTo>
                    <a:lnTo>
                      <a:pt x="297" y="0"/>
                    </a:lnTo>
                    <a:lnTo>
                      <a:pt x="297" y="0"/>
                    </a:lnTo>
                    <a:lnTo>
                      <a:pt x="316" y="0"/>
                    </a:lnTo>
                    <a:lnTo>
                      <a:pt x="333" y="2"/>
                    </a:lnTo>
                    <a:lnTo>
                      <a:pt x="348" y="6"/>
                    </a:lnTo>
                    <a:lnTo>
                      <a:pt x="363" y="10"/>
                    </a:lnTo>
                    <a:lnTo>
                      <a:pt x="376" y="17"/>
                    </a:lnTo>
                    <a:lnTo>
                      <a:pt x="390" y="24"/>
                    </a:lnTo>
                    <a:lnTo>
                      <a:pt x="401" y="31"/>
                    </a:lnTo>
                    <a:lnTo>
                      <a:pt x="411" y="40"/>
                    </a:lnTo>
                    <a:lnTo>
                      <a:pt x="421" y="50"/>
                    </a:lnTo>
                    <a:lnTo>
                      <a:pt x="429" y="60"/>
                    </a:lnTo>
                    <a:lnTo>
                      <a:pt x="437" y="70"/>
                    </a:lnTo>
                    <a:lnTo>
                      <a:pt x="443" y="82"/>
                    </a:lnTo>
                    <a:lnTo>
                      <a:pt x="450" y="94"/>
                    </a:lnTo>
                    <a:lnTo>
                      <a:pt x="454" y="107"/>
                    </a:lnTo>
                    <a:lnTo>
                      <a:pt x="458" y="119"/>
                    </a:lnTo>
                    <a:lnTo>
                      <a:pt x="460" y="131"/>
                    </a:lnTo>
                    <a:lnTo>
                      <a:pt x="562" y="131"/>
                    </a:lnTo>
                    <a:lnTo>
                      <a:pt x="562" y="131"/>
                    </a:lnTo>
                    <a:lnTo>
                      <a:pt x="570" y="133"/>
                    </a:lnTo>
                    <a:lnTo>
                      <a:pt x="576" y="135"/>
                    </a:lnTo>
                    <a:lnTo>
                      <a:pt x="581" y="138"/>
                    </a:lnTo>
                    <a:lnTo>
                      <a:pt x="586" y="142"/>
                    </a:lnTo>
                    <a:lnTo>
                      <a:pt x="590" y="146"/>
                    </a:lnTo>
                    <a:lnTo>
                      <a:pt x="593" y="152"/>
                    </a:lnTo>
                    <a:lnTo>
                      <a:pt x="594" y="158"/>
                    </a:lnTo>
                    <a:lnTo>
                      <a:pt x="595" y="165"/>
                    </a:lnTo>
                    <a:lnTo>
                      <a:pt x="595" y="430"/>
                    </a:lnTo>
                    <a:lnTo>
                      <a:pt x="595" y="430"/>
                    </a:lnTo>
                    <a:lnTo>
                      <a:pt x="594" y="436"/>
                    </a:lnTo>
                    <a:lnTo>
                      <a:pt x="593" y="442"/>
                    </a:lnTo>
                    <a:lnTo>
                      <a:pt x="590" y="448"/>
                    </a:lnTo>
                    <a:lnTo>
                      <a:pt x="586" y="454"/>
                    </a:lnTo>
                    <a:lnTo>
                      <a:pt x="581" y="457"/>
                    </a:lnTo>
                    <a:lnTo>
                      <a:pt x="576" y="460"/>
                    </a:lnTo>
                    <a:lnTo>
                      <a:pt x="570" y="462"/>
                    </a:lnTo>
                    <a:lnTo>
                      <a:pt x="562" y="463"/>
                    </a:lnTo>
                    <a:lnTo>
                      <a:pt x="562" y="463"/>
                    </a:lnTo>
                    <a:close/>
                    <a:moveTo>
                      <a:pt x="67" y="397"/>
                    </a:moveTo>
                    <a:lnTo>
                      <a:pt x="529" y="397"/>
                    </a:lnTo>
                    <a:lnTo>
                      <a:pt x="529" y="198"/>
                    </a:lnTo>
                    <a:lnTo>
                      <a:pt x="430" y="198"/>
                    </a:lnTo>
                    <a:lnTo>
                      <a:pt x="430" y="198"/>
                    </a:lnTo>
                    <a:lnTo>
                      <a:pt x="424" y="198"/>
                    </a:lnTo>
                    <a:lnTo>
                      <a:pt x="417" y="196"/>
                    </a:lnTo>
                    <a:lnTo>
                      <a:pt x="411" y="193"/>
                    </a:lnTo>
                    <a:lnTo>
                      <a:pt x="407" y="188"/>
                    </a:lnTo>
                    <a:lnTo>
                      <a:pt x="403" y="183"/>
                    </a:lnTo>
                    <a:lnTo>
                      <a:pt x="400" y="178"/>
                    </a:lnTo>
                    <a:lnTo>
                      <a:pt x="398" y="172"/>
                    </a:lnTo>
                    <a:lnTo>
                      <a:pt x="397" y="165"/>
                    </a:lnTo>
                    <a:lnTo>
                      <a:pt x="397" y="165"/>
                    </a:lnTo>
                    <a:lnTo>
                      <a:pt x="397" y="157"/>
                    </a:lnTo>
                    <a:lnTo>
                      <a:pt x="395" y="145"/>
                    </a:lnTo>
                    <a:lnTo>
                      <a:pt x="394" y="138"/>
                    </a:lnTo>
                    <a:lnTo>
                      <a:pt x="392" y="129"/>
                    </a:lnTo>
                    <a:lnTo>
                      <a:pt x="387" y="120"/>
                    </a:lnTo>
                    <a:lnTo>
                      <a:pt x="383" y="112"/>
                    </a:lnTo>
                    <a:lnTo>
                      <a:pt x="378" y="103"/>
                    </a:lnTo>
                    <a:lnTo>
                      <a:pt x="372" y="94"/>
                    </a:lnTo>
                    <a:lnTo>
                      <a:pt x="364" y="87"/>
                    </a:lnTo>
                    <a:lnTo>
                      <a:pt x="354" y="80"/>
                    </a:lnTo>
                    <a:lnTo>
                      <a:pt x="343" y="74"/>
                    </a:lnTo>
                    <a:lnTo>
                      <a:pt x="330" y="69"/>
                    </a:lnTo>
                    <a:lnTo>
                      <a:pt x="315" y="66"/>
                    </a:lnTo>
                    <a:lnTo>
                      <a:pt x="297" y="65"/>
                    </a:lnTo>
                    <a:lnTo>
                      <a:pt x="297" y="65"/>
                    </a:lnTo>
                    <a:lnTo>
                      <a:pt x="281" y="66"/>
                    </a:lnTo>
                    <a:lnTo>
                      <a:pt x="266" y="69"/>
                    </a:lnTo>
                    <a:lnTo>
                      <a:pt x="253" y="74"/>
                    </a:lnTo>
                    <a:lnTo>
                      <a:pt x="242" y="80"/>
                    </a:lnTo>
                    <a:lnTo>
                      <a:pt x="232" y="87"/>
                    </a:lnTo>
                    <a:lnTo>
                      <a:pt x="224" y="94"/>
                    </a:lnTo>
                    <a:lnTo>
                      <a:pt x="218" y="103"/>
                    </a:lnTo>
                    <a:lnTo>
                      <a:pt x="213" y="112"/>
                    </a:lnTo>
                    <a:lnTo>
                      <a:pt x="208" y="120"/>
                    </a:lnTo>
                    <a:lnTo>
                      <a:pt x="204" y="129"/>
                    </a:lnTo>
                    <a:lnTo>
                      <a:pt x="202" y="138"/>
                    </a:lnTo>
                    <a:lnTo>
                      <a:pt x="201" y="145"/>
                    </a:lnTo>
                    <a:lnTo>
                      <a:pt x="199" y="157"/>
                    </a:lnTo>
                    <a:lnTo>
                      <a:pt x="199" y="165"/>
                    </a:lnTo>
                    <a:lnTo>
                      <a:pt x="199" y="165"/>
                    </a:lnTo>
                    <a:lnTo>
                      <a:pt x="198" y="172"/>
                    </a:lnTo>
                    <a:lnTo>
                      <a:pt x="196" y="178"/>
                    </a:lnTo>
                    <a:lnTo>
                      <a:pt x="193" y="183"/>
                    </a:lnTo>
                    <a:lnTo>
                      <a:pt x="189" y="188"/>
                    </a:lnTo>
                    <a:lnTo>
                      <a:pt x="185" y="193"/>
                    </a:lnTo>
                    <a:lnTo>
                      <a:pt x="178" y="196"/>
                    </a:lnTo>
                    <a:lnTo>
                      <a:pt x="172" y="198"/>
                    </a:lnTo>
                    <a:lnTo>
                      <a:pt x="166" y="198"/>
                    </a:lnTo>
                    <a:lnTo>
                      <a:pt x="67" y="198"/>
                    </a:lnTo>
                    <a:lnTo>
                      <a:pt x="67" y="3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2" name="Freeform 98">
                <a:extLst>
                  <a:ext uri="{FF2B5EF4-FFF2-40B4-BE49-F238E27FC236}">
                    <a16:creationId xmlns:a16="http://schemas.microsoft.com/office/drawing/2014/main" id="{FDE72B42-80C2-002C-499C-A3B9084D2431}"/>
                  </a:ext>
                </a:extLst>
              </p:cNvPr>
              <p:cNvSpPr>
                <a:spLocks/>
              </p:cNvSpPr>
              <p:nvPr/>
            </p:nvSpPr>
            <p:spPr bwMode="auto">
              <a:xfrm>
                <a:off x="9336088" y="2243138"/>
                <a:ext cx="44450" cy="82550"/>
              </a:xfrm>
              <a:custGeom>
                <a:avLst/>
                <a:gdLst>
                  <a:gd name="T0" fmla="*/ 166 w 199"/>
                  <a:gd name="T1" fmla="*/ 365 h 365"/>
                  <a:gd name="T2" fmla="*/ 166 w 199"/>
                  <a:gd name="T3" fmla="*/ 365 h 365"/>
                  <a:gd name="T4" fmla="*/ 159 w 199"/>
                  <a:gd name="T5" fmla="*/ 364 h 365"/>
                  <a:gd name="T6" fmla="*/ 152 w 199"/>
                  <a:gd name="T7" fmla="*/ 362 h 365"/>
                  <a:gd name="T8" fmla="*/ 147 w 199"/>
                  <a:gd name="T9" fmla="*/ 359 h 365"/>
                  <a:gd name="T10" fmla="*/ 142 w 199"/>
                  <a:gd name="T11" fmla="*/ 354 h 365"/>
                  <a:gd name="T12" fmla="*/ 138 w 199"/>
                  <a:gd name="T13" fmla="*/ 349 h 365"/>
                  <a:gd name="T14" fmla="*/ 135 w 199"/>
                  <a:gd name="T15" fmla="*/ 344 h 365"/>
                  <a:gd name="T16" fmla="*/ 134 w 199"/>
                  <a:gd name="T17" fmla="*/ 338 h 365"/>
                  <a:gd name="T18" fmla="*/ 133 w 199"/>
                  <a:gd name="T19" fmla="*/ 332 h 365"/>
                  <a:gd name="T20" fmla="*/ 133 w 199"/>
                  <a:gd name="T21" fmla="*/ 67 h 365"/>
                  <a:gd name="T22" fmla="*/ 33 w 199"/>
                  <a:gd name="T23" fmla="*/ 67 h 365"/>
                  <a:gd name="T24" fmla="*/ 33 w 199"/>
                  <a:gd name="T25" fmla="*/ 67 h 365"/>
                  <a:gd name="T26" fmla="*/ 27 w 199"/>
                  <a:gd name="T27" fmla="*/ 66 h 365"/>
                  <a:gd name="T28" fmla="*/ 21 w 199"/>
                  <a:gd name="T29" fmla="*/ 63 h 365"/>
                  <a:gd name="T30" fmla="*/ 15 w 199"/>
                  <a:gd name="T31" fmla="*/ 61 h 365"/>
                  <a:gd name="T32" fmla="*/ 11 w 199"/>
                  <a:gd name="T33" fmla="*/ 57 h 365"/>
                  <a:gd name="T34" fmla="*/ 6 w 199"/>
                  <a:gd name="T35" fmla="*/ 52 h 365"/>
                  <a:gd name="T36" fmla="*/ 3 w 199"/>
                  <a:gd name="T37" fmla="*/ 46 h 365"/>
                  <a:gd name="T38" fmla="*/ 1 w 199"/>
                  <a:gd name="T39" fmla="*/ 40 h 365"/>
                  <a:gd name="T40" fmla="*/ 0 w 199"/>
                  <a:gd name="T41" fmla="*/ 33 h 365"/>
                  <a:gd name="T42" fmla="*/ 0 w 199"/>
                  <a:gd name="T43" fmla="*/ 33 h 365"/>
                  <a:gd name="T44" fmla="*/ 1 w 199"/>
                  <a:gd name="T45" fmla="*/ 27 h 365"/>
                  <a:gd name="T46" fmla="*/ 3 w 199"/>
                  <a:gd name="T47" fmla="*/ 21 h 365"/>
                  <a:gd name="T48" fmla="*/ 6 w 199"/>
                  <a:gd name="T49" fmla="*/ 15 h 365"/>
                  <a:gd name="T50" fmla="*/ 11 w 199"/>
                  <a:gd name="T51" fmla="*/ 10 h 365"/>
                  <a:gd name="T52" fmla="*/ 15 w 199"/>
                  <a:gd name="T53" fmla="*/ 7 h 365"/>
                  <a:gd name="T54" fmla="*/ 21 w 199"/>
                  <a:gd name="T55" fmla="*/ 3 h 365"/>
                  <a:gd name="T56" fmla="*/ 27 w 199"/>
                  <a:gd name="T57" fmla="*/ 1 h 365"/>
                  <a:gd name="T58" fmla="*/ 33 w 199"/>
                  <a:gd name="T59" fmla="*/ 0 h 365"/>
                  <a:gd name="T60" fmla="*/ 166 w 199"/>
                  <a:gd name="T61" fmla="*/ 0 h 365"/>
                  <a:gd name="T62" fmla="*/ 166 w 199"/>
                  <a:gd name="T63" fmla="*/ 0 h 365"/>
                  <a:gd name="T64" fmla="*/ 172 w 199"/>
                  <a:gd name="T65" fmla="*/ 1 h 365"/>
                  <a:gd name="T66" fmla="*/ 178 w 199"/>
                  <a:gd name="T67" fmla="*/ 3 h 365"/>
                  <a:gd name="T68" fmla="*/ 184 w 199"/>
                  <a:gd name="T69" fmla="*/ 7 h 365"/>
                  <a:gd name="T70" fmla="*/ 190 w 199"/>
                  <a:gd name="T71" fmla="*/ 10 h 365"/>
                  <a:gd name="T72" fmla="*/ 193 w 199"/>
                  <a:gd name="T73" fmla="*/ 15 h 365"/>
                  <a:gd name="T74" fmla="*/ 196 w 199"/>
                  <a:gd name="T75" fmla="*/ 21 h 365"/>
                  <a:gd name="T76" fmla="*/ 198 w 199"/>
                  <a:gd name="T77" fmla="*/ 27 h 365"/>
                  <a:gd name="T78" fmla="*/ 199 w 199"/>
                  <a:gd name="T79" fmla="*/ 33 h 365"/>
                  <a:gd name="T80" fmla="*/ 199 w 199"/>
                  <a:gd name="T81" fmla="*/ 332 h 365"/>
                  <a:gd name="T82" fmla="*/ 199 w 199"/>
                  <a:gd name="T83" fmla="*/ 332 h 365"/>
                  <a:gd name="T84" fmla="*/ 198 w 199"/>
                  <a:gd name="T85" fmla="*/ 338 h 365"/>
                  <a:gd name="T86" fmla="*/ 196 w 199"/>
                  <a:gd name="T87" fmla="*/ 344 h 365"/>
                  <a:gd name="T88" fmla="*/ 193 w 199"/>
                  <a:gd name="T89" fmla="*/ 349 h 365"/>
                  <a:gd name="T90" fmla="*/ 190 w 199"/>
                  <a:gd name="T91" fmla="*/ 354 h 365"/>
                  <a:gd name="T92" fmla="*/ 184 w 199"/>
                  <a:gd name="T93" fmla="*/ 359 h 365"/>
                  <a:gd name="T94" fmla="*/ 178 w 199"/>
                  <a:gd name="T95" fmla="*/ 362 h 365"/>
                  <a:gd name="T96" fmla="*/ 172 w 199"/>
                  <a:gd name="T97" fmla="*/ 364 h 365"/>
                  <a:gd name="T98" fmla="*/ 166 w 199"/>
                  <a:gd name="T99" fmla="*/ 365 h 365"/>
                  <a:gd name="T100" fmla="*/ 166 w 199"/>
                  <a:gd name="T101" fmla="*/ 36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9" h="365">
                    <a:moveTo>
                      <a:pt x="166" y="365"/>
                    </a:moveTo>
                    <a:lnTo>
                      <a:pt x="166" y="365"/>
                    </a:lnTo>
                    <a:lnTo>
                      <a:pt x="159" y="364"/>
                    </a:lnTo>
                    <a:lnTo>
                      <a:pt x="152" y="362"/>
                    </a:lnTo>
                    <a:lnTo>
                      <a:pt x="147" y="359"/>
                    </a:lnTo>
                    <a:lnTo>
                      <a:pt x="142" y="354"/>
                    </a:lnTo>
                    <a:lnTo>
                      <a:pt x="138" y="349"/>
                    </a:lnTo>
                    <a:lnTo>
                      <a:pt x="135" y="344"/>
                    </a:lnTo>
                    <a:lnTo>
                      <a:pt x="134" y="338"/>
                    </a:lnTo>
                    <a:lnTo>
                      <a:pt x="133" y="332"/>
                    </a:lnTo>
                    <a:lnTo>
                      <a:pt x="133" y="67"/>
                    </a:lnTo>
                    <a:lnTo>
                      <a:pt x="33" y="67"/>
                    </a:lnTo>
                    <a:lnTo>
                      <a:pt x="33" y="67"/>
                    </a:lnTo>
                    <a:lnTo>
                      <a:pt x="27" y="66"/>
                    </a:lnTo>
                    <a:lnTo>
                      <a:pt x="21" y="63"/>
                    </a:lnTo>
                    <a:lnTo>
                      <a:pt x="15" y="61"/>
                    </a:lnTo>
                    <a:lnTo>
                      <a:pt x="11" y="57"/>
                    </a:lnTo>
                    <a:lnTo>
                      <a:pt x="6" y="52"/>
                    </a:lnTo>
                    <a:lnTo>
                      <a:pt x="3" y="46"/>
                    </a:lnTo>
                    <a:lnTo>
                      <a:pt x="1" y="40"/>
                    </a:lnTo>
                    <a:lnTo>
                      <a:pt x="0" y="33"/>
                    </a:lnTo>
                    <a:lnTo>
                      <a:pt x="0" y="33"/>
                    </a:lnTo>
                    <a:lnTo>
                      <a:pt x="1" y="27"/>
                    </a:lnTo>
                    <a:lnTo>
                      <a:pt x="3" y="21"/>
                    </a:lnTo>
                    <a:lnTo>
                      <a:pt x="6" y="15"/>
                    </a:lnTo>
                    <a:lnTo>
                      <a:pt x="11" y="10"/>
                    </a:lnTo>
                    <a:lnTo>
                      <a:pt x="15" y="7"/>
                    </a:lnTo>
                    <a:lnTo>
                      <a:pt x="21" y="3"/>
                    </a:lnTo>
                    <a:lnTo>
                      <a:pt x="27" y="1"/>
                    </a:lnTo>
                    <a:lnTo>
                      <a:pt x="33" y="0"/>
                    </a:lnTo>
                    <a:lnTo>
                      <a:pt x="166" y="0"/>
                    </a:lnTo>
                    <a:lnTo>
                      <a:pt x="166" y="0"/>
                    </a:lnTo>
                    <a:lnTo>
                      <a:pt x="172" y="1"/>
                    </a:lnTo>
                    <a:lnTo>
                      <a:pt x="178" y="3"/>
                    </a:lnTo>
                    <a:lnTo>
                      <a:pt x="184" y="7"/>
                    </a:lnTo>
                    <a:lnTo>
                      <a:pt x="190" y="10"/>
                    </a:lnTo>
                    <a:lnTo>
                      <a:pt x="193" y="15"/>
                    </a:lnTo>
                    <a:lnTo>
                      <a:pt x="196" y="21"/>
                    </a:lnTo>
                    <a:lnTo>
                      <a:pt x="198" y="27"/>
                    </a:lnTo>
                    <a:lnTo>
                      <a:pt x="199" y="33"/>
                    </a:lnTo>
                    <a:lnTo>
                      <a:pt x="199" y="332"/>
                    </a:lnTo>
                    <a:lnTo>
                      <a:pt x="199" y="332"/>
                    </a:lnTo>
                    <a:lnTo>
                      <a:pt x="198" y="338"/>
                    </a:lnTo>
                    <a:lnTo>
                      <a:pt x="196" y="344"/>
                    </a:lnTo>
                    <a:lnTo>
                      <a:pt x="193" y="349"/>
                    </a:lnTo>
                    <a:lnTo>
                      <a:pt x="190" y="354"/>
                    </a:lnTo>
                    <a:lnTo>
                      <a:pt x="184" y="359"/>
                    </a:lnTo>
                    <a:lnTo>
                      <a:pt x="178" y="362"/>
                    </a:lnTo>
                    <a:lnTo>
                      <a:pt x="172" y="364"/>
                    </a:lnTo>
                    <a:lnTo>
                      <a:pt x="166" y="365"/>
                    </a:lnTo>
                    <a:lnTo>
                      <a:pt x="166" y="3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59" name="Freeform 99">
                <a:extLst>
                  <a:ext uri="{FF2B5EF4-FFF2-40B4-BE49-F238E27FC236}">
                    <a16:creationId xmlns:a16="http://schemas.microsoft.com/office/drawing/2014/main" id="{F020106F-E615-07FF-7D6C-F2C08F592732}"/>
                  </a:ext>
                </a:extLst>
              </p:cNvPr>
              <p:cNvSpPr>
                <a:spLocks/>
              </p:cNvSpPr>
              <p:nvPr/>
            </p:nvSpPr>
            <p:spPr bwMode="auto">
              <a:xfrm>
                <a:off x="9231313" y="2303463"/>
                <a:ext cx="88900" cy="15875"/>
              </a:xfrm>
              <a:custGeom>
                <a:avLst/>
                <a:gdLst>
                  <a:gd name="T0" fmla="*/ 363 w 396"/>
                  <a:gd name="T1" fmla="*/ 67 h 67"/>
                  <a:gd name="T2" fmla="*/ 33 w 396"/>
                  <a:gd name="T3" fmla="*/ 67 h 67"/>
                  <a:gd name="T4" fmla="*/ 33 w 396"/>
                  <a:gd name="T5" fmla="*/ 67 h 67"/>
                  <a:gd name="T6" fmla="*/ 26 w 396"/>
                  <a:gd name="T7" fmla="*/ 66 h 67"/>
                  <a:gd name="T8" fmla="*/ 19 w 396"/>
                  <a:gd name="T9" fmla="*/ 64 h 67"/>
                  <a:gd name="T10" fmla="*/ 14 w 396"/>
                  <a:gd name="T11" fmla="*/ 60 h 67"/>
                  <a:gd name="T12" fmla="*/ 9 w 396"/>
                  <a:gd name="T13" fmla="*/ 56 h 67"/>
                  <a:gd name="T14" fmla="*/ 5 w 396"/>
                  <a:gd name="T15" fmla="*/ 52 h 67"/>
                  <a:gd name="T16" fmla="*/ 2 w 396"/>
                  <a:gd name="T17" fmla="*/ 46 h 67"/>
                  <a:gd name="T18" fmla="*/ 0 w 396"/>
                  <a:gd name="T19" fmla="*/ 40 h 67"/>
                  <a:gd name="T20" fmla="*/ 0 w 396"/>
                  <a:gd name="T21" fmla="*/ 33 h 67"/>
                  <a:gd name="T22" fmla="*/ 0 w 396"/>
                  <a:gd name="T23" fmla="*/ 33 h 67"/>
                  <a:gd name="T24" fmla="*/ 0 w 396"/>
                  <a:gd name="T25" fmla="*/ 26 h 67"/>
                  <a:gd name="T26" fmla="*/ 2 w 396"/>
                  <a:gd name="T27" fmla="*/ 20 h 67"/>
                  <a:gd name="T28" fmla="*/ 5 w 396"/>
                  <a:gd name="T29" fmla="*/ 15 h 67"/>
                  <a:gd name="T30" fmla="*/ 9 w 396"/>
                  <a:gd name="T31" fmla="*/ 10 h 67"/>
                  <a:gd name="T32" fmla="*/ 14 w 396"/>
                  <a:gd name="T33" fmla="*/ 6 h 67"/>
                  <a:gd name="T34" fmla="*/ 19 w 396"/>
                  <a:gd name="T35" fmla="*/ 2 h 67"/>
                  <a:gd name="T36" fmla="*/ 26 w 396"/>
                  <a:gd name="T37" fmla="*/ 0 h 67"/>
                  <a:gd name="T38" fmla="*/ 33 w 396"/>
                  <a:gd name="T39" fmla="*/ 0 h 67"/>
                  <a:gd name="T40" fmla="*/ 363 w 396"/>
                  <a:gd name="T41" fmla="*/ 0 h 67"/>
                  <a:gd name="T42" fmla="*/ 363 w 396"/>
                  <a:gd name="T43" fmla="*/ 0 h 67"/>
                  <a:gd name="T44" fmla="*/ 370 w 396"/>
                  <a:gd name="T45" fmla="*/ 0 h 67"/>
                  <a:gd name="T46" fmla="*/ 376 w 396"/>
                  <a:gd name="T47" fmla="*/ 2 h 67"/>
                  <a:gd name="T48" fmla="*/ 382 w 396"/>
                  <a:gd name="T49" fmla="*/ 6 h 67"/>
                  <a:gd name="T50" fmla="*/ 387 w 396"/>
                  <a:gd name="T51" fmla="*/ 10 h 67"/>
                  <a:gd name="T52" fmla="*/ 391 w 396"/>
                  <a:gd name="T53" fmla="*/ 15 h 67"/>
                  <a:gd name="T54" fmla="*/ 394 w 396"/>
                  <a:gd name="T55" fmla="*/ 20 h 67"/>
                  <a:gd name="T56" fmla="*/ 396 w 396"/>
                  <a:gd name="T57" fmla="*/ 26 h 67"/>
                  <a:gd name="T58" fmla="*/ 396 w 396"/>
                  <a:gd name="T59" fmla="*/ 33 h 67"/>
                  <a:gd name="T60" fmla="*/ 396 w 396"/>
                  <a:gd name="T61" fmla="*/ 33 h 67"/>
                  <a:gd name="T62" fmla="*/ 396 w 396"/>
                  <a:gd name="T63" fmla="*/ 40 h 67"/>
                  <a:gd name="T64" fmla="*/ 394 w 396"/>
                  <a:gd name="T65" fmla="*/ 46 h 67"/>
                  <a:gd name="T66" fmla="*/ 391 w 396"/>
                  <a:gd name="T67" fmla="*/ 52 h 67"/>
                  <a:gd name="T68" fmla="*/ 387 w 396"/>
                  <a:gd name="T69" fmla="*/ 56 h 67"/>
                  <a:gd name="T70" fmla="*/ 382 w 396"/>
                  <a:gd name="T71" fmla="*/ 60 h 67"/>
                  <a:gd name="T72" fmla="*/ 376 w 396"/>
                  <a:gd name="T73" fmla="*/ 64 h 67"/>
                  <a:gd name="T74" fmla="*/ 370 w 396"/>
                  <a:gd name="T75" fmla="*/ 66 h 67"/>
                  <a:gd name="T76" fmla="*/ 363 w 396"/>
                  <a:gd name="T77" fmla="*/ 67 h 67"/>
                  <a:gd name="T78" fmla="*/ 363 w 396"/>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7">
                    <a:moveTo>
                      <a:pt x="363" y="67"/>
                    </a:moveTo>
                    <a:lnTo>
                      <a:pt x="33" y="67"/>
                    </a:lnTo>
                    <a:lnTo>
                      <a:pt x="33" y="67"/>
                    </a:lnTo>
                    <a:lnTo>
                      <a:pt x="26" y="66"/>
                    </a:lnTo>
                    <a:lnTo>
                      <a:pt x="19" y="64"/>
                    </a:lnTo>
                    <a:lnTo>
                      <a:pt x="14" y="60"/>
                    </a:lnTo>
                    <a:lnTo>
                      <a:pt x="9" y="56"/>
                    </a:lnTo>
                    <a:lnTo>
                      <a:pt x="5" y="52"/>
                    </a:lnTo>
                    <a:lnTo>
                      <a:pt x="2" y="46"/>
                    </a:lnTo>
                    <a:lnTo>
                      <a:pt x="0" y="40"/>
                    </a:lnTo>
                    <a:lnTo>
                      <a:pt x="0" y="33"/>
                    </a:lnTo>
                    <a:lnTo>
                      <a:pt x="0" y="33"/>
                    </a:lnTo>
                    <a:lnTo>
                      <a:pt x="0" y="26"/>
                    </a:lnTo>
                    <a:lnTo>
                      <a:pt x="2" y="20"/>
                    </a:lnTo>
                    <a:lnTo>
                      <a:pt x="5" y="15"/>
                    </a:lnTo>
                    <a:lnTo>
                      <a:pt x="9" y="10"/>
                    </a:lnTo>
                    <a:lnTo>
                      <a:pt x="14" y="6"/>
                    </a:lnTo>
                    <a:lnTo>
                      <a:pt x="19" y="2"/>
                    </a:lnTo>
                    <a:lnTo>
                      <a:pt x="26" y="0"/>
                    </a:lnTo>
                    <a:lnTo>
                      <a:pt x="33" y="0"/>
                    </a:lnTo>
                    <a:lnTo>
                      <a:pt x="363" y="0"/>
                    </a:lnTo>
                    <a:lnTo>
                      <a:pt x="363" y="0"/>
                    </a:lnTo>
                    <a:lnTo>
                      <a:pt x="370" y="0"/>
                    </a:lnTo>
                    <a:lnTo>
                      <a:pt x="376" y="2"/>
                    </a:lnTo>
                    <a:lnTo>
                      <a:pt x="382" y="6"/>
                    </a:lnTo>
                    <a:lnTo>
                      <a:pt x="387" y="10"/>
                    </a:lnTo>
                    <a:lnTo>
                      <a:pt x="391" y="15"/>
                    </a:lnTo>
                    <a:lnTo>
                      <a:pt x="394" y="20"/>
                    </a:lnTo>
                    <a:lnTo>
                      <a:pt x="396" y="26"/>
                    </a:lnTo>
                    <a:lnTo>
                      <a:pt x="396" y="33"/>
                    </a:lnTo>
                    <a:lnTo>
                      <a:pt x="396" y="33"/>
                    </a:lnTo>
                    <a:lnTo>
                      <a:pt x="396" y="40"/>
                    </a:lnTo>
                    <a:lnTo>
                      <a:pt x="394" y="46"/>
                    </a:lnTo>
                    <a:lnTo>
                      <a:pt x="391" y="52"/>
                    </a:lnTo>
                    <a:lnTo>
                      <a:pt x="387" y="56"/>
                    </a:lnTo>
                    <a:lnTo>
                      <a:pt x="382" y="60"/>
                    </a:lnTo>
                    <a:lnTo>
                      <a:pt x="376" y="64"/>
                    </a:lnTo>
                    <a:lnTo>
                      <a:pt x="370" y="66"/>
                    </a:lnTo>
                    <a:lnTo>
                      <a:pt x="363" y="67"/>
                    </a:lnTo>
                    <a:lnTo>
                      <a:pt x="36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84" name="Freeform 100">
                <a:extLst>
                  <a:ext uri="{FF2B5EF4-FFF2-40B4-BE49-F238E27FC236}">
                    <a16:creationId xmlns:a16="http://schemas.microsoft.com/office/drawing/2014/main" id="{2FB9EA7D-C1D0-2A62-BB33-33108BBB5755}"/>
                  </a:ext>
                </a:extLst>
              </p:cNvPr>
              <p:cNvSpPr>
                <a:spLocks/>
              </p:cNvSpPr>
              <p:nvPr/>
            </p:nvSpPr>
            <p:spPr bwMode="auto">
              <a:xfrm>
                <a:off x="9231313" y="2333625"/>
                <a:ext cx="88900" cy="14288"/>
              </a:xfrm>
              <a:custGeom>
                <a:avLst/>
                <a:gdLst>
                  <a:gd name="T0" fmla="*/ 363 w 396"/>
                  <a:gd name="T1" fmla="*/ 65 h 65"/>
                  <a:gd name="T2" fmla="*/ 33 w 396"/>
                  <a:gd name="T3" fmla="*/ 65 h 65"/>
                  <a:gd name="T4" fmla="*/ 33 w 396"/>
                  <a:gd name="T5" fmla="*/ 65 h 65"/>
                  <a:gd name="T6" fmla="*/ 26 w 396"/>
                  <a:gd name="T7" fmla="*/ 65 h 65"/>
                  <a:gd name="T8" fmla="*/ 19 w 396"/>
                  <a:gd name="T9" fmla="*/ 63 h 65"/>
                  <a:gd name="T10" fmla="*/ 14 w 396"/>
                  <a:gd name="T11" fmla="*/ 60 h 65"/>
                  <a:gd name="T12" fmla="*/ 9 w 396"/>
                  <a:gd name="T13" fmla="*/ 56 h 65"/>
                  <a:gd name="T14" fmla="*/ 5 w 396"/>
                  <a:gd name="T15" fmla="*/ 51 h 65"/>
                  <a:gd name="T16" fmla="*/ 2 w 396"/>
                  <a:gd name="T17" fmla="*/ 45 h 65"/>
                  <a:gd name="T18" fmla="*/ 0 w 396"/>
                  <a:gd name="T19" fmla="*/ 39 h 65"/>
                  <a:gd name="T20" fmla="*/ 0 w 396"/>
                  <a:gd name="T21" fmla="*/ 32 h 65"/>
                  <a:gd name="T22" fmla="*/ 0 w 396"/>
                  <a:gd name="T23" fmla="*/ 32 h 65"/>
                  <a:gd name="T24" fmla="*/ 0 w 396"/>
                  <a:gd name="T25" fmla="*/ 26 h 65"/>
                  <a:gd name="T26" fmla="*/ 2 w 396"/>
                  <a:gd name="T27" fmla="*/ 20 h 65"/>
                  <a:gd name="T28" fmla="*/ 5 w 396"/>
                  <a:gd name="T29" fmla="*/ 14 h 65"/>
                  <a:gd name="T30" fmla="*/ 9 w 396"/>
                  <a:gd name="T31" fmla="*/ 9 h 65"/>
                  <a:gd name="T32" fmla="*/ 14 w 396"/>
                  <a:gd name="T33" fmla="*/ 5 h 65"/>
                  <a:gd name="T34" fmla="*/ 19 w 396"/>
                  <a:gd name="T35" fmla="*/ 2 h 65"/>
                  <a:gd name="T36" fmla="*/ 26 w 396"/>
                  <a:gd name="T37" fmla="*/ 0 h 65"/>
                  <a:gd name="T38" fmla="*/ 33 w 396"/>
                  <a:gd name="T39" fmla="*/ 0 h 65"/>
                  <a:gd name="T40" fmla="*/ 363 w 396"/>
                  <a:gd name="T41" fmla="*/ 0 h 65"/>
                  <a:gd name="T42" fmla="*/ 363 w 396"/>
                  <a:gd name="T43" fmla="*/ 0 h 65"/>
                  <a:gd name="T44" fmla="*/ 370 w 396"/>
                  <a:gd name="T45" fmla="*/ 0 h 65"/>
                  <a:gd name="T46" fmla="*/ 376 w 396"/>
                  <a:gd name="T47" fmla="*/ 2 h 65"/>
                  <a:gd name="T48" fmla="*/ 382 w 396"/>
                  <a:gd name="T49" fmla="*/ 5 h 65"/>
                  <a:gd name="T50" fmla="*/ 387 w 396"/>
                  <a:gd name="T51" fmla="*/ 9 h 65"/>
                  <a:gd name="T52" fmla="*/ 391 w 396"/>
                  <a:gd name="T53" fmla="*/ 14 h 65"/>
                  <a:gd name="T54" fmla="*/ 394 w 396"/>
                  <a:gd name="T55" fmla="*/ 20 h 65"/>
                  <a:gd name="T56" fmla="*/ 396 w 396"/>
                  <a:gd name="T57" fmla="*/ 26 h 65"/>
                  <a:gd name="T58" fmla="*/ 396 w 396"/>
                  <a:gd name="T59" fmla="*/ 32 h 65"/>
                  <a:gd name="T60" fmla="*/ 396 w 396"/>
                  <a:gd name="T61" fmla="*/ 32 h 65"/>
                  <a:gd name="T62" fmla="*/ 396 w 396"/>
                  <a:gd name="T63" fmla="*/ 39 h 65"/>
                  <a:gd name="T64" fmla="*/ 394 w 396"/>
                  <a:gd name="T65" fmla="*/ 45 h 65"/>
                  <a:gd name="T66" fmla="*/ 391 w 396"/>
                  <a:gd name="T67" fmla="*/ 51 h 65"/>
                  <a:gd name="T68" fmla="*/ 387 w 396"/>
                  <a:gd name="T69" fmla="*/ 56 h 65"/>
                  <a:gd name="T70" fmla="*/ 382 w 396"/>
                  <a:gd name="T71" fmla="*/ 60 h 65"/>
                  <a:gd name="T72" fmla="*/ 376 w 396"/>
                  <a:gd name="T73" fmla="*/ 63 h 65"/>
                  <a:gd name="T74" fmla="*/ 370 w 396"/>
                  <a:gd name="T75" fmla="*/ 65 h 65"/>
                  <a:gd name="T76" fmla="*/ 363 w 396"/>
                  <a:gd name="T77" fmla="*/ 65 h 65"/>
                  <a:gd name="T78" fmla="*/ 363 w 396"/>
                  <a:gd name="T7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5">
                    <a:moveTo>
                      <a:pt x="363" y="65"/>
                    </a:moveTo>
                    <a:lnTo>
                      <a:pt x="33" y="65"/>
                    </a:lnTo>
                    <a:lnTo>
                      <a:pt x="33" y="65"/>
                    </a:lnTo>
                    <a:lnTo>
                      <a:pt x="26" y="65"/>
                    </a:lnTo>
                    <a:lnTo>
                      <a:pt x="19" y="63"/>
                    </a:lnTo>
                    <a:lnTo>
                      <a:pt x="14" y="60"/>
                    </a:lnTo>
                    <a:lnTo>
                      <a:pt x="9" y="56"/>
                    </a:lnTo>
                    <a:lnTo>
                      <a:pt x="5" y="51"/>
                    </a:lnTo>
                    <a:lnTo>
                      <a:pt x="2" y="45"/>
                    </a:lnTo>
                    <a:lnTo>
                      <a:pt x="0" y="39"/>
                    </a:lnTo>
                    <a:lnTo>
                      <a:pt x="0" y="32"/>
                    </a:lnTo>
                    <a:lnTo>
                      <a:pt x="0" y="32"/>
                    </a:lnTo>
                    <a:lnTo>
                      <a:pt x="0" y="26"/>
                    </a:lnTo>
                    <a:lnTo>
                      <a:pt x="2" y="20"/>
                    </a:lnTo>
                    <a:lnTo>
                      <a:pt x="5" y="14"/>
                    </a:lnTo>
                    <a:lnTo>
                      <a:pt x="9" y="9"/>
                    </a:lnTo>
                    <a:lnTo>
                      <a:pt x="14" y="5"/>
                    </a:lnTo>
                    <a:lnTo>
                      <a:pt x="19" y="2"/>
                    </a:lnTo>
                    <a:lnTo>
                      <a:pt x="26" y="0"/>
                    </a:lnTo>
                    <a:lnTo>
                      <a:pt x="33" y="0"/>
                    </a:lnTo>
                    <a:lnTo>
                      <a:pt x="363" y="0"/>
                    </a:lnTo>
                    <a:lnTo>
                      <a:pt x="363" y="0"/>
                    </a:lnTo>
                    <a:lnTo>
                      <a:pt x="370" y="0"/>
                    </a:lnTo>
                    <a:lnTo>
                      <a:pt x="376" y="2"/>
                    </a:lnTo>
                    <a:lnTo>
                      <a:pt x="382" y="5"/>
                    </a:lnTo>
                    <a:lnTo>
                      <a:pt x="387" y="9"/>
                    </a:lnTo>
                    <a:lnTo>
                      <a:pt x="391" y="14"/>
                    </a:lnTo>
                    <a:lnTo>
                      <a:pt x="394" y="20"/>
                    </a:lnTo>
                    <a:lnTo>
                      <a:pt x="396" y="26"/>
                    </a:lnTo>
                    <a:lnTo>
                      <a:pt x="396" y="32"/>
                    </a:lnTo>
                    <a:lnTo>
                      <a:pt x="396" y="32"/>
                    </a:lnTo>
                    <a:lnTo>
                      <a:pt x="396" y="39"/>
                    </a:lnTo>
                    <a:lnTo>
                      <a:pt x="394" y="45"/>
                    </a:lnTo>
                    <a:lnTo>
                      <a:pt x="391" y="51"/>
                    </a:lnTo>
                    <a:lnTo>
                      <a:pt x="387" y="56"/>
                    </a:lnTo>
                    <a:lnTo>
                      <a:pt x="382" y="60"/>
                    </a:lnTo>
                    <a:lnTo>
                      <a:pt x="376" y="63"/>
                    </a:lnTo>
                    <a:lnTo>
                      <a:pt x="370" y="65"/>
                    </a:lnTo>
                    <a:lnTo>
                      <a:pt x="363" y="65"/>
                    </a:lnTo>
                    <a:lnTo>
                      <a:pt x="363"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87" name="Freeform 101">
                <a:extLst>
                  <a:ext uri="{FF2B5EF4-FFF2-40B4-BE49-F238E27FC236}">
                    <a16:creationId xmlns:a16="http://schemas.microsoft.com/office/drawing/2014/main" id="{12A7FEFC-956B-D2A4-D253-7B5309386E6B}"/>
                  </a:ext>
                </a:extLst>
              </p:cNvPr>
              <p:cNvSpPr>
                <a:spLocks/>
              </p:cNvSpPr>
              <p:nvPr/>
            </p:nvSpPr>
            <p:spPr bwMode="auto">
              <a:xfrm>
                <a:off x="9231313" y="2363788"/>
                <a:ext cx="88900" cy="14288"/>
              </a:xfrm>
              <a:custGeom>
                <a:avLst/>
                <a:gdLst>
                  <a:gd name="T0" fmla="*/ 363 w 396"/>
                  <a:gd name="T1" fmla="*/ 67 h 67"/>
                  <a:gd name="T2" fmla="*/ 33 w 396"/>
                  <a:gd name="T3" fmla="*/ 67 h 67"/>
                  <a:gd name="T4" fmla="*/ 33 w 396"/>
                  <a:gd name="T5" fmla="*/ 67 h 67"/>
                  <a:gd name="T6" fmla="*/ 26 w 396"/>
                  <a:gd name="T7" fmla="*/ 67 h 67"/>
                  <a:gd name="T8" fmla="*/ 19 w 396"/>
                  <a:gd name="T9" fmla="*/ 65 h 67"/>
                  <a:gd name="T10" fmla="*/ 14 w 396"/>
                  <a:gd name="T11" fmla="*/ 61 h 67"/>
                  <a:gd name="T12" fmla="*/ 9 w 396"/>
                  <a:gd name="T13" fmla="*/ 57 h 67"/>
                  <a:gd name="T14" fmla="*/ 5 w 396"/>
                  <a:gd name="T15" fmla="*/ 52 h 67"/>
                  <a:gd name="T16" fmla="*/ 2 w 396"/>
                  <a:gd name="T17" fmla="*/ 47 h 67"/>
                  <a:gd name="T18" fmla="*/ 0 w 396"/>
                  <a:gd name="T19" fmla="*/ 41 h 67"/>
                  <a:gd name="T20" fmla="*/ 0 w 396"/>
                  <a:gd name="T21" fmla="*/ 34 h 67"/>
                  <a:gd name="T22" fmla="*/ 0 w 396"/>
                  <a:gd name="T23" fmla="*/ 34 h 67"/>
                  <a:gd name="T24" fmla="*/ 0 w 396"/>
                  <a:gd name="T25" fmla="*/ 27 h 67"/>
                  <a:gd name="T26" fmla="*/ 2 w 396"/>
                  <a:gd name="T27" fmla="*/ 21 h 67"/>
                  <a:gd name="T28" fmla="*/ 5 w 396"/>
                  <a:gd name="T29" fmla="*/ 15 h 67"/>
                  <a:gd name="T30" fmla="*/ 9 w 396"/>
                  <a:gd name="T31" fmla="*/ 11 h 67"/>
                  <a:gd name="T32" fmla="*/ 14 w 396"/>
                  <a:gd name="T33" fmla="*/ 7 h 67"/>
                  <a:gd name="T34" fmla="*/ 19 w 396"/>
                  <a:gd name="T35" fmla="*/ 3 h 67"/>
                  <a:gd name="T36" fmla="*/ 26 w 396"/>
                  <a:gd name="T37" fmla="*/ 1 h 67"/>
                  <a:gd name="T38" fmla="*/ 33 w 396"/>
                  <a:gd name="T39" fmla="*/ 0 h 67"/>
                  <a:gd name="T40" fmla="*/ 363 w 396"/>
                  <a:gd name="T41" fmla="*/ 0 h 67"/>
                  <a:gd name="T42" fmla="*/ 363 w 396"/>
                  <a:gd name="T43" fmla="*/ 0 h 67"/>
                  <a:gd name="T44" fmla="*/ 370 w 396"/>
                  <a:gd name="T45" fmla="*/ 1 h 67"/>
                  <a:gd name="T46" fmla="*/ 376 w 396"/>
                  <a:gd name="T47" fmla="*/ 3 h 67"/>
                  <a:gd name="T48" fmla="*/ 382 w 396"/>
                  <a:gd name="T49" fmla="*/ 7 h 67"/>
                  <a:gd name="T50" fmla="*/ 387 w 396"/>
                  <a:gd name="T51" fmla="*/ 11 h 67"/>
                  <a:gd name="T52" fmla="*/ 391 w 396"/>
                  <a:gd name="T53" fmla="*/ 15 h 67"/>
                  <a:gd name="T54" fmla="*/ 394 w 396"/>
                  <a:gd name="T55" fmla="*/ 21 h 67"/>
                  <a:gd name="T56" fmla="*/ 396 w 396"/>
                  <a:gd name="T57" fmla="*/ 27 h 67"/>
                  <a:gd name="T58" fmla="*/ 396 w 396"/>
                  <a:gd name="T59" fmla="*/ 34 h 67"/>
                  <a:gd name="T60" fmla="*/ 396 w 396"/>
                  <a:gd name="T61" fmla="*/ 34 h 67"/>
                  <a:gd name="T62" fmla="*/ 396 w 396"/>
                  <a:gd name="T63" fmla="*/ 41 h 67"/>
                  <a:gd name="T64" fmla="*/ 394 w 396"/>
                  <a:gd name="T65" fmla="*/ 47 h 67"/>
                  <a:gd name="T66" fmla="*/ 391 w 396"/>
                  <a:gd name="T67" fmla="*/ 52 h 67"/>
                  <a:gd name="T68" fmla="*/ 387 w 396"/>
                  <a:gd name="T69" fmla="*/ 57 h 67"/>
                  <a:gd name="T70" fmla="*/ 382 w 396"/>
                  <a:gd name="T71" fmla="*/ 61 h 67"/>
                  <a:gd name="T72" fmla="*/ 376 w 396"/>
                  <a:gd name="T73" fmla="*/ 65 h 67"/>
                  <a:gd name="T74" fmla="*/ 370 w 396"/>
                  <a:gd name="T75" fmla="*/ 67 h 67"/>
                  <a:gd name="T76" fmla="*/ 363 w 396"/>
                  <a:gd name="T77" fmla="*/ 67 h 67"/>
                  <a:gd name="T78" fmla="*/ 363 w 396"/>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7">
                    <a:moveTo>
                      <a:pt x="363" y="67"/>
                    </a:moveTo>
                    <a:lnTo>
                      <a:pt x="33" y="67"/>
                    </a:lnTo>
                    <a:lnTo>
                      <a:pt x="33" y="67"/>
                    </a:lnTo>
                    <a:lnTo>
                      <a:pt x="26" y="67"/>
                    </a:lnTo>
                    <a:lnTo>
                      <a:pt x="19" y="65"/>
                    </a:lnTo>
                    <a:lnTo>
                      <a:pt x="14" y="61"/>
                    </a:lnTo>
                    <a:lnTo>
                      <a:pt x="9" y="57"/>
                    </a:lnTo>
                    <a:lnTo>
                      <a:pt x="5" y="52"/>
                    </a:lnTo>
                    <a:lnTo>
                      <a:pt x="2" y="47"/>
                    </a:lnTo>
                    <a:lnTo>
                      <a:pt x="0" y="41"/>
                    </a:lnTo>
                    <a:lnTo>
                      <a:pt x="0" y="34"/>
                    </a:lnTo>
                    <a:lnTo>
                      <a:pt x="0" y="34"/>
                    </a:lnTo>
                    <a:lnTo>
                      <a:pt x="0" y="27"/>
                    </a:lnTo>
                    <a:lnTo>
                      <a:pt x="2" y="21"/>
                    </a:lnTo>
                    <a:lnTo>
                      <a:pt x="5" y="15"/>
                    </a:lnTo>
                    <a:lnTo>
                      <a:pt x="9" y="11"/>
                    </a:lnTo>
                    <a:lnTo>
                      <a:pt x="14" y="7"/>
                    </a:lnTo>
                    <a:lnTo>
                      <a:pt x="19" y="3"/>
                    </a:lnTo>
                    <a:lnTo>
                      <a:pt x="26" y="1"/>
                    </a:lnTo>
                    <a:lnTo>
                      <a:pt x="33" y="0"/>
                    </a:lnTo>
                    <a:lnTo>
                      <a:pt x="363" y="0"/>
                    </a:lnTo>
                    <a:lnTo>
                      <a:pt x="363" y="0"/>
                    </a:lnTo>
                    <a:lnTo>
                      <a:pt x="370" y="1"/>
                    </a:lnTo>
                    <a:lnTo>
                      <a:pt x="376" y="3"/>
                    </a:lnTo>
                    <a:lnTo>
                      <a:pt x="382" y="7"/>
                    </a:lnTo>
                    <a:lnTo>
                      <a:pt x="387" y="11"/>
                    </a:lnTo>
                    <a:lnTo>
                      <a:pt x="391" y="15"/>
                    </a:lnTo>
                    <a:lnTo>
                      <a:pt x="394" y="21"/>
                    </a:lnTo>
                    <a:lnTo>
                      <a:pt x="396" y="27"/>
                    </a:lnTo>
                    <a:lnTo>
                      <a:pt x="396" y="34"/>
                    </a:lnTo>
                    <a:lnTo>
                      <a:pt x="396" y="34"/>
                    </a:lnTo>
                    <a:lnTo>
                      <a:pt x="396" y="41"/>
                    </a:lnTo>
                    <a:lnTo>
                      <a:pt x="394" y="47"/>
                    </a:lnTo>
                    <a:lnTo>
                      <a:pt x="391" y="52"/>
                    </a:lnTo>
                    <a:lnTo>
                      <a:pt x="387" y="57"/>
                    </a:lnTo>
                    <a:lnTo>
                      <a:pt x="382" y="61"/>
                    </a:lnTo>
                    <a:lnTo>
                      <a:pt x="376" y="65"/>
                    </a:lnTo>
                    <a:lnTo>
                      <a:pt x="370" y="67"/>
                    </a:lnTo>
                    <a:lnTo>
                      <a:pt x="363" y="67"/>
                    </a:lnTo>
                    <a:lnTo>
                      <a:pt x="36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46" name="Freeform 102">
                <a:extLst>
                  <a:ext uri="{FF2B5EF4-FFF2-40B4-BE49-F238E27FC236}">
                    <a16:creationId xmlns:a16="http://schemas.microsoft.com/office/drawing/2014/main" id="{902EBD61-29E2-01F2-5AEA-53F2D3E0F0A5}"/>
                  </a:ext>
                </a:extLst>
              </p:cNvPr>
              <p:cNvSpPr>
                <a:spLocks/>
              </p:cNvSpPr>
              <p:nvPr/>
            </p:nvSpPr>
            <p:spPr bwMode="auto">
              <a:xfrm>
                <a:off x="9231313" y="2393950"/>
                <a:ext cx="58738" cy="14288"/>
              </a:xfrm>
              <a:custGeom>
                <a:avLst/>
                <a:gdLst>
                  <a:gd name="T0" fmla="*/ 230 w 264"/>
                  <a:gd name="T1" fmla="*/ 66 h 66"/>
                  <a:gd name="T2" fmla="*/ 33 w 264"/>
                  <a:gd name="T3" fmla="*/ 66 h 66"/>
                  <a:gd name="T4" fmla="*/ 33 w 264"/>
                  <a:gd name="T5" fmla="*/ 66 h 66"/>
                  <a:gd name="T6" fmla="*/ 26 w 264"/>
                  <a:gd name="T7" fmla="*/ 65 h 66"/>
                  <a:gd name="T8" fmla="*/ 19 w 264"/>
                  <a:gd name="T9" fmla="*/ 64 h 66"/>
                  <a:gd name="T10" fmla="*/ 14 w 264"/>
                  <a:gd name="T11" fmla="*/ 61 h 66"/>
                  <a:gd name="T12" fmla="*/ 9 w 264"/>
                  <a:gd name="T13" fmla="*/ 57 h 66"/>
                  <a:gd name="T14" fmla="*/ 5 w 264"/>
                  <a:gd name="T15" fmla="*/ 52 h 66"/>
                  <a:gd name="T16" fmla="*/ 2 w 264"/>
                  <a:gd name="T17" fmla="*/ 47 h 66"/>
                  <a:gd name="T18" fmla="*/ 0 w 264"/>
                  <a:gd name="T19" fmla="*/ 40 h 66"/>
                  <a:gd name="T20" fmla="*/ 0 w 264"/>
                  <a:gd name="T21" fmla="*/ 33 h 66"/>
                  <a:gd name="T22" fmla="*/ 0 w 264"/>
                  <a:gd name="T23" fmla="*/ 33 h 66"/>
                  <a:gd name="T24" fmla="*/ 0 w 264"/>
                  <a:gd name="T25" fmla="*/ 27 h 66"/>
                  <a:gd name="T26" fmla="*/ 2 w 264"/>
                  <a:gd name="T27" fmla="*/ 21 h 66"/>
                  <a:gd name="T28" fmla="*/ 5 w 264"/>
                  <a:gd name="T29" fmla="*/ 14 h 66"/>
                  <a:gd name="T30" fmla="*/ 9 w 264"/>
                  <a:gd name="T31" fmla="*/ 9 h 66"/>
                  <a:gd name="T32" fmla="*/ 14 w 264"/>
                  <a:gd name="T33" fmla="*/ 6 h 66"/>
                  <a:gd name="T34" fmla="*/ 19 w 264"/>
                  <a:gd name="T35" fmla="*/ 3 h 66"/>
                  <a:gd name="T36" fmla="*/ 26 w 264"/>
                  <a:gd name="T37" fmla="*/ 1 h 66"/>
                  <a:gd name="T38" fmla="*/ 33 w 264"/>
                  <a:gd name="T39" fmla="*/ 0 h 66"/>
                  <a:gd name="T40" fmla="*/ 230 w 264"/>
                  <a:gd name="T41" fmla="*/ 0 h 66"/>
                  <a:gd name="T42" fmla="*/ 230 w 264"/>
                  <a:gd name="T43" fmla="*/ 0 h 66"/>
                  <a:gd name="T44" fmla="*/ 238 w 264"/>
                  <a:gd name="T45" fmla="*/ 1 h 66"/>
                  <a:gd name="T46" fmla="*/ 244 w 264"/>
                  <a:gd name="T47" fmla="*/ 3 h 66"/>
                  <a:gd name="T48" fmla="*/ 249 w 264"/>
                  <a:gd name="T49" fmla="*/ 6 h 66"/>
                  <a:gd name="T50" fmla="*/ 254 w 264"/>
                  <a:gd name="T51" fmla="*/ 9 h 66"/>
                  <a:gd name="T52" fmla="*/ 258 w 264"/>
                  <a:gd name="T53" fmla="*/ 14 h 66"/>
                  <a:gd name="T54" fmla="*/ 261 w 264"/>
                  <a:gd name="T55" fmla="*/ 21 h 66"/>
                  <a:gd name="T56" fmla="*/ 264 w 264"/>
                  <a:gd name="T57" fmla="*/ 27 h 66"/>
                  <a:gd name="T58" fmla="*/ 264 w 264"/>
                  <a:gd name="T59" fmla="*/ 33 h 66"/>
                  <a:gd name="T60" fmla="*/ 264 w 264"/>
                  <a:gd name="T61" fmla="*/ 33 h 66"/>
                  <a:gd name="T62" fmla="*/ 264 w 264"/>
                  <a:gd name="T63" fmla="*/ 40 h 66"/>
                  <a:gd name="T64" fmla="*/ 261 w 264"/>
                  <a:gd name="T65" fmla="*/ 47 h 66"/>
                  <a:gd name="T66" fmla="*/ 258 w 264"/>
                  <a:gd name="T67" fmla="*/ 52 h 66"/>
                  <a:gd name="T68" fmla="*/ 254 w 264"/>
                  <a:gd name="T69" fmla="*/ 57 h 66"/>
                  <a:gd name="T70" fmla="*/ 249 w 264"/>
                  <a:gd name="T71" fmla="*/ 61 h 66"/>
                  <a:gd name="T72" fmla="*/ 244 w 264"/>
                  <a:gd name="T73" fmla="*/ 64 h 66"/>
                  <a:gd name="T74" fmla="*/ 238 w 264"/>
                  <a:gd name="T75" fmla="*/ 65 h 66"/>
                  <a:gd name="T76" fmla="*/ 230 w 264"/>
                  <a:gd name="T77" fmla="*/ 66 h 66"/>
                  <a:gd name="T78" fmla="*/ 230 w 264"/>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4" h="66">
                    <a:moveTo>
                      <a:pt x="230" y="66"/>
                    </a:moveTo>
                    <a:lnTo>
                      <a:pt x="33" y="66"/>
                    </a:lnTo>
                    <a:lnTo>
                      <a:pt x="33" y="66"/>
                    </a:lnTo>
                    <a:lnTo>
                      <a:pt x="26" y="65"/>
                    </a:lnTo>
                    <a:lnTo>
                      <a:pt x="19" y="64"/>
                    </a:lnTo>
                    <a:lnTo>
                      <a:pt x="14" y="61"/>
                    </a:lnTo>
                    <a:lnTo>
                      <a:pt x="9" y="57"/>
                    </a:lnTo>
                    <a:lnTo>
                      <a:pt x="5" y="52"/>
                    </a:lnTo>
                    <a:lnTo>
                      <a:pt x="2" y="47"/>
                    </a:lnTo>
                    <a:lnTo>
                      <a:pt x="0" y="40"/>
                    </a:lnTo>
                    <a:lnTo>
                      <a:pt x="0" y="33"/>
                    </a:lnTo>
                    <a:lnTo>
                      <a:pt x="0" y="33"/>
                    </a:lnTo>
                    <a:lnTo>
                      <a:pt x="0" y="27"/>
                    </a:lnTo>
                    <a:lnTo>
                      <a:pt x="2" y="21"/>
                    </a:lnTo>
                    <a:lnTo>
                      <a:pt x="5" y="14"/>
                    </a:lnTo>
                    <a:lnTo>
                      <a:pt x="9" y="9"/>
                    </a:lnTo>
                    <a:lnTo>
                      <a:pt x="14" y="6"/>
                    </a:lnTo>
                    <a:lnTo>
                      <a:pt x="19" y="3"/>
                    </a:lnTo>
                    <a:lnTo>
                      <a:pt x="26" y="1"/>
                    </a:lnTo>
                    <a:lnTo>
                      <a:pt x="33" y="0"/>
                    </a:lnTo>
                    <a:lnTo>
                      <a:pt x="230" y="0"/>
                    </a:lnTo>
                    <a:lnTo>
                      <a:pt x="230" y="0"/>
                    </a:lnTo>
                    <a:lnTo>
                      <a:pt x="238" y="1"/>
                    </a:lnTo>
                    <a:lnTo>
                      <a:pt x="244" y="3"/>
                    </a:lnTo>
                    <a:lnTo>
                      <a:pt x="249" y="6"/>
                    </a:lnTo>
                    <a:lnTo>
                      <a:pt x="254" y="9"/>
                    </a:lnTo>
                    <a:lnTo>
                      <a:pt x="258" y="14"/>
                    </a:lnTo>
                    <a:lnTo>
                      <a:pt x="261" y="21"/>
                    </a:lnTo>
                    <a:lnTo>
                      <a:pt x="264" y="27"/>
                    </a:lnTo>
                    <a:lnTo>
                      <a:pt x="264" y="33"/>
                    </a:lnTo>
                    <a:lnTo>
                      <a:pt x="264" y="33"/>
                    </a:lnTo>
                    <a:lnTo>
                      <a:pt x="264" y="40"/>
                    </a:lnTo>
                    <a:lnTo>
                      <a:pt x="261" y="47"/>
                    </a:lnTo>
                    <a:lnTo>
                      <a:pt x="258" y="52"/>
                    </a:lnTo>
                    <a:lnTo>
                      <a:pt x="254" y="57"/>
                    </a:lnTo>
                    <a:lnTo>
                      <a:pt x="249" y="61"/>
                    </a:lnTo>
                    <a:lnTo>
                      <a:pt x="244" y="64"/>
                    </a:lnTo>
                    <a:lnTo>
                      <a:pt x="238" y="65"/>
                    </a:lnTo>
                    <a:lnTo>
                      <a:pt x="230" y="66"/>
                    </a:lnTo>
                    <a:lnTo>
                      <a:pt x="23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14" name="Group 13">
              <a:extLst>
                <a:ext uri="{FF2B5EF4-FFF2-40B4-BE49-F238E27FC236}">
                  <a16:creationId xmlns:a16="http://schemas.microsoft.com/office/drawing/2014/main" id="{ACDFA615-9336-D93D-3CA2-1BA0006DD58C}"/>
                </a:ext>
              </a:extLst>
            </p:cNvPr>
            <p:cNvGrpSpPr/>
            <p:nvPr/>
          </p:nvGrpSpPr>
          <p:grpSpPr>
            <a:xfrm>
              <a:off x="10909687" y="4239263"/>
              <a:ext cx="219067" cy="255980"/>
              <a:chOff x="1978819" y="2796777"/>
              <a:chExt cx="360363" cy="421086"/>
            </a:xfrm>
            <a:solidFill>
              <a:schemeClr val="bg1"/>
            </a:solidFill>
          </p:grpSpPr>
          <p:grpSp>
            <p:nvGrpSpPr>
              <p:cNvPr id="33" name="Group 32">
                <a:extLst>
                  <a:ext uri="{FF2B5EF4-FFF2-40B4-BE49-F238E27FC236}">
                    <a16:creationId xmlns:a16="http://schemas.microsoft.com/office/drawing/2014/main" id="{EE85EE3A-AB4A-EB1C-4D4A-724015639DAB}"/>
                  </a:ext>
                </a:extLst>
              </p:cNvPr>
              <p:cNvGrpSpPr/>
              <p:nvPr/>
            </p:nvGrpSpPr>
            <p:grpSpPr>
              <a:xfrm>
                <a:off x="1978819" y="3070225"/>
                <a:ext cx="360363" cy="147638"/>
                <a:chOff x="1978819" y="3070225"/>
                <a:chExt cx="360363" cy="147638"/>
              </a:xfrm>
              <a:grpFill/>
            </p:grpSpPr>
            <p:sp>
              <p:nvSpPr>
                <p:cNvPr id="37" name="Freeform 112">
                  <a:extLst>
                    <a:ext uri="{FF2B5EF4-FFF2-40B4-BE49-F238E27FC236}">
                      <a16:creationId xmlns:a16="http://schemas.microsoft.com/office/drawing/2014/main" id="{46C94371-6C56-6AC9-16F2-3F02AC84BA46}"/>
                    </a:ext>
                  </a:extLst>
                </p:cNvPr>
                <p:cNvSpPr>
                  <a:spLocks noEditPoints="1"/>
                </p:cNvSpPr>
                <p:nvPr/>
              </p:nvSpPr>
              <p:spPr bwMode="auto">
                <a:xfrm flipH="1">
                  <a:off x="1978819" y="3070225"/>
                  <a:ext cx="76200" cy="134938"/>
                </a:xfrm>
                <a:custGeom>
                  <a:avLst/>
                  <a:gdLst>
                    <a:gd name="T0" fmla="*/ 298 w 331"/>
                    <a:gd name="T1" fmla="*/ 595 h 595"/>
                    <a:gd name="T2" fmla="*/ 33 w 331"/>
                    <a:gd name="T3" fmla="*/ 595 h 595"/>
                    <a:gd name="T4" fmla="*/ 33 w 331"/>
                    <a:gd name="T5" fmla="*/ 595 h 595"/>
                    <a:gd name="T6" fmla="*/ 27 w 331"/>
                    <a:gd name="T7" fmla="*/ 594 h 595"/>
                    <a:gd name="T8" fmla="*/ 21 w 331"/>
                    <a:gd name="T9" fmla="*/ 593 h 595"/>
                    <a:gd name="T10" fmla="*/ 15 w 331"/>
                    <a:gd name="T11" fmla="*/ 590 h 595"/>
                    <a:gd name="T12" fmla="*/ 10 w 331"/>
                    <a:gd name="T13" fmla="*/ 586 h 595"/>
                    <a:gd name="T14" fmla="*/ 6 w 331"/>
                    <a:gd name="T15" fmla="*/ 581 h 595"/>
                    <a:gd name="T16" fmla="*/ 3 w 331"/>
                    <a:gd name="T17" fmla="*/ 576 h 595"/>
                    <a:gd name="T18" fmla="*/ 1 w 331"/>
                    <a:gd name="T19" fmla="*/ 569 h 595"/>
                    <a:gd name="T20" fmla="*/ 0 w 331"/>
                    <a:gd name="T21" fmla="*/ 562 h 595"/>
                    <a:gd name="T22" fmla="*/ 0 w 331"/>
                    <a:gd name="T23" fmla="*/ 33 h 595"/>
                    <a:gd name="T24" fmla="*/ 0 w 331"/>
                    <a:gd name="T25" fmla="*/ 33 h 595"/>
                    <a:gd name="T26" fmla="*/ 1 w 331"/>
                    <a:gd name="T27" fmla="*/ 26 h 595"/>
                    <a:gd name="T28" fmla="*/ 3 w 331"/>
                    <a:gd name="T29" fmla="*/ 20 h 595"/>
                    <a:gd name="T30" fmla="*/ 6 w 331"/>
                    <a:gd name="T31" fmla="*/ 15 h 595"/>
                    <a:gd name="T32" fmla="*/ 10 w 331"/>
                    <a:gd name="T33" fmla="*/ 9 h 595"/>
                    <a:gd name="T34" fmla="*/ 15 w 331"/>
                    <a:gd name="T35" fmla="*/ 5 h 595"/>
                    <a:gd name="T36" fmla="*/ 21 w 331"/>
                    <a:gd name="T37" fmla="*/ 2 h 595"/>
                    <a:gd name="T38" fmla="*/ 27 w 331"/>
                    <a:gd name="T39" fmla="*/ 1 h 595"/>
                    <a:gd name="T40" fmla="*/ 33 w 331"/>
                    <a:gd name="T41" fmla="*/ 0 h 595"/>
                    <a:gd name="T42" fmla="*/ 298 w 331"/>
                    <a:gd name="T43" fmla="*/ 0 h 595"/>
                    <a:gd name="T44" fmla="*/ 298 w 331"/>
                    <a:gd name="T45" fmla="*/ 0 h 595"/>
                    <a:gd name="T46" fmla="*/ 305 w 331"/>
                    <a:gd name="T47" fmla="*/ 1 h 595"/>
                    <a:gd name="T48" fmla="*/ 311 w 331"/>
                    <a:gd name="T49" fmla="*/ 2 h 595"/>
                    <a:gd name="T50" fmla="*/ 316 w 331"/>
                    <a:gd name="T51" fmla="*/ 5 h 595"/>
                    <a:gd name="T52" fmla="*/ 321 w 331"/>
                    <a:gd name="T53" fmla="*/ 9 h 595"/>
                    <a:gd name="T54" fmla="*/ 325 w 331"/>
                    <a:gd name="T55" fmla="*/ 15 h 595"/>
                    <a:gd name="T56" fmla="*/ 328 w 331"/>
                    <a:gd name="T57" fmla="*/ 20 h 595"/>
                    <a:gd name="T58" fmla="*/ 330 w 331"/>
                    <a:gd name="T59" fmla="*/ 26 h 595"/>
                    <a:gd name="T60" fmla="*/ 331 w 331"/>
                    <a:gd name="T61" fmla="*/ 33 h 595"/>
                    <a:gd name="T62" fmla="*/ 331 w 331"/>
                    <a:gd name="T63" fmla="*/ 562 h 595"/>
                    <a:gd name="T64" fmla="*/ 331 w 331"/>
                    <a:gd name="T65" fmla="*/ 562 h 595"/>
                    <a:gd name="T66" fmla="*/ 330 w 331"/>
                    <a:gd name="T67" fmla="*/ 569 h 595"/>
                    <a:gd name="T68" fmla="*/ 328 w 331"/>
                    <a:gd name="T69" fmla="*/ 576 h 595"/>
                    <a:gd name="T70" fmla="*/ 325 w 331"/>
                    <a:gd name="T71" fmla="*/ 581 h 595"/>
                    <a:gd name="T72" fmla="*/ 321 w 331"/>
                    <a:gd name="T73" fmla="*/ 586 h 595"/>
                    <a:gd name="T74" fmla="*/ 316 w 331"/>
                    <a:gd name="T75" fmla="*/ 590 h 595"/>
                    <a:gd name="T76" fmla="*/ 311 w 331"/>
                    <a:gd name="T77" fmla="*/ 593 h 595"/>
                    <a:gd name="T78" fmla="*/ 305 w 331"/>
                    <a:gd name="T79" fmla="*/ 594 h 595"/>
                    <a:gd name="T80" fmla="*/ 298 w 331"/>
                    <a:gd name="T81" fmla="*/ 595 h 595"/>
                    <a:gd name="T82" fmla="*/ 298 w 331"/>
                    <a:gd name="T83" fmla="*/ 595 h 595"/>
                    <a:gd name="T84" fmla="*/ 67 w 331"/>
                    <a:gd name="T85" fmla="*/ 529 h 595"/>
                    <a:gd name="T86" fmla="*/ 265 w 331"/>
                    <a:gd name="T87" fmla="*/ 529 h 595"/>
                    <a:gd name="T88" fmla="*/ 265 w 331"/>
                    <a:gd name="T89" fmla="*/ 66 h 595"/>
                    <a:gd name="T90" fmla="*/ 67 w 331"/>
                    <a:gd name="T91" fmla="*/ 66 h 595"/>
                    <a:gd name="T92" fmla="*/ 67 w 331"/>
                    <a:gd name="T93" fmla="*/ 529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1" h="595">
                      <a:moveTo>
                        <a:pt x="298" y="595"/>
                      </a:moveTo>
                      <a:lnTo>
                        <a:pt x="33" y="595"/>
                      </a:lnTo>
                      <a:lnTo>
                        <a:pt x="33" y="595"/>
                      </a:lnTo>
                      <a:lnTo>
                        <a:pt x="27" y="594"/>
                      </a:lnTo>
                      <a:lnTo>
                        <a:pt x="21" y="593"/>
                      </a:lnTo>
                      <a:lnTo>
                        <a:pt x="15" y="590"/>
                      </a:lnTo>
                      <a:lnTo>
                        <a:pt x="10" y="586"/>
                      </a:lnTo>
                      <a:lnTo>
                        <a:pt x="6" y="581"/>
                      </a:lnTo>
                      <a:lnTo>
                        <a:pt x="3" y="576"/>
                      </a:lnTo>
                      <a:lnTo>
                        <a:pt x="1" y="569"/>
                      </a:lnTo>
                      <a:lnTo>
                        <a:pt x="0" y="562"/>
                      </a:lnTo>
                      <a:lnTo>
                        <a:pt x="0" y="33"/>
                      </a:lnTo>
                      <a:lnTo>
                        <a:pt x="0" y="33"/>
                      </a:lnTo>
                      <a:lnTo>
                        <a:pt x="1" y="26"/>
                      </a:lnTo>
                      <a:lnTo>
                        <a:pt x="3" y="20"/>
                      </a:lnTo>
                      <a:lnTo>
                        <a:pt x="6" y="15"/>
                      </a:lnTo>
                      <a:lnTo>
                        <a:pt x="10" y="9"/>
                      </a:lnTo>
                      <a:lnTo>
                        <a:pt x="15" y="5"/>
                      </a:lnTo>
                      <a:lnTo>
                        <a:pt x="21" y="2"/>
                      </a:lnTo>
                      <a:lnTo>
                        <a:pt x="27" y="1"/>
                      </a:lnTo>
                      <a:lnTo>
                        <a:pt x="33" y="0"/>
                      </a:lnTo>
                      <a:lnTo>
                        <a:pt x="298" y="0"/>
                      </a:lnTo>
                      <a:lnTo>
                        <a:pt x="298" y="0"/>
                      </a:lnTo>
                      <a:lnTo>
                        <a:pt x="305" y="1"/>
                      </a:lnTo>
                      <a:lnTo>
                        <a:pt x="311" y="2"/>
                      </a:lnTo>
                      <a:lnTo>
                        <a:pt x="316" y="5"/>
                      </a:lnTo>
                      <a:lnTo>
                        <a:pt x="321" y="9"/>
                      </a:lnTo>
                      <a:lnTo>
                        <a:pt x="325" y="15"/>
                      </a:lnTo>
                      <a:lnTo>
                        <a:pt x="328" y="20"/>
                      </a:lnTo>
                      <a:lnTo>
                        <a:pt x="330" y="26"/>
                      </a:lnTo>
                      <a:lnTo>
                        <a:pt x="331" y="33"/>
                      </a:lnTo>
                      <a:lnTo>
                        <a:pt x="331" y="562"/>
                      </a:lnTo>
                      <a:lnTo>
                        <a:pt x="331" y="562"/>
                      </a:lnTo>
                      <a:lnTo>
                        <a:pt x="330" y="569"/>
                      </a:lnTo>
                      <a:lnTo>
                        <a:pt x="328" y="576"/>
                      </a:lnTo>
                      <a:lnTo>
                        <a:pt x="325" y="581"/>
                      </a:lnTo>
                      <a:lnTo>
                        <a:pt x="321" y="586"/>
                      </a:lnTo>
                      <a:lnTo>
                        <a:pt x="316" y="590"/>
                      </a:lnTo>
                      <a:lnTo>
                        <a:pt x="311" y="593"/>
                      </a:lnTo>
                      <a:lnTo>
                        <a:pt x="305" y="594"/>
                      </a:lnTo>
                      <a:lnTo>
                        <a:pt x="298" y="595"/>
                      </a:lnTo>
                      <a:lnTo>
                        <a:pt x="298" y="595"/>
                      </a:lnTo>
                      <a:close/>
                      <a:moveTo>
                        <a:pt x="67" y="529"/>
                      </a:moveTo>
                      <a:lnTo>
                        <a:pt x="265" y="529"/>
                      </a:lnTo>
                      <a:lnTo>
                        <a:pt x="265" y="66"/>
                      </a:lnTo>
                      <a:lnTo>
                        <a:pt x="67" y="66"/>
                      </a:lnTo>
                      <a:lnTo>
                        <a:pt x="67" y="5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8" name="Freeform 113">
                  <a:extLst>
                    <a:ext uri="{FF2B5EF4-FFF2-40B4-BE49-F238E27FC236}">
                      <a16:creationId xmlns:a16="http://schemas.microsoft.com/office/drawing/2014/main" id="{E3665CC7-F4FE-66C5-D8D5-508A4EAAF1A7}"/>
                    </a:ext>
                  </a:extLst>
                </p:cNvPr>
                <p:cNvSpPr>
                  <a:spLocks/>
                </p:cNvSpPr>
                <p:nvPr/>
              </p:nvSpPr>
              <p:spPr bwMode="auto">
                <a:xfrm flipH="1">
                  <a:off x="2039144" y="3113088"/>
                  <a:ext cx="300038" cy="104775"/>
                </a:xfrm>
                <a:custGeom>
                  <a:avLst/>
                  <a:gdLst>
                    <a:gd name="T0" fmla="*/ 729 w 1323"/>
                    <a:gd name="T1" fmla="*/ 462 h 462"/>
                    <a:gd name="T2" fmla="*/ 669 w 1323"/>
                    <a:gd name="T3" fmla="*/ 453 h 462"/>
                    <a:gd name="T4" fmla="*/ 605 w 1323"/>
                    <a:gd name="T5" fmla="*/ 433 h 462"/>
                    <a:gd name="T6" fmla="*/ 533 w 1323"/>
                    <a:gd name="T7" fmla="*/ 402 h 462"/>
                    <a:gd name="T8" fmla="*/ 343 w 1323"/>
                    <a:gd name="T9" fmla="*/ 305 h 462"/>
                    <a:gd name="T10" fmla="*/ 114 w 1323"/>
                    <a:gd name="T11" fmla="*/ 185 h 462"/>
                    <a:gd name="T12" fmla="*/ 11 w 1323"/>
                    <a:gd name="T13" fmla="*/ 132 h 462"/>
                    <a:gd name="T14" fmla="*/ 0 w 1323"/>
                    <a:gd name="T15" fmla="*/ 113 h 462"/>
                    <a:gd name="T16" fmla="*/ 1 w 1323"/>
                    <a:gd name="T17" fmla="*/ 97 h 462"/>
                    <a:gd name="T18" fmla="*/ 9 w 1323"/>
                    <a:gd name="T19" fmla="*/ 84 h 462"/>
                    <a:gd name="T20" fmla="*/ 53 w 1323"/>
                    <a:gd name="T21" fmla="*/ 45 h 462"/>
                    <a:gd name="T22" fmla="*/ 94 w 1323"/>
                    <a:gd name="T23" fmla="*/ 19 h 462"/>
                    <a:gd name="T24" fmla="*/ 136 w 1323"/>
                    <a:gd name="T25" fmla="*/ 4 h 462"/>
                    <a:gd name="T26" fmla="*/ 179 w 1323"/>
                    <a:gd name="T27" fmla="*/ 0 h 462"/>
                    <a:gd name="T28" fmla="*/ 225 w 1323"/>
                    <a:gd name="T29" fmla="*/ 5 h 462"/>
                    <a:gd name="T30" fmla="*/ 527 w 1323"/>
                    <a:gd name="T31" fmla="*/ 100 h 462"/>
                    <a:gd name="T32" fmla="*/ 542 w 1323"/>
                    <a:gd name="T33" fmla="*/ 110 h 462"/>
                    <a:gd name="T34" fmla="*/ 550 w 1323"/>
                    <a:gd name="T35" fmla="*/ 128 h 462"/>
                    <a:gd name="T36" fmla="*/ 548 w 1323"/>
                    <a:gd name="T37" fmla="*/ 142 h 462"/>
                    <a:gd name="T38" fmla="*/ 537 w 1323"/>
                    <a:gd name="T39" fmla="*/ 157 h 462"/>
                    <a:gd name="T40" fmla="*/ 520 w 1323"/>
                    <a:gd name="T41" fmla="*/ 164 h 462"/>
                    <a:gd name="T42" fmla="*/ 221 w 1323"/>
                    <a:gd name="T43" fmla="*/ 72 h 462"/>
                    <a:gd name="T44" fmla="*/ 189 w 1323"/>
                    <a:gd name="T45" fmla="*/ 66 h 462"/>
                    <a:gd name="T46" fmla="*/ 143 w 1323"/>
                    <a:gd name="T47" fmla="*/ 70 h 462"/>
                    <a:gd name="T48" fmla="*/ 91 w 1323"/>
                    <a:gd name="T49" fmla="*/ 99 h 462"/>
                    <a:gd name="T50" fmla="*/ 247 w 1323"/>
                    <a:gd name="T51" fmla="*/ 180 h 462"/>
                    <a:gd name="T52" fmla="*/ 491 w 1323"/>
                    <a:gd name="T53" fmla="*/ 308 h 462"/>
                    <a:gd name="T54" fmla="*/ 621 w 1323"/>
                    <a:gd name="T55" fmla="*/ 368 h 462"/>
                    <a:gd name="T56" fmla="*/ 675 w 1323"/>
                    <a:gd name="T57" fmla="*/ 385 h 462"/>
                    <a:gd name="T58" fmla="*/ 725 w 1323"/>
                    <a:gd name="T59" fmla="*/ 394 h 462"/>
                    <a:gd name="T60" fmla="*/ 776 w 1323"/>
                    <a:gd name="T61" fmla="*/ 394 h 462"/>
                    <a:gd name="T62" fmla="*/ 831 w 1323"/>
                    <a:gd name="T63" fmla="*/ 386 h 462"/>
                    <a:gd name="T64" fmla="*/ 966 w 1323"/>
                    <a:gd name="T65" fmla="*/ 349 h 462"/>
                    <a:gd name="T66" fmla="*/ 1176 w 1323"/>
                    <a:gd name="T67" fmla="*/ 276 h 462"/>
                    <a:gd name="T68" fmla="*/ 1285 w 1323"/>
                    <a:gd name="T69" fmla="*/ 240 h 462"/>
                    <a:gd name="T70" fmla="*/ 1304 w 1323"/>
                    <a:gd name="T71" fmla="*/ 243 h 462"/>
                    <a:gd name="T72" fmla="*/ 1318 w 1323"/>
                    <a:gd name="T73" fmla="*/ 255 h 462"/>
                    <a:gd name="T74" fmla="*/ 1323 w 1323"/>
                    <a:gd name="T75" fmla="*/ 268 h 462"/>
                    <a:gd name="T76" fmla="*/ 1319 w 1323"/>
                    <a:gd name="T77" fmla="*/ 288 h 462"/>
                    <a:gd name="T78" fmla="*/ 1306 w 1323"/>
                    <a:gd name="T79" fmla="*/ 301 h 462"/>
                    <a:gd name="T80" fmla="*/ 1196 w 1323"/>
                    <a:gd name="T81" fmla="*/ 338 h 462"/>
                    <a:gd name="T82" fmla="*/ 990 w 1323"/>
                    <a:gd name="T83" fmla="*/ 410 h 462"/>
                    <a:gd name="T84" fmla="*/ 855 w 1323"/>
                    <a:gd name="T85" fmla="*/ 449 h 462"/>
                    <a:gd name="T86" fmla="*/ 782 w 1323"/>
                    <a:gd name="T87" fmla="*/ 461 h 462"/>
                    <a:gd name="T88" fmla="*/ 749 w 1323"/>
                    <a:gd name="T89" fmla="*/ 46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3" h="462">
                      <a:moveTo>
                        <a:pt x="749" y="462"/>
                      </a:moveTo>
                      <a:lnTo>
                        <a:pt x="749" y="462"/>
                      </a:lnTo>
                      <a:lnTo>
                        <a:pt x="729" y="462"/>
                      </a:lnTo>
                      <a:lnTo>
                        <a:pt x="709" y="460"/>
                      </a:lnTo>
                      <a:lnTo>
                        <a:pt x="689" y="457"/>
                      </a:lnTo>
                      <a:lnTo>
                        <a:pt x="669" y="453"/>
                      </a:lnTo>
                      <a:lnTo>
                        <a:pt x="648" y="448"/>
                      </a:lnTo>
                      <a:lnTo>
                        <a:pt x="627" y="442"/>
                      </a:lnTo>
                      <a:lnTo>
                        <a:pt x="605" y="433"/>
                      </a:lnTo>
                      <a:lnTo>
                        <a:pt x="583" y="424"/>
                      </a:lnTo>
                      <a:lnTo>
                        <a:pt x="558" y="415"/>
                      </a:lnTo>
                      <a:lnTo>
                        <a:pt x="533" y="402"/>
                      </a:lnTo>
                      <a:lnTo>
                        <a:pt x="477" y="376"/>
                      </a:lnTo>
                      <a:lnTo>
                        <a:pt x="415" y="343"/>
                      </a:lnTo>
                      <a:lnTo>
                        <a:pt x="343" y="305"/>
                      </a:lnTo>
                      <a:lnTo>
                        <a:pt x="343" y="305"/>
                      </a:lnTo>
                      <a:lnTo>
                        <a:pt x="199" y="230"/>
                      </a:lnTo>
                      <a:lnTo>
                        <a:pt x="114" y="185"/>
                      </a:lnTo>
                      <a:lnTo>
                        <a:pt x="19" y="136"/>
                      </a:lnTo>
                      <a:lnTo>
                        <a:pt x="19" y="136"/>
                      </a:lnTo>
                      <a:lnTo>
                        <a:pt x="11" y="132"/>
                      </a:lnTo>
                      <a:lnTo>
                        <a:pt x="6" y="126"/>
                      </a:lnTo>
                      <a:lnTo>
                        <a:pt x="2" y="120"/>
                      </a:lnTo>
                      <a:lnTo>
                        <a:pt x="0" y="113"/>
                      </a:lnTo>
                      <a:lnTo>
                        <a:pt x="0" y="113"/>
                      </a:lnTo>
                      <a:lnTo>
                        <a:pt x="0" y="104"/>
                      </a:lnTo>
                      <a:lnTo>
                        <a:pt x="1" y="97"/>
                      </a:lnTo>
                      <a:lnTo>
                        <a:pt x="5" y="90"/>
                      </a:lnTo>
                      <a:lnTo>
                        <a:pt x="9" y="84"/>
                      </a:lnTo>
                      <a:lnTo>
                        <a:pt x="9" y="84"/>
                      </a:lnTo>
                      <a:lnTo>
                        <a:pt x="24" y="70"/>
                      </a:lnTo>
                      <a:lnTo>
                        <a:pt x="38" y="57"/>
                      </a:lnTo>
                      <a:lnTo>
                        <a:pt x="53" y="45"/>
                      </a:lnTo>
                      <a:lnTo>
                        <a:pt x="66" y="36"/>
                      </a:lnTo>
                      <a:lnTo>
                        <a:pt x="80" y="27"/>
                      </a:lnTo>
                      <a:lnTo>
                        <a:pt x="94" y="19"/>
                      </a:lnTo>
                      <a:lnTo>
                        <a:pt x="108" y="13"/>
                      </a:lnTo>
                      <a:lnTo>
                        <a:pt x="122" y="8"/>
                      </a:lnTo>
                      <a:lnTo>
                        <a:pt x="136" y="4"/>
                      </a:lnTo>
                      <a:lnTo>
                        <a:pt x="150" y="1"/>
                      </a:lnTo>
                      <a:lnTo>
                        <a:pt x="165" y="0"/>
                      </a:lnTo>
                      <a:lnTo>
                        <a:pt x="179" y="0"/>
                      </a:lnTo>
                      <a:lnTo>
                        <a:pt x="194" y="0"/>
                      </a:lnTo>
                      <a:lnTo>
                        <a:pt x="209" y="2"/>
                      </a:lnTo>
                      <a:lnTo>
                        <a:pt x="225" y="5"/>
                      </a:lnTo>
                      <a:lnTo>
                        <a:pt x="240" y="9"/>
                      </a:lnTo>
                      <a:lnTo>
                        <a:pt x="527" y="100"/>
                      </a:lnTo>
                      <a:lnTo>
                        <a:pt x="527" y="100"/>
                      </a:lnTo>
                      <a:lnTo>
                        <a:pt x="533" y="102"/>
                      </a:lnTo>
                      <a:lnTo>
                        <a:pt x="538" y="106"/>
                      </a:lnTo>
                      <a:lnTo>
                        <a:pt x="542" y="110"/>
                      </a:lnTo>
                      <a:lnTo>
                        <a:pt x="546" y="116"/>
                      </a:lnTo>
                      <a:lnTo>
                        <a:pt x="548" y="122"/>
                      </a:lnTo>
                      <a:lnTo>
                        <a:pt x="550" y="128"/>
                      </a:lnTo>
                      <a:lnTo>
                        <a:pt x="550" y="134"/>
                      </a:lnTo>
                      <a:lnTo>
                        <a:pt x="548" y="142"/>
                      </a:lnTo>
                      <a:lnTo>
                        <a:pt x="548" y="142"/>
                      </a:lnTo>
                      <a:lnTo>
                        <a:pt x="545" y="148"/>
                      </a:lnTo>
                      <a:lnTo>
                        <a:pt x="542" y="153"/>
                      </a:lnTo>
                      <a:lnTo>
                        <a:pt x="537" y="157"/>
                      </a:lnTo>
                      <a:lnTo>
                        <a:pt x="532" y="160"/>
                      </a:lnTo>
                      <a:lnTo>
                        <a:pt x="527" y="163"/>
                      </a:lnTo>
                      <a:lnTo>
                        <a:pt x="520" y="164"/>
                      </a:lnTo>
                      <a:lnTo>
                        <a:pt x="513" y="164"/>
                      </a:lnTo>
                      <a:lnTo>
                        <a:pt x="507" y="162"/>
                      </a:lnTo>
                      <a:lnTo>
                        <a:pt x="221" y="72"/>
                      </a:lnTo>
                      <a:lnTo>
                        <a:pt x="221" y="72"/>
                      </a:lnTo>
                      <a:lnTo>
                        <a:pt x="206" y="68"/>
                      </a:lnTo>
                      <a:lnTo>
                        <a:pt x="189" y="66"/>
                      </a:lnTo>
                      <a:lnTo>
                        <a:pt x="175" y="65"/>
                      </a:lnTo>
                      <a:lnTo>
                        <a:pt x="158" y="67"/>
                      </a:lnTo>
                      <a:lnTo>
                        <a:pt x="143" y="70"/>
                      </a:lnTo>
                      <a:lnTo>
                        <a:pt x="126" y="77"/>
                      </a:lnTo>
                      <a:lnTo>
                        <a:pt x="110" y="87"/>
                      </a:lnTo>
                      <a:lnTo>
                        <a:pt x="91" y="99"/>
                      </a:lnTo>
                      <a:lnTo>
                        <a:pt x="91" y="99"/>
                      </a:lnTo>
                      <a:lnTo>
                        <a:pt x="173" y="142"/>
                      </a:lnTo>
                      <a:lnTo>
                        <a:pt x="247" y="180"/>
                      </a:lnTo>
                      <a:lnTo>
                        <a:pt x="374" y="246"/>
                      </a:lnTo>
                      <a:lnTo>
                        <a:pt x="374" y="246"/>
                      </a:lnTo>
                      <a:lnTo>
                        <a:pt x="491" y="308"/>
                      </a:lnTo>
                      <a:lnTo>
                        <a:pt x="538" y="332"/>
                      </a:lnTo>
                      <a:lnTo>
                        <a:pt x="582" y="352"/>
                      </a:lnTo>
                      <a:lnTo>
                        <a:pt x="621" y="368"/>
                      </a:lnTo>
                      <a:lnTo>
                        <a:pt x="640" y="374"/>
                      </a:lnTo>
                      <a:lnTo>
                        <a:pt x="657" y="381"/>
                      </a:lnTo>
                      <a:lnTo>
                        <a:pt x="675" y="385"/>
                      </a:lnTo>
                      <a:lnTo>
                        <a:pt x="692" y="389"/>
                      </a:lnTo>
                      <a:lnTo>
                        <a:pt x="709" y="392"/>
                      </a:lnTo>
                      <a:lnTo>
                        <a:pt x="725" y="394"/>
                      </a:lnTo>
                      <a:lnTo>
                        <a:pt x="742" y="394"/>
                      </a:lnTo>
                      <a:lnTo>
                        <a:pt x="759" y="395"/>
                      </a:lnTo>
                      <a:lnTo>
                        <a:pt x="776" y="394"/>
                      </a:lnTo>
                      <a:lnTo>
                        <a:pt x="794" y="392"/>
                      </a:lnTo>
                      <a:lnTo>
                        <a:pt x="811" y="390"/>
                      </a:lnTo>
                      <a:lnTo>
                        <a:pt x="831" y="386"/>
                      </a:lnTo>
                      <a:lnTo>
                        <a:pt x="871" y="377"/>
                      </a:lnTo>
                      <a:lnTo>
                        <a:pt x="916" y="364"/>
                      </a:lnTo>
                      <a:lnTo>
                        <a:pt x="966" y="349"/>
                      </a:lnTo>
                      <a:lnTo>
                        <a:pt x="1086" y="307"/>
                      </a:lnTo>
                      <a:lnTo>
                        <a:pt x="1086" y="307"/>
                      </a:lnTo>
                      <a:lnTo>
                        <a:pt x="1176" y="276"/>
                      </a:lnTo>
                      <a:lnTo>
                        <a:pt x="1279" y="241"/>
                      </a:lnTo>
                      <a:lnTo>
                        <a:pt x="1279" y="241"/>
                      </a:lnTo>
                      <a:lnTo>
                        <a:pt x="1285" y="240"/>
                      </a:lnTo>
                      <a:lnTo>
                        <a:pt x="1293" y="239"/>
                      </a:lnTo>
                      <a:lnTo>
                        <a:pt x="1299" y="241"/>
                      </a:lnTo>
                      <a:lnTo>
                        <a:pt x="1304" y="243"/>
                      </a:lnTo>
                      <a:lnTo>
                        <a:pt x="1310" y="246"/>
                      </a:lnTo>
                      <a:lnTo>
                        <a:pt x="1314" y="250"/>
                      </a:lnTo>
                      <a:lnTo>
                        <a:pt x="1318" y="255"/>
                      </a:lnTo>
                      <a:lnTo>
                        <a:pt x="1320" y="262"/>
                      </a:lnTo>
                      <a:lnTo>
                        <a:pt x="1320" y="262"/>
                      </a:lnTo>
                      <a:lnTo>
                        <a:pt x="1323" y="268"/>
                      </a:lnTo>
                      <a:lnTo>
                        <a:pt x="1323" y="275"/>
                      </a:lnTo>
                      <a:lnTo>
                        <a:pt x="1322" y="281"/>
                      </a:lnTo>
                      <a:lnTo>
                        <a:pt x="1319" y="288"/>
                      </a:lnTo>
                      <a:lnTo>
                        <a:pt x="1315" y="293"/>
                      </a:lnTo>
                      <a:lnTo>
                        <a:pt x="1311" y="297"/>
                      </a:lnTo>
                      <a:lnTo>
                        <a:pt x="1306" y="301"/>
                      </a:lnTo>
                      <a:lnTo>
                        <a:pt x="1300" y="304"/>
                      </a:lnTo>
                      <a:lnTo>
                        <a:pt x="1300" y="304"/>
                      </a:lnTo>
                      <a:lnTo>
                        <a:pt x="1196" y="338"/>
                      </a:lnTo>
                      <a:lnTo>
                        <a:pt x="1107" y="369"/>
                      </a:lnTo>
                      <a:lnTo>
                        <a:pt x="1107" y="369"/>
                      </a:lnTo>
                      <a:lnTo>
                        <a:pt x="990" y="410"/>
                      </a:lnTo>
                      <a:lnTo>
                        <a:pt x="941" y="425"/>
                      </a:lnTo>
                      <a:lnTo>
                        <a:pt x="896" y="439"/>
                      </a:lnTo>
                      <a:lnTo>
                        <a:pt x="855" y="449"/>
                      </a:lnTo>
                      <a:lnTo>
                        <a:pt x="818" y="456"/>
                      </a:lnTo>
                      <a:lnTo>
                        <a:pt x="800" y="459"/>
                      </a:lnTo>
                      <a:lnTo>
                        <a:pt x="782" y="461"/>
                      </a:lnTo>
                      <a:lnTo>
                        <a:pt x="766" y="462"/>
                      </a:lnTo>
                      <a:lnTo>
                        <a:pt x="749" y="462"/>
                      </a:lnTo>
                      <a:lnTo>
                        <a:pt x="749" y="4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9" name="Freeform 114">
                  <a:extLst>
                    <a:ext uri="{FF2B5EF4-FFF2-40B4-BE49-F238E27FC236}">
                      <a16:creationId xmlns:a16="http://schemas.microsoft.com/office/drawing/2014/main" id="{85CE6A80-CF8D-AF1D-1481-B59CD7A0BA06}"/>
                    </a:ext>
                  </a:extLst>
                </p:cNvPr>
                <p:cNvSpPr>
                  <a:spLocks/>
                </p:cNvSpPr>
                <p:nvPr/>
              </p:nvSpPr>
              <p:spPr bwMode="auto">
                <a:xfrm flipH="1">
                  <a:off x="2039144" y="3084513"/>
                  <a:ext cx="192088" cy="74613"/>
                </a:xfrm>
                <a:custGeom>
                  <a:avLst/>
                  <a:gdLst>
                    <a:gd name="T0" fmla="*/ 83 w 844"/>
                    <a:gd name="T1" fmla="*/ 331 h 331"/>
                    <a:gd name="T2" fmla="*/ 57 w 844"/>
                    <a:gd name="T3" fmla="*/ 326 h 331"/>
                    <a:gd name="T4" fmla="*/ 35 w 844"/>
                    <a:gd name="T5" fmla="*/ 315 h 331"/>
                    <a:gd name="T6" fmla="*/ 19 w 844"/>
                    <a:gd name="T7" fmla="*/ 296 h 331"/>
                    <a:gd name="T8" fmla="*/ 6 w 844"/>
                    <a:gd name="T9" fmla="*/ 272 h 331"/>
                    <a:gd name="T10" fmla="*/ 1 w 844"/>
                    <a:gd name="T11" fmla="*/ 243 h 331"/>
                    <a:gd name="T12" fmla="*/ 1 w 844"/>
                    <a:gd name="T13" fmla="*/ 221 h 331"/>
                    <a:gd name="T14" fmla="*/ 6 w 844"/>
                    <a:gd name="T15" fmla="*/ 192 h 331"/>
                    <a:gd name="T16" fmla="*/ 19 w 844"/>
                    <a:gd name="T17" fmla="*/ 167 h 331"/>
                    <a:gd name="T18" fmla="*/ 35 w 844"/>
                    <a:gd name="T19" fmla="*/ 148 h 331"/>
                    <a:gd name="T20" fmla="*/ 57 w 844"/>
                    <a:gd name="T21" fmla="*/ 137 h 331"/>
                    <a:gd name="T22" fmla="*/ 83 w 844"/>
                    <a:gd name="T23" fmla="*/ 133 h 331"/>
                    <a:gd name="T24" fmla="*/ 348 w 844"/>
                    <a:gd name="T25" fmla="*/ 108 h 331"/>
                    <a:gd name="T26" fmla="*/ 395 w 844"/>
                    <a:gd name="T27" fmla="*/ 74 h 331"/>
                    <a:gd name="T28" fmla="*/ 457 w 844"/>
                    <a:gd name="T29" fmla="*/ 39 h 331"/>
                    <a:gd name="T30" fmla="*/ 510 w 844"/>
                    <a:gd name="T31" fmla="*/ 17 h 331"/>
                    <a:gd name="T32" fmla="*/ 569 w 844"/>
                    <a:gd name="T33" fmla="*/ 3 h 331"/>
                    <a:gd name="T34" fmla="*/ 810 w 844"/>
                    <a:gd name="T35" fmla="*/ 0 h 331"/>
                    <a:gd name="T36" fmla="*/ 823 w 844"/>
                    <a:gd name="T37" fmla="*/ 2 h 331"/>
                    <a:gd name="T38" fmla="*/ 837 w 844"/>
                    <a:gd name="T39" fmla="*/ 15 h 331"/>
                    <a:gd name="T40" fmla="*/ 844 w 844"/>
                    <a:gd name="T41" fmla="*/ 33 h 331"/>
                    <a:gd name="T42" fmla="*/ 840 w 844"/>
                    <a:gd name="T43" fmla="*/ 46 h 331"/>
                    <a:gd name="T44" fmla="*/ 829 w 844"/>
                    <a:gd name="T45" fmla="*/ 60 h 331"/>
                    <a:gd name="T46" fmla="*/ 810 w 844"/>
                    <a:gd name="T47" fmla="*/ 67 h 331"/>
                    <a:gd name="T48" fmla="*/ 594 w 844"/>
                    <a:gd name="T49" fmla="*/ 67 h 331"/>
                    <a:gd name="T50" fmla="*/ 543 w 844"/>
                    <a:gd name="T51" fmla="*/ 76 h 331"/>
                    <a:gd name="T52" fmla="*/ 498 w 844"/>
                    <a:gd name="T53" fmla="*/ 92 h 331"/>
                    <a:gd name="T54" fmla="*/ 431 w 844"/>
                    <a:gd name="T55" fmla="*/ 131 h 331"/>
                    <a:gd name="T56" fmla="*/ 387 w 844"/>
                    <a:gd name="T57" fmla="*/ 161 h 331"/>
                    <a:gd name="T58" fmla="*/ 339 w 844"/>
                    <a:gd name="T59" fmla="*/ 193 h 331"/>
                    <a:gd name="T60" fmla="*/ 315 w 844"/>
                    <a:gd name="T61" fmla="*/ 199 h 331"/>
                    <a:gd name="T62" fmla="*/ 79 w 844"/>
                    <a:gd name="T63" fmla="*/ 199 h 331"/>
                    <a:gd name="T64" fmla="*/ 71 w 844"/>
                    <a:gd name="T65" fmla="*/ 211 h 331"/>
                    <a:gd name="T66" fmla="*/ 66 w 844"/>
                    <a:gd name="T67" fmla="*/ 232 h 331"/>
                    <a:gd name="T68" fmla="*/ 68 w 844"/>
                    <a:gd name="T69" fmla="*/ 248 h 331"/>
                    <a:gd name="T70" fmla="*/ 76 w 844"/>
                    <a:gd name="T71" fmla="*/ 261 h 331"/>
                    <a:gd name="T72" fmla="*/ 447 w 844"/>
                    <a:gd name="T73" fmla="*/ 264 h 331"/>
                    <a:gd name="T74" fmla="*/ 460 w 844"/>
                    <a:gd name="T75" fmla="*/ 267 h 331"/>
                    <a:gd name="T76" fmla="*/ 474 w 844"/>
                    <a:gd name="T77" fmla="*/ 280 h 331"/>
                    <a:gd name="T78" fmla="*/ 479 w 844"/>
                    <a:gd name="T79" fmla="*/ 297 h 331"/>
                    <a:gd name="T80" fmla="*/ 477 w 844"/>
                    <a:gd name="T81" fmla="*/ 311 h 331"/>
                    <a:gd name="T82" fmla="*/ 465 w 844"/>
                    <a:gd name="T83" fmla="*/ 325 h 331"/>
                    <a:gd name="T84" fmla="*/ 447 w 844"/>
                    <a:gd name="T85"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4" h="331">
                      <a:moveTo>
                        <a:pt x="447" y="331"/>
                      </a:moveTo>
                      <a:lnTo>
                        <a:pt x="83" y="331"/>
                      </a:lnTo>
                      <a:lnTo>
                        <a:pt x="83" y="331"/>
                      </a:lnTo>
                      <a:lnTo>
                        <a:pt x="75" y="331"/>
                      </a:lnTo>
                      <a:lnTo>
                        <a:pt x="65" y="330"/>
                      </a:lnTo>
                      <a:lnTo>
                        <a:pt x="57" y="326"/>
                      </a:lnTo>
                      <a:lnTo>
                        <a:pt x="50" y="323"/>
                      </a:lnTo>
                      <a:lnTo>
                        <a:pt x="43" y="319"/>
                      </a:lnTo>
                      <a:lnTo>
                        <a:pt x="35" y="315"/>
                      </a:lnTo>
                      <a:lnTo>
                        <a:pt x="29" y="309"/>
                      </a:lnTo>
                      <a:lnTo>
                        <a:pt x="24" y="303"/>
                      </a:lnTo>
                      <a:lnTo>
                        <a:pt x="19" y="296"/>
                      </a:lnTo>
                      <a:lnTo>
                        <a:pt x="14" y="288"/>
                      </a:lnTo>
                      <a:lnTo>
                        <a:pt x="9" y="280"/>
                      </a:lnTo>
                      <a:lnTo>
                        <a:pt x="6" y="272"/>
                      </a:lnTo>
                      <a:lnTo>
                        <a:pt x="4" y="262"/>
                      </a:lnTo>
                      <a:lnTo>
                        <a:pt x="2" y="253"/>
                      </a:lnTo>
                      <a:lnTo>
                        <a:pt x="1" y="243"/>
                      </a:lnTo>
                      <a:lnTo>
                        <a:pt x="0" y="232"/>
                      </a:lnTo>
                      <a:lnTo>
                        <a:pt x="0" y="232"/>
                      </a:lnTo>
                      <a:lnTo>
                        <a:pt x="1" y="221"/>
                      </a:lnTo>
                      <a:lnTo>
                        <a:pt x="2" y="211"/>
                      </a:lnTo>
                      <a:lnTo>
                        <a:pt x="4" y="201"/>
                      </a:lnTo>
                      <a:lnTo>
                        <a:pt x="6" y="192"/>
                      </a:lnTo>
                      <a:lnTo>
                        <a:pt x="9" y="184"/>
                      </a:lnTo>
                      <a:lnTo>
                        <a:pt x="14" y="175"/>
                      </a:lnTo>
                      <a:lnTo>
                        <a:pt x="19" y="167"/>
                      </a:lnTo>
                      <a:lnTo>
                        <a:pt x="24" y="161"/>
                      </a:lnTo>
                      <a:lnTo>
                        <a:pt x="29" y="155"/>
                      </a:lnTo>
                      <a:lnTo>
                        <a:pt x="35" y="148"/>
                      </a:lnTo>
                      <a:lnTo>
                        <a:pt x="43" y="144"/>
                      </a:lnTo>
                      <a:lnTo>
                        <a:pt x="50" y="140"/>
                      </a:lnTo>
                      <a:lnTo>
                        <a:pt x="57" y="137"/>
                      </a:lnTo>
                      <a:lnTo>
                        <a:pt x="65" y="135"/>
                      </a:lnTo>
                      <a:lnTo>
                        <a:pt x="75" y="133"/>
                      </a:lnTo>
                      <a:lnTo>
                        <a:pt x="83" y="133"/>
                      </a:lnTo>
                      <a:lnTo>
                        <a:pt x="315" y="133"/>
                      </a:lnTo>
                      <a:lnTo>
                        <a:pt x="315" y="133"/>
                      </a:lnTo>
                      <a:lnTo>
                        <a:pt x="348" y="108"/>
                      </a:lnTo>
                      <a:lnTo>
                        <a:pt x="348" y="108"/>
                      </a:lnTo>
                      <a:lnTo>
                        <a:pt x="371" y="91"/>
                      </a:lnTo>
                      <a:lnTo>
                        <a:pt x="395" y="74"/>
                      </a:lnTo>
                      <a:lnTo>
                        <a:pt x="424" y="56"/>
                      </a:lnTo>
                      <a:lnTo>
                        <a:pt x="440" y="47"/>
                      </a:lnTo>
                      <a:lnTo>
                        <a:pt x="457" y="39"/>
                      </a:lnTo>
                      <a:lnTo>
                        <a:pt x="474" y="31"/>
                      </a:lnTo>
                      <a:lnTo>
                        <a:pt x="492" y="23"/>
                      </a:lnTo>
                      <a:lnTo>
                        <a:pt x="510" y="17"/>
                      </a:lnTo>
                      <a:lnTo>
                        <a:pt x="529" y="12"/>
                      </a:lnTo>
                      <a:lnTo>
                        <a:pt x="549" y="7"/>
                      </a:lnTo>
                      <a:lnTo>
                        <a:pt x="569" y="3"/>
                      </a:lnTo>
                      <a:lnTo>
                        <a:pt x="590" y="1"/>
                      </a:lnTo>
                      <a:lnTo>
                        <a:pt x="612" y="0"/>
                      </a:lnTo>
                      <a:lnTo>
                        <a:pt x="810" y="0"/>
                      </a:lnTo>
                      <a:lnTo>
                        <a:pt x="810" y="0"/>
                      </a:lnTo>
                      <a:lnTo>
                        <a:pt x="817" y="1"/>
                      </a:lnTo>
                      <a:lnTo>
                        <a:pt x="823" y="2"/>
                      </a:lnTo>
                      <a:lnTo>
                        <a:pt x="829" y="6"/>
                      </a:lnTo>
                      <a:lnTo>
                        <a:pt x="834" y="10"/>
                      </a:lnTo>
                      <a:lnTo>
                        <a:pt x="837" y="15"/>
                      </a:lnTo>
                      <a:lnTo>
                        <a:pt x="840" y="20"/>
                      </a:lnTo>
                      <a:lnTo>
                        <a:pt x="843" y="26"/>
                      </a:lnTo>
                      <a:lnTo>
                        <a:pt x="844" y="33"/>
                      </a:lnTo>
                      <a:lnTo>
                        <a:pt x="844" y="33"/>
                      </a:lnTo>
                      <a:lnTo>
                        <a:pt x="843" y="40"/>
                      </a:lnTo>
                      <a:lnTo>
                        <a:pt x="840" y="46"/>
                      </a:lnTo>
                      <a:lnTo>
                        <a:pt x="837" y="52"/>
                      </a:lnTo>
                      <a:lnTo>
                        <a:pt x="834" y="56"/>
                      </a:lnTo>
                      <a:lnTo>
                        <a:pt x="829" y="60"/>
                      </a:lnTo>
                      <a:lnTo>
                        <a:pt x="823" y="64"/>
                      </a:lnTo>
                      <a:lnTo>
                        <a:pt x="817" y="66"/>
                      </a:lnTo>
                      <a:lnTo>
                        <a:pt x="810" y="67"/>
                      </a:lnTo>
                      <a:lnTo>
                        <a:pt x="612" y="67"/>
                      </a:lnTo>
                      <a:lnTo>
                        <a:pt x="612" y="67"/>
                      </a:lnTo>
                      <a:lnTo>
                        <a:pt x="594" y="67"/>
                      </a:lnTo>
                      <a:lnTo>
                        <a:pt x="577" y="69"/>
                      </a:lnTo>
                      <a:lnTo>
                        <a:pt x="560" y="72"/>
                      </a:lnTo>
                      <a:lnTo>
                        <a:pt x="543" y="76"/>
                      </a:lnTo>
                      <a:lnTo>
                        <a:pt x="528" y="81"/>
                      </a:lnTo>
                      <a:lnTo>
                        <a:pt x="512" y="86"/>
                      </a:lnTo>
                      <a:lnTo>
                        <a:pt x="498" y="92"/>
                      </a:lnTo>
                      <a:lnTo>
                        <a:pt x="483" y="100"/>
                      </a:lnTo>
                      <a:lnTo>
                        <a:pt x="455" y="114"/>
                      </a:lnTo>
                      <a:lnTo>
                        <a:pt x="431" y="131"/>
                      </a:lnTo>
                      <a:lnTo>
                        <a:pt x="408" y="146"/>
                      </a:lnTo>
                      <a:lnTo>
                        <a:pt x="387" y="161"/>
                      </a:lnTo>
                      <a:lnTo>
                        <a:pt x="387" y="161"/>
                      </a:lnTo>
                      <a:lnTo>
                        <a:pt x="365" y="176"/>
                      </a:lnTo>
                      <a:lnTo>
                        <a:pt x="347" y="189"/>
                      </a:lnTo>
                      <a:lnTo>
                        <a:pt x="339" y="193"/>
                      </a:lnTo>
                      <a:lnTo>
                        <a:pt x="330" y="196"/>
                      </a:lnTo>
                      <a:lnTo>
                        <a:pt x="322" y="198"/>
                      </a:lnTo>
                      <a:lnTo>
                        <a:pt x="315" y="199"/>
                      </a:lnTo>
                      <a:lnTo>
                        <a:pt x="83" y="199"/>
                      </a:lnTo>
                      <a:lnTo>
                        <a:pt x="83" y="199"/>
                      </a:lnTo>
                      <a:lnTo>
                        <a:pt x="79" y="199"/>
                      </a:lnTo>
                      <a:lnTo>
                        <a:pt x="76" y="202"/>
                      </a:lnTo>
                      <a:lnTo>
                        <a:pt x="73" y="205"/>
                      </a:lnTo>
                      <a:lnTo>
                        <a:pt x="71" y="211"/>
                      </a:lnTo>
                      <a:lnTo>
                        <a:pt x="68" y="216"/>
                      </a:lnTo>
                      <a:lnTo>
                        <a:pt x="67" y="221"/>
                      </a:lnTo>
                      <a:lnTo>
                        <a:pt x="66" y="232"/>
                      </a:lnTo>
                      <a:lnTo>
                        <a:pt x="66" y="232"/>
                      </a:lnTo>
                      <a:lnTo>
                        <a:pt x="67" y="243"/>
                      </a:lnTo>
                      <a:lnTo>
                        <a:pt x="68" y="248"/>
                      </a:lnTo>
                      <a:lnTo>
                        <a:pt x="71" y="253"/>
                      </a:lnTo>
                      <a:lnTo>
                        <a:pt x="73" y="258"/>
                      </a:lnTo>
                      <a:lnTo>
                        <a:pt x="76" y="261"/>
                      </a:lnTo>
                      <a:lnTo>
                        <a:pt x="79" y="264"/>
                      </a:lnTo>
                      <a:lnTo>
                        <a:pt x="83" y="264"/>
                      </a:lnTo>
                      <a:lnTo>
                        <a:pt x="447" y="264"/>
                      </a:lnTo>
                      <a:lnTo>
                        <a:pt x="447" y="264"/>
                      </a:lnTo>
                      <a:lnTo>
                        <a:pt x="453" y="265"/>
                      </a:lnTo>
                      <a:lnTo>
                        <a:pt x="460" y="267"/>
                      </a:lnTo>
                      <a:lnTo>
                        <a:pt x="465" y="271"/>
                      </a:lnTo>
                      <a:lnTo>
                        <a:pt x="470" y="275"/>
                      </a:lnTo>
                      <a:lnTo>
                        <a:pt x="474" y="280"/>
                      </a:lnTo>
                      <a:lnTo>
                        <a:pt x="477" y="285"/>
                      </a:lnTo>
                      <a:lnTo>
                        <a:pt x="479" y="291"/>
                      </a:lnTo>
                      <a:lnTo>
                        <a:pt x="479" y="297"/>
                      </a:lnTo>
                      <a:lnTo>
                        <a:pt x="479" y="297"/>
                      </a:lnTo>
                      <a:lnTo>
                        <a:pt x="479" y="305"/>
                      </a:lnTo>
                      <a:lnTo>
                        <a:pt x="477" y="311"/>
                      </a:lnTo>
                      <a:lnTo>
                        <a:pt x="474" y="316"/>
                      </a:lnTo>
                      <a:lnTo>
                        <a:pt x="470" y="321"/>
                      </a:lnTo>
                      <a:lnTo>
                        <a:pt x="465" y="325"/>
                      </a:lnTo>
                      <a:lnTo>
                        <a:pt x="460" y="329"/>
                      </a:lnTo>
                      <a:lnTo>
                        <a:pt x="453" y="331"/>
                      </a:lnTo>
                      <a:lnTo>
                        <a:pt x="447" y="331"/>
                      </a:lnTo>
                      <a:lnTo>
                        <a:pt x="447"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Roboto"/>
                    <a:ea typeface="+mn-ea"/>
                    <a:cs typeface="+mn-cs"/>
                  </a:endParaRPr>
                </a:p>
              </p:txBody>
            </p:sp>
          </p:grpSp>
          <p:grpSp>
            <p:nvGrpSpPr>
              <p:cNvPr id="34" name="Group 33">
                <a:extLst>
                  <a:ext uri="{FF2B5EF4-FFF2-40B4-BE49-F238E27FC236}">
                    <a16:creationId xmlns:a16="http://schemas.microsoft.com/office/drawing/2014/main" id="{50934302-BCE2-B07C-0A0C-6F8212517213}"/>
                  </a:ext>
                </a:extLst>
              </p:cNvPr>
              <p:cNvGrpSpPr/>
              <p:nvPr/>
            </p:nvGrpSpPr>
            <p:grpSpPr>
              <a:xfrm flipH="1">
                <a:off x="2058591" y="2796777"/>
                <a:ext cx="261145" cy="261145"/>
                <a:chOff x="4116388" y="3968751"/>
                <a:chExt cx="360363" cy="360363"/>
              </a:xfrm>
              <a:grpFill/>
            </p:grpSpPr>
            <p:sp>
              <p:nvSpPr>
                <p:cNvPr id="35" name="Freeform 16">
                  <a:extLst>
                    <a:ext uri="{FF2B5EF4-FFF2-40B4-BE49-F238E27FC236}">
                      <a16:creationId xmlns:a16="http://schemas.microsoft.com/office/drawing/2014/main" id="{A8B6D45D-64B5-B855-BA0B-BA52EAE6FE12}"/>
                    </a:ext>
                  </a:extLst>
                </p:cNvPr>
                <p:cNvSpPr>
                  <a:spLocks noEditPoints="1"/>
                </p:cNvSpPr>
                <p:nvPr/>
              </p:nvSpPr>
              <p:spPr bwMode="auto">
                <a:xfrm>
                  <a:off x="4116388" y="3968751"/>
                  <a:ext cx="360363" cy="360363"/>
                </a:xfrm>
                <a:custGeom>
                  <a:avLst/>
                  <a:gdLst>
                    <a:gd name="T0" fmla="*/ 575 w 1361"/>
                    <a:gd name="T1" fmla="*/ 1352 h 1361"/>
                    <a:gd name="T2" fmla="*/ 532 w 1361"/>
                    <a:gd name="T3" fmla="*/ 1161 h 1361"/>
                    <a:gd name="T4" fmla="*/ 315 w 1361"/>
                    <a:gd name="T5" fmla="*/ 1245 h 1361"/>
                    <a:gd name="T6" fmla="*/ 279 w 1361"/>
                    <a:gd name="T7" fmla="*/ 1242 h 1361"/>
                    <a:gd name="T8" fmla="*/ 110 w 1361"/>
                    <a:gd name="T9" fmla="*/ 1061 h 1361"/>
                    <a:gd name="T10" fmla="*/ 227 w 1361"/>
                    <a:gd name="T11" fmla="*/ 911 h 1361"/>
                    <a:gd name="T12" fmla="*/ 22 w 1361"/>
                    <a:gd name="T13" fmla="*/ 793 h 1361"/>
                    <a:gd name="T14" fmla="*/ 0 w 1361"/>
                    <a:gd name="T15" fmla="*/ 765 h 1361"/>
                    <a:gd name="T16" fmla="*/ 12 w 1361"/>
                    <a:gd name="T17" fmla="*/ 572 h 1361"/>
                    <a:gd name="T18" fmla="*/ 209 w 1361"/>
                    <a:gd name="T19" fmla="*/ 498 h 1361"/>
                    <a:gd name="T20" fmla="*/ 112 w 1361"/>
                    <a:gd name="T21" fmla="*/ 310 h 1361"/>
                    <a:gd name="T22" fmla="*/ 118 w 1361"/>
                    <a:gd name="T23" fmla="*/ 279 h 1361"/>
                    <a:gd name="T24" fmla="*/ 304 w 1361"/>
                    <a:gd name="T25" fmla="*/ 111 h 1361"/>
                    <a:gd name="T26" fmla="*/ 465 w 1361"/>
                    <a:gd name="T27" fmla="*/ 221 h 1361"/>
                    <a:gd name="T28" fmla="*/ 569 w 1361"/>
                    <a:gd name="T29" fmla="*/ 17 h 1361"/>
                    <a:gd name="T30" fmla="*/ 765 w 1361"/>
                    <a:gd name="T31" fmla="*/ 0 h 1361"/>
                    <a:gd name="T32" fmla="*/ 791 w 1361"/>
                    <a:gd name="T33" fmla="*/ 17 h 1361"/>
                    <a:gd name="T34" fmla="*/ 895 w 1361"/>
                    <a:gd name="T35" fmla="*/ 221 h 1361"/>
                    <a:gd name="T36" fmla="*/ 1056 w 1361"/>
                    <a:gd name="T37" fmla="*/ 111 h 1361"/>
                    <a:gd name="T38" fmla="*/ 1241 w 1361"/>
                    <a:gd name="T39" fmla="*/ 279 h 1361"/>
                    <a:gd name="T40" fmla="*/ 1248 w 1361"/>
                    <a:gd name="T41" fmla="*/ 310 h 1361"/>
                    <a:gd name="T42" fmla="*/ 1151 w 1361"/>
                    <a:gd name="T43" fmla="*/ 498 h 1361"/>
                    <a:gd name="T44" fmla="*/ 1348 w 1361"/>
                    <a:gd name="T45" fmla="*/ 572 h 1361"/>
                    <a:gd name="T46" fmla="*/ 1361 w 1361"/>
                    <a:gd name="T47" fmla="*/ 765 h 1361"/>
                    <a:gd name="T48" fmla="*/ 1337 w 1361"/>
                    <a:gd name="T49" fmla="*/ 793 h 1361"/>
                    <a:gd name="T50" fmla="*/ 1132 w 1361"/>
                    <a:gd name="T51" fmla="*/ 911 h 1361"/>
                    <a:gd name="T52" fmla="*/ 1250 w 1361"/>
                    <a:gd name="T53" fmla="*/ 1061 h 1361"/>
                    <a:gd name="T54" fmla="*/ 1077 w 1361"/>
                    <a:gd name="T55" fmla="*/ 1245 h 1361"/>
                    <a:gd name="T56" fmla="*/ 1040 w 1361"/>
                    <a:gd name="T57" fmla="*/ 1242 h 1361"/>
                    <a:gd name="T58" fmla="*/ 793 w 1361"/>
                    <a:gd name="T59" fmla="*/ 1170 h 1361"/>
                    <a:gd name="T60" fmla="*/ 781 w 1361"/>
                    <a:gd name="T61" fmla="*/ 1356 h 1361"/>
                    <a:gd name="T62" fmla="*/ 736 w 1361"/>
                    <a:gd name="T63" fmla="*/ 1148 h 1361"/>
                    <a:gd name="T64" fmla="*/ 750 w 1361"/>
                    <a:gd name="T65" fmla="*/ 1125 h 1361"/>
                    <a:gd name="T66" fmla="*/ 878 w 1361"/>
                    <a:gd name="T67" fmla="*/ 1085 h 1361"/>
                    <a:gd name="T68" fmla="*/ 933 w 1361"/>
                    <a:gd name="T69" fmla="*/ 1063 h 1361"/>
                    <a:gd name="T70" fmla="*/ 1071 w 1361"/>
                    <a:gd name="T71" fmla="*/ 951 h 1361"/>
                    <a:gd name="T72" fmla="*/ 1064 w 1361"/>
                    <a:gd name="T73" fmla="*/ 925 h 1361"/>
                    <a:gd name="T74" fmla="*/ 1100 w 1361"/>
                    <a:gd name="T75" fmla="*/ 834 h 1361"/>
                    <a:gd name="T76" fmla="*/ 1130 w 1361"/>
                    <a:gd name="T77" fmla="*/ 743 h 1361"/>
                    <a:gd name="T78" fmla="*/ 1148 w 1361"/>
                    <a:gd name="T79" fmla="*/ 624 h 1361"/>
                    <a:gd name="T80" fmla="*/ 1124 w 1361"/>
                    <a:gd name="T81" fmla="*/ 610 h 1361"/>
                    <a:gd name="T82" fmla="*/ 1085 w 1361"/>
                    <a:gd name="T83" fmla="*/ 482 h 1361"/>
                    <a:gd name="T84" fmla="*/ 1063 w 1361"/>
                    <a:gd name="T85" fmla="*/ 427 h 1361"/>
                    <a:gd name="T86" fmla="*/ 951 w 1361"/>
                    <a:gd name="T87" fmla="*/ 289 h 1361"/>
                    <a:gd name="T88" fmla="*/ 924 w 1361"/>
                    <a:gd name="T89" fmla="*/ 297 h 1361"/>
                    <a:gd name="T90" fmla="*/ 841 w 1361"/>
                    <a:gd name="T91" fmla="*/ 263 h 1361"/>
                    <a:gd name="T92" fmla="*/ 742 w 1361"/>
                    <a:gd name="T93" fmla="*/ 230 h 1361"/>
                    <a:gd name="T94" fmla="*/ 623 w 1361"/>
                    <a:gd name="T95" fmla="*/ 212 h 1361"/>
                    <a:gd name="T96" fmla="*/ 610 w 1361"/>
                    <a:gd name="T97" fmla="*/ 237 h 1361"/>
                    <a:gd name="T98" fmla="*/ 482 w 1361"/>
                    <a:gd name="T99" fmla="*/ 275 h 1361"/>
                    <a:gd name="T100" fmla="*/ 426 w 1361"/>
                    <a:gd name="T101" fmla="*/ 297 h 1361"/>
                    <a:gd name="T102" fmla="*/ 289 w 1361"/>
                    <a:gd name="T103" fmla="*/ 409 h 1361"/>
                    <a:gd name="T104" fmla="*/ 297 w 1361"/>
                    <a:gd name="T105" fmla="*/ 436 h 1361"/>
                    <a:gd name="T106" fmla="*/ 260 w 1361"/>
                    <a:gd name="T107" fmla="*/ 527 h 1361"/>
                    <a:gd name="T108" fmla="*/ 229 w 1361"/>
                    <a:gd name="T109" fmla="*/ 617 h 1361"/>
                    <a:gd name="T110" fmla="*/ 212 w 1361"/>
                    <a:gd name="T111" fmla="*/ 737 h 1361"/>
                    <a:gd name="T112" fmla="*/ 235 w 1361"/>
                    <a:gd name="T113" fmla="*/ 750 h 1361"/>
                    <a:gd name="T114" fmla="*/ 275 w 1361"/>
                    <a:gd name="T115" fmla="*/ 878 h 1361"/>
                    <a:gd name="T116" fmla="*/ 297 w 1361"/>
                    <a:gd name="T117" fmla="*/ 935 h 1361"/>
                    <a:gd name="T118" fmla="*/ 409 w 1361"/>
                    <a:gd name="T119" fmla="*/ 1071 h 1361"/>
                    <a:gd name="T120" fmla="*/ 435 w 1361"/>
                    <a:gd name="T121" fmla="*/ 1064 h 1361"/>
                    <a:gd name="T122" fmla="*/ 526 w 1361"/>
                    <a:gd name="T123" fmla="*/ 1100 h 1361"/>
                    <a:gd name="T124" fmla="*/ 617 w 1361"/>
                    <a:gd name="T125" fmla="*/ 1131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1" h="1361">
                      <a:moveTo>
                        <a:pt x="765" y="1361"/>
                      </a:moveTo>
                      <a:lnTo>
                        <a:pt x="595" y="1361"/>
                      </a:lnTo>
                      <a:lnTo>
                        <a:pt x="595" y="1361"/>
                      </a:lnTo>
                      <a:lnTo>
                        <a:pt x="589" y="1360"/>
                      </a:lnTo>
                      <a:lnTo>
                        <a:pt x="584" y="1358"/>
                      </a:lnTo>
                      <a:lnTo>
                        <a:pt x="579" y="1356"/>
                      </a:lnTo>
                      <a:lnTo>
                        <a:pt x="575" y="1352"/>
                      </a:lnTo>
                      <a:lnTo>
                        <a:pt x="572" y="1348"/>
                      </a:lnTo>
                      <a:lnTo>
                        <a:pt x="569" y="1344"/>
                      </a:lnTo>
                      <a:lnTo>
                        <a:pt x="567" y="1338"/>
                      </a:lnTo>
                      <a:lnTo>
                        <a:pt x="567" y="1333"/>
                      </a:lnTo>
                      <a:lnTo>
                        <a:pt x="567" y="1170"/>
                      </a:lnTo>
                      <a:lnTo>
                        <a:pt x="567" y="1170"/>
                      </a:lnTo>
                      <a:lnTo>
                        <a:pt x="532" y="1161"/>
                      </a:lnTo>
                      <a:lnTo>
                        <a:pt x="498" y="1151"/>
                      </a:lnTo>
                      <a:lnTo>
                        <a:pt x="465" y="1140"/>
                      </a:lnTo>
                      <a:lnTo>
                        <a:pt x="449" y="1133"/>
                      </a:lnTo>
                      <a:lnTo>
                        <a:pt x="434" y="1127"/>
                      </a:lnTo>
                      <a:lnTo>
                        <a:pt x="319" y="1242"/>
                      </a:lnTo>
                      <a:lnTo>
                        <a:pt x="319" y="1242"/>
                      </a:lnTo>
                      <a:lnTo>
                        <a:pt x="315" y="1245"/>
                      </a:lnTo>
                      <a:lnTo>
                        <a:pt x="310" y="1248"/>
                      </a:lnTo>
                      <a:lnTo>
                        <a:pt x="305" y="1249"/>
                      </a:lnTo>
                      <a:lnTo>
                        <a:pt x="299" y="1250"/>
                      </a:lnTo>
                      <a:lnTo>
                        <a:pt x="294" y="1249"/>
                      </a:lnTo>
                      <a:lnTo>
                        <a:pt x="288" y="1248"/>
                      </a:lnTo>
                      <a:lnTo>
                        <a:pt x="284" y="1245"/>
                      </a:lnTo>
                      <a:lnTo>
                        <a:pt x="279" y="1242"/>
                      </a:lnTo>
                      <a:lnTo>
                        <a:pt x="118" y="1081"/>
                      </a:lnTo>
                      <a:lnTo>
                        <a:pt x="118" y="1081"/>
                      </a:lnTo>
                      <a:lnTo>
                        <a:pt x="115" y="1077"/>
                      </a:lnTo>
                      <a:lnTo>
                        <a:pt x="112" y="1072"/>
                      </a:lnTo>
                      <a:lnTo>
                        <a:pt x="111" y="1067"/>
                      </a:lnTo>
                      <a:lnTo>
                        <a:pt x="110" y="1061"/>
                      </a:lnTo>
                      <a:lnTo>
                        <a:pt x="110" y="1061"/>
                      </a:lnTo>
                      <a:lnTo>
                        <a:pt x="111" y="1056"/>
                      </a:lnTo>
                      <a:lnTo>
                        <a:pt x="112" y="1050"/>
                      </a:lnTo>
                      <a:lnTo>
                        <a:pt x="115" y="1046"/>
                      </a:lnTo>
                      <a:lnTo>
                        <a:pt x="118" y="1041"/>
                      </a:lnTo>
                      <a:lnTo>
                        <a:pt x="234" y="926"/>
                      </a:lnTo>
                      <a:lnTo>
                        <a:pt x="234" y="926"/>
                      </a:lnTo>
                      <a:lnTo>
                        <a:pt x="227" y="911"/>
                      </a:lnTo>
                      <a:lnTo>
                        <a:pt x="221" y="895"/>
                      </a:lnTo>
                      <a:lnTo>
                        <a:pt x="209" y="863"/>
                      </a:lnTo>
                      <a:lnTo>
                        <a:pt x="199" y="828"/>
                      </a:lnTo>
                      <a:lnTo>
                        <a:pt x="190" y="793"/>
                      </a:lnTo>
                      <a:lnTo>
                        <a:pt x="28" y="793"/>
                      </a:lnTo>
                      <a:lnTo>
                        <a:pt x="28" y="793"/>
                      </a:lnTo>
                      <a:lnTo>
                        <a:pt x="22" y="793"/>
                      </a:lnTo>
                      <a:lnTo>
                        <a:pt x="17" y="791"/>
                      </a:lnTo>
                      <a:lnTo>
                        <a:pt x="12" y="789"/>
                      </a:lnTo>
                      <a:lnTo>
                        <a:pt x="8" y="785"/>
                      </a:lnTo>
                      <a:lnTo>
                        <a:pt x="4" y="781"/>
                      </a:lnTo>
                      <a:lnTo>
                        <a:pt x="2" y="776"/>
                      </a:lnTo>
                      <a:lnTo>
                        <a:pt x="0" y="771"/>
                      </a:lnTo>
                      <a:lnTo>
                        <a:pt x="0" y="765"/>
                      </a:lnTo>
                      <a:lnTo>
                        <a:pt x="0" y="595"/>
                      </a:lnTo>
                      <a:lnTo>
                        <a:pt x="0" y="595"/>
                      </a:lnTo>
                      <a:lnTo>
                        <a:pt x="0" y="589"/>
                      </a:lnTo>
                      <a:lnTo>
                        <a:pt x="2" y="584"/>
                      </a:lnTo>
                      <a:lnTo>
                        <a:pt x="4" y="579"/>
                      </a:lnTo>
                      <a:lnTo>
                        <a:pt x="8" y="575"/>
                      </a:lnTo>
                      <a:lnTo>
                        <a:pt x="12" y="572"/>
                      </a:lnTo>
                      <a:lnTo>
                        <a:pt x="17" y="569"/>
                      </a:lnTo>
                      <a:lnTo>
                        <a:pt x="22" y="568"/>
                      </a:lnTo>
                      <a:lnTo>
                        <a:pt x="28" y="567"/>
                      </a:lnTo>
                      <a:lnTo>
                        <a:pt x="190" y="567"/>
                      </a:lnTo>
                      <a:lnTo>
                        <a:pt x="190" y="567"/>
                      </a:lnTo>
                      <a:lnTo>
                        <a:pt x="199" y="533"/>
                      </a:lnTo>
                      <a:lnTo>
                        <a:pt x="209" y="498"/>
                      </a:lnTo>
                      <a:lnTo>
                        <a:pt x="221" y="465"/>
                      </a:lnTo>
                      <a:lnTo>
                        <a:pt x="227" y="450"/>
                      </a:lnTo>
                      <a:lnTo>
                        <a:pt x="234" y="435"/>
                      </a:lnTo>
                      <a:lnTo>
                        <a:pt x="118" y="319"/>
                      </a:lnTo>
                      <a:lnTo>
                        <a:pt x="118" y="319"/>
                      </a:lnTo>
                      <a:lnTo>
                        <a:pt x="115" y="315"/>
                      </a:lnTo>
                      <a:lnTo>
                        <a:pt x="112" y="310"/>
                      </a:lnTo>
                      <a:lnTo>
                        <a:pt x="111" y="305"/>
                      </a:lnTo>
                      <a:lnTo>
                        <a:pt x="110" y="299"/>
                      </a:lnTo>
                      <a:lnTo>
                        <a:pt x="110" y="299"/>
                      </a:lnTo>
                      <a:lnTo>
                        <a:pt x="111" y="294"/>
                      </a:lnTo>
                      <a:lnTo>
                        <a:pt x="112" y="288"/>
                      </a:lnTo>
                      <a:lnTo>
                        <a:pt x="115" y="284"/>
                      </a:lnTo>
                      <a:lnTo>
                        <a:pt x="118" y="279"/>
                      </a:lnTo>
                      <a:lnTo>
                        <a:pt x="279" y="119"/>
                      </a:lnTo>
                      <a:lnTo>
                        <a:pt x="279" y="119"/>
                      </a:lnTo>
                      <a:lnTo>
                        <a:pt x="284" y="115"/>
                      </a:lnTo>
                      <a:lnTo>
                        <a:pt x="289" y="112"/>
                      </a:lnTo>
                      <a:lnTo>
                        <a:pt x="294" y="111"/>
                      </a:lnTo>
                      <a:lnTo>
                        <a:pt x="299" y="110"/>
                      </a:lnTo>
                      <a:lnTo>
                        <a:pt x="304" y="111"/>
                      </a:lnTo>
                      <a:lnTo>
                        <a:pt x="310" y="112"/>
                      </a:lnTo>
                      <a:lnTo>
                        <a:pt x="315" y="115"/>
                      </a:lnTo>
                      <a:lnTo>
                        <a:pt x="319" y="119"/>
                      </a:lnTo>
                      <a:lnTo>
                        <a:pt x="434" y="235"/>
                      </a:lnTo>
                      <a:lnTo>
                        <a:pt x="434" y="235"/>
                      </a:lnTo>
                      <a:lnTo>
                        <a:pt x="450" y="228"/>
                      </a:lnTo>
                      <a:lnTo>
                        <a:pt x="465" y="221"/>
                      </a:lnTo>
                      <a:lnTo>
                        <a:pt x="498" y="209"/>
                      </a:lnTo>
                      <a:lnTo>
                        <a:pt x="532" y="199"/>
                      </a:lnTo>
                      <a:lnTo>
                        <a:pt x="567" y="190"/>
                      </a:lnTo>
                      <a:lnTo>
                        <a:pt x="567" y="28"/>
                      </a:lnTo>
                      <a:lnTo>
                        <a:pt x="567" y="28"/>
                      </a:lnTo>
                      <a:lnTo>
                        <a:pt x="567" y="22"/>
                      </a:lnTo>
                      <a:lnTo>
                        <a:pt x="569" y="17"/>
                      </a:lnTo>
                      <a:lnTo>
                        <a:pt x="572" y="12"/>
                      </a:lnTo>
                      <a:lnTo>
                        <a:pt x="575" y="8"/>
                      </a:lnTo>
                      <a:lnTo>
                        <a:pt x="579" y="5"/>
                      </a:lnTo>
                      <a:lnTo>
                        <a:pt x="584" y="2"/>
                      </a:lnTo>
                      <a:lnTo>
                        <a:pt x="589" y="0"/>
                      </a:lnTo>
                      <a:lnTo>
                        <a:pt x="595" y="0"/>
                      </a:lnTo>
                      <a:lnTo>
                        <a:pt x="765" y="0"/>
                      </a:lnTo>
                      <a:lnTo>
                        <a:pt x="765" y="0"/>
                      </a:lnTo>
                      <a:lnTo>
                        <a:pt x="771" y="0"/>
                      </a:lnTo>
                      <a:lnTo>
                        <a:pt x="776" y="2"/>
                      </a:lnTo>
                      <a:lnTo>
                        <a:pt x="781" y="5"/>
                      </a:lnTo>
                      <a:lnTo>
                        <a:pt x="785" y="8"/>
                      </a:lnTo>
                      <a:lnTo>
                        <a:pt x="789" y="12"/>
                      </a:lnTo>
                      <a:lnTo>
                        <a:pt x="791" y="17"/>
                      </a:lnTo>
                      <a:lnTo>
                        <a:pt x="793" y="22"/>
                      </a:lnTo>
                      <a:lnTo>
                        <a:pt x="793" y="28"/>
                      </a:lnTo>
                      <a:lnTo>
                        <a:pt x="793" y="190"/>
                      </a:lnTo>
                      <a:lnTo>
                        <a:pt x="793" y="190"/>
                      </a:lnTo>
                      <a:lnTo>
                        <a:pt x="827" y="199"/>
                      </a:lnTo>
                      <a:lnTo>
                        <a:pt x="862" y="209"/>
                      </a:lnTo>
                      <a:lnTo>
                        <a:pt x="895" y="221"/>
                      </a:lnTo>
                      <a:lnTo>
                        <a:pt x="911" y="228"/>
                      </a:lnTo>
                      <a:lnTo>
                        <a:pt x="925" y="235"/>
                      </a:lnTo>
                      <a:lnTo>
                        <a:pt x="1040" y="119"/>
                      </a:lnTo>
                      <a:lnTo>
                        <a:pt x="1040" y="119"/>
                      </a:lnTo>
                      <a:lnTo>
                        <a:pt x="1046" y="115"/>
                      </a:lnTo>
                      <a:lnTo>
                        <a:pt x="1050" y="112"/>
                      </a:lnTo>
                      <a:lnTo>
                        <a:pt x="1056" y="111"/>
                      </a:lnTo>
                      <a:lnTo>
                        <a:pt x="1061" y="110"/>
                      </a:lnTo>
                      <a:lnTo>
                        <a:pt x="1066" y="111"/>
                      </a:lnTo>
                      <a:lnTo>
                        <a:pt x="1072" y="112"/>
                      </a:lnTo>
                      <a:lnTo>
                        <a:pt x="1076" y="115"/>
                      </a:lnTo>
                      <a:lnTo>
                        <a:pt x="1081" y="119"/>
                      </a:lnTo>
                      <a:lnTo>
                        <a:pt x="1241" y="279"/>
                      </a:lnTo>
                      <a:lnTo>
                        <a:pt x="1241" y="279"/>
                      </a:lnTo>
                      <a:lnTo>
                        <a:pt x="1244" y="284"/>
                      </a:lnTo>
                      <a:lnTo>
                        <a:pt x="1248" y="288"/>
                      </a:lnTo>
                      <a:lnTo>
                        <a:pt x="1249" y="294"/>
                      </a:lnTo>
                      <a:lnTo>
                        <a:pt x="1250" y="299"/>
                      </a:lnTo>
                      <a:lnTo>
                        <a:pt x="1250" y="299"/>
                      </a:lnTo>
                      <a:lnTo>
                        <a:pt x="1249" y="305"/>
                      </a:lnTo>
                      <a:lnTo>
                        <a:pt x="1248" y="310"/>
                      </a:lnTo>
                      <a:lnTo>
                        <a:pt x="1244" y="315"/>
                      </a:lnTo>
                      <a:lnTo>
                        <a:pt x="1241" y="319"/>
                      </a:lnTo>
                      <a:lnTo>
                        <a:pt x="1126" y="435"/>
                      </a:lnTo>
                      <a:lnTo>
                        <a:pt x="1126" y="435"/>
                      </a:lnTo>
                      <a:lnTo>
                        <a:pt x="1132" y="450"/>
                      </a:lnTo>
                      <a:lnTo>
                        <a:pt x="1139" y="465"/>
                      </a:lnTo>
                      <a:lnTo>
                        <a:pt x="1151" y="498"/>
                      </a:lnTo>
                      <a:lnTo>
                        <a:pt x="1161" y="533"/>
                      </a:lnTo>
                      <a:lnTo>
                        <a:pt x="1170" y="567"/>
                      </a:lnTo>
                      <a:lnTo>
                        <a:pt x="1331" y="567"/>
                      </a:lnTo>
                      <a:lnTo>
                        <a:pt x="1331" y="567"/>
                      </a:lnTo>
                      <a:lnTo>
                        <a:pt x="1337" y="568"/>
                      </a:lnTo>
                      <a:lnTo>
                        <a:pt x="1342" y="569"/>
                      </a:lnTo>
                      <a:lnTo>
                        <a:pt x="1348" y="572"/>
                      </a:lnTo>
                      <a:lnTo>
                        <a:pt x="1352" y="575"/>
                      </a:lnTo>
                      <a:lnTo>
                        <a:pt x="1356" y="579"/>
                      </a:lnTo>
                      <a:lnTo>
                        <a:pt x="1358" y="584"/>
                      </a:lnTo>
                      <a:lnTo>
                        <a:pt x="1360" y="589"/>
                      </a:lnTo>
                      <a:lnTo>
                        <a:pt x="1361" y="595"/>
                      </a:lnTo>
                      <a:lnTo>
                        <a:pt x="1361" y="765"/>
                      </a:lnTo>
                      <a:lnTo>
                        <a:pt x="1361" y="765"/>
                      </a:lnTo>
                      <a:lnTo>
                        <a:pt x="1360" y="771"/>
                      </a:lnTo>
                      <a:lnTo>
                        <a:pt x="1358" y="776"/>
                      </a:lnTo>
                      <a:lnTo>
                        <a:pt x="1356" y="781"/>
                      </a:lnTo>
                      <a:lnTo>
                        <a:pt x="1352" y="785"/>
                      </a:lnTo>
                      <a:lnTo>
                        <a:pt x="1348" y="789"/>
                      </a:lnTo>
                      <a:lnTo>
                        <a:pt x="1342" y="791"/>
                      </a:lnTo>
                      <a:lnTo>
                        <a:pt x="1337" y="793"/>
                      </a:lnTo>
                      <a:lnTo>
                        <a:pt x="1331" y="793"/>
                      </a:lnTo>
                      <a:lnTo>
                        <a:pt x="1170" y="793"/>
                      </a:lnTo>
                      <a:lnTo>
                        <a:pt x="1170" y="793"/>
                      </a:lnTo>
                      <a:lnTo>
                        <a:pt x="1161" y="828"/>
                      </a:lnTo>
                      <a:lnTo>
                        <a:pt x="1151" y="863"/>
                      </a:lnTo>
                      <a:lnTo>
                        <a:pt x="1138" y="895"/>
                      </a:lnTo>
                      <a:lnTo>
                        <a:pt x="1132" y="911"/>
                      </a:lnTo>
                      <a:lnTo>
                        <a:pt x="1126" y="926"/>
                      </a:lnTo>
                      <a:lnTo>
                        <a:pt x="1241" y="1041"/>
                      </a:lnTo>
                      <a:lnTo>
                        <a:pt x="1241" y="1041"/>
                      </a:lnTo>
                      <a:lnTo>
                        <a:pt x="1244" y="1046"/>
                      </a:lnTo>
                      <a:lnTo>
                        <a:pt x="1248" y="1051"/>
                      </a:lnTo>
                      <a:lnTo>
                        <a:pt x="1249" y="1056"/>
                      </a:lnTo>
                      <a:lnTo>
                        <a:pt x="1250" y="1061"/>
                      </a:lnTo>
                      <a:lnTo>
                        <a:pt x="1249" y="1067"/>
                      </a:lnTo>
                      <a:lnTo>
                        <a:pt x="1248" y="1072"/>
                      </a:lnTo>
                      <a:lnTo>
                        <a:pt x="1244" y="1077"/>
                      </a:lnTo>
                      <a:lnTo>
                        <a:pt x="1241" y="1081"/>
                      </a:lnTo>
                      <a:lnTo>
                        <a:pt x="1081" y="1242"/>
                      </a:lnTo>
                      <a:lnTo>
                        <a:pt x="1081" y="1242"/>
                      </a:lnTo>
                      <a:lnTo>
                        <a:pt x="1077" y="1245"/>
                      </a:lnTo>
                      <a:lnTo>
                        <a:pt x="1072" y="1248"/>
                      </a:lnTo>
                      <a:lnTo>
                        <a:pt x="1066" y="1249"/>
                      </a:lnTo>
                      <a:lnTo>
                        <a:pt x="1061" y="1250"/>
                      </a:lnTo>
                      <a:lnTo>
                        <a:pt x="1056" y="1249"/>
                      </a:lnTo>
                      <a:lnTo>
                        <a:pt x="1051" y="1248"/>
                      </a:lnTo>
                      <a:lnTo>
                        <a:pt x="1046" y="1245"/>
                      </a:lnTo>
                      <a:lnTo>
                        <a:pt x="1040" y="1242"/>
                      </a:lnTo>
                      <a:lnTo>
                        <a:pt x="925" y="1127"/>
                      </a:lnTo>
                      <a:lnTo>
                        <a:pt x="925" y="1127"/>
                      </a:lnTo>
                      <a:lnTo>
                        <a:pt x="911" y="1133"/>
                      </a:lnTo>
                      <a:lnTo>
                        <a:pt x="895" y="1140"/>
                      </a:lnTo>
                      <a:lnTo>
                        <a:pt x="862" y="1151"/>
                      </a:lnTo>
                      <a:lnTo>
                        <a:pt x="827" y="1161"/>
                      </a:lnTo>
                      <a:lnTo>
                        <a:pt x="793" y="1170"/>
                      </a:lnTo>
                      <a:lnTo>
                        <a:pt x="793" y="1333"/>
                      </a:lnTo>
                      <a:lnTo>
                        <a:pt x="793" y="1333"/>
                      </a:lnTo>
                      <a:lnTo>
                        <a:pt x="793" y="1338"/>
                      </a:lnTo>
                      <a:lnTo>
                        <a:pt x="791" y="1344"/>
                      </a:lnTo>
                      <a:lnTo>
                        <a:pt x="789" y="1348"/>
                      </a:lnTo>
                      <a:lnTo>
                        <a:pt x="785" y="1352"/>
                      </a:lnTo>
                      <a:lnTo>
                        <a:pt x="781" y="1356"/>
                      </a:lnTo>
                      <a:lnTo>
                        <a:pt x="776" y="1358"/>
                      </a:lnTo>
                      <a:lnTo>
                        <a:pt x="771" y="1360"/>
                      </a:lnTo>
                      <a:lnTo>
                        <a:pt x="765" y="1361"/>
                      </a:lnTo>
                      <a:lnTo>
                        <a:pt x="765" y="1361"/>
                      </a:lnTo>
                      <a:close/>
                      <a:moveTo>
                        <a:pt x="623" y="1304"/>
                      </a:moveTo>
                      <a:lnTo>
                        <a:pt x="736" y="1304"/>
                      </a:lnTo>
                      <a:lnTo>
                        <a:pt x="736" y="1148"/>
                      </a:lnTo>
                      <a:lnTo>
                        <a:pt x="736" y="1148"/>
                      </a:lnTo>
                      <a:lnTo>
                        <a:pt x="737" y="1144"/>
                      </a:lnTo>
                      <a:lnTo>
                        <a:pt x="738" y="1139"/>
                      </a:lnTo>
                      <a:lnTo>
                        <a:pt x="740" y="1135"/>
                      </a:lnTo>
                      <a:lnTo>
                        <a:pt x="742" y="1131"/>
                      </a:lnTo>
                      <a:lnTo>
                        <a:pt x="746" y="1128"/>
                      </a:lnTo>
                      <a:lnTo>
                        <a:pt x="750" y="1125"/>
                      </a:lnTo>
                      <a:lnTo>
                        <a:pt x="754" y="1123"/>
                      </a:lnTo>
                      <a:lnTo>
                        <a:pt x="759" y="1121"/>
                      </a:lnTo>
                      <a:lnTo>
                        <a:pt x="759" y="1121"/>
                      </a:lnTo>
                      <a:lnTo>
                        <a:pt x="790" y="1112"/>
                      </a:lnTo>
                      <a:lnTo>
                        <a:pt x="833" y="1100"/>
                      </a:lnTo>
                      <a:lnTo>
                        <a:pt x="856" y="1093"/>
                      </a:lnTo>
                      <a:lnTo>
                        <a:pt x="878" y="1085"/>
                      </a:lnTo>
                      <a:lnTo>
                        <a:pt x="898" y="1076"/>
                      </a:lnTo>
                      <a:lnTo>
                        <a:pt x="916" y="1067"/>
                      </a:lnTo>
                      <a:lnTo>
                        <a:pt x="916" y="1067"/>
                      </a:lnTo>
                      <a:lnTo>
                        <a:pt x="920" y="1065"/>
                      </a:lnTo>
                      <a:lnTo>
                        <a:pt x="924" y="1064"/>
                      </a:lnTo>
                      <a:lnTo>
                        <a:pt x="929" y="1063"/>
                      </a:lnTo>
                      <a:lnTo>
                        <a:pt x="933" y="1063"/>
                      </a:lnTo>
                      <a:lnTo>
                        <a:pt x="938" y="1064"/>
                      </a:lnTo>
                      <a:lnTo>
                        <a:pt x="942" y="1066"/>
                      </a:lnTo>
                      <a:lnTo>
                        <a:pt x="947" y="1068"/>
                      </a:lnTo>
                      <a:lnTo>
                        <a:pt x="951" y="1071"/>
                      </a:lnTo>
                      <a:lnTo>
                        <a:pt x="1061" y="1181"/>
                      </a:lnTo>
                      <a:lnTo>
                        <a:pt x="1181" y="1061"/>
                      </a:lnTo>
                      <a:lnTo>
                        <a:pt x="1071" y="951"/>
                      </a:lnTo>
                      <a:lnTo>
                        <a:pt x="1071" y="951"/>
                      </a:lnTo>
                      <a:lnTo>
                        <a:pt x="1068" y="947"/>
                      </a:lnTo>
                      <a:lnTo>
                        <a:pt x="1066" y="943"/>
                      </a:lnTo>
                      <a:lnTo>
                        <a:pt x="1064" y="939"/>
                      </a:lnTo>
                      <a:lnTo>
                        <a:pt x="1063" y="935"/>
                      </a:lnTo>
                      <a:lnTo>
                        <a:pt x="1063" y="930"/>
                      </a:lnTo>
                      <a:lnTo>
                        <a:pt x="1064" y="925"/>
                      </a:lnTo>
                      <a:lnTo>
                        <a:pt x="1065" y="921"/>
                      </a:lnTo>
                      <a:lnTo>
                        <a:pt x="1067" y="916"/>
                      </a:lnTo>
                      <a:lnTo>
                        <a:pt x="1067" y="916"/>
                      </a:lnTo>
                      <a:lnTo>
                        <a:pt x="1076" y="898"/>
                      </a:lnTo>
                      <a:lnTo>
                        <a:pt x="1085" y="878"/>
                      </a:lnTo>
                      <a:lnTo>
                        <a:pt x="1093" y="856"/>
                      </a:lnTo>
                      <a:lnTo>
                        <a:pt x="1100" y="834"/>
                      </a:lnTo>
                      <a:lnTo>
                        <a:pt x="1112" y="791"/>
                      </a:lnTo>
                      <a:lnTo>
                        <a:pt x="1120" y="759"/>
                      </a:lnTo>
                      <a:lnTo>
                        <a:pt x="1120" y="759"/>
                      </a:lnTo>
                      <a:lnTo>
                        <a:pt x="1122" y="754"/>
                      </a:lnTo>
                      <a:lnTo>
                        <a:pt x="1124" y="750"/>
                      </a:lnTo>
                      <a:lnTo>
                        <a:pt x="1127" y="746"/>
                      </a:lnTo>
                      <a:lnTo>
                        <a:pt x="1130" y="743"/>
                      </a:lnTo>
                      <a:lnTo>
                        <a:pt x="1134" y="741"/>
                      </a:lnTo>
                      <a:lnTo>
                        <a:pt x="1138" y="739"/>
                      </a:lnTo>
                      <a:lnTo>
                        <a:pt x="1143" y="738"/>
                      </a:lnTo>
                      <a:lnTo>
                        <a:pt x="1148" y="737"/>
                      </a:lnTo>
                      <a:lnTo>
                        <a:pt x="1303" y="737"/>
                      </a:lnTo>
                      <a:lnTo>
                        <a:pt x="1303" y="624"/>
                      </a:lnTo>
                      <a:lnTo>
                        <a:pt x="1148" y="624"/>
                      </a:lnTo>
                      <a:lnTo>
                        <a:pt x="1148" y="624"/>
                      </a:lnTo>
                      <a:lnTo>
                        <a:pt x="1142" y="624"/>
                      </a:lnTo>
                      <a:lnTo>
                        <a:pt x="1138" y="622"/>
                      </a:lnTo>
                      <a:lnTo>
                        <a:pt x="1134" y="620"/>
                      </a:lnTo>
                      <a:lnTo>
                        <a:pt x="1130" y="617"/>
                      </a:lnTo>
                      <a:lnTo>
                        <a:pt x="1127" y="614"/>
                      </a:lnTo>
                      <a:lnTo>
                        <a:pt x="1124" y="610"/>
                      </a:lnTo>
                      <a:lnTo>
                        <a:pt x="1122" y="606"/>
                      </a:lnTo>
                      <a:lnTo>
                        <a:pt x="1120" y="602"/>
                      </a:lnTo>
                      <a:lnTo>
                        <a:pt x="1120" y="602"/>
                      </a:lnTo>
                      <a:lnTo>
                        <a:pt x="1112" y="570"/>
                      </a:lnTo>
                      <a:lnTo>
                        <a:pt x="1100" y="528"/>
                      </a:lnTo>
                      <a:lnTo>
                        <a:pt x="1093" y="504"/>
                      </a:lnTo>
                      <a:lnTo>
                        <a:pt x="1085" y="482"/>
                      </a:lnTo>
                      <a:lnTo>
                        <a:pt x="1076" y="462"/>
                      </a:lnTo>
                      <a:lnTo>
                        <a:pt x="1067" y="445"/>
                      </a:lnTo>
                      <a:lnTo>
                        <a:pt x="1067" y="445"/>
                      </a:lnTo>
                      <a:lnTo>
                        <a:pt x="1065" y="440"/>
                      </a:lnTo>
                      <a:lnTo>
                        <a:pt x="1064" y="436"/>
                      </a:lnTo>
                      <a:lnTo>
                        <a:pt x="1063" y="431"/>
                      </a:lnTo>
                      <a:lnTo>
                        <a:pt x="1063" y="427"/>
                      </a:lnTo>
                      <a:lnTo>
                        <a:pt x="1064" y="421"/>
                      </a:lnTo>
                      <a:lnTo>
                        <a:pt x="1066" y="417"/>
                      </a:lnTo>
                      <a:lnTo>
                        <a:pt x="1068" y="413"/>
                      </a:lnTo>
                      <a:lnTo>
                        <a:pt x="1071" y="409"/>
                      </a:lnTo>
                      <a:lnTo>
                        <a:pt x="1181" y="299"/>
                      </a:lnTo>
                      <a:lnTo>
                        <a:pt x="1061" y="179"/>
                      </a:lnTo>
                      <a:lnTo>
                        <a:pt x="951" y="289"/>
                      </a:lnTo>
                      <a:lnTo>
                        <a:pt x="951" y="289"/>
                      </a:lnTo>
                      <a:lnTo>
                        <a:pt x="947" y="292"/>
                      </a:lnTo>
                      <a:lnTo>
                        <a:pt x="942" y="295"/>
                      </a:lnTo>
                      <a:lnTo>
                        <a:pt x="938" y="296"/>
                      </a:lnTo>
                      <a:lnTo>
                        <a:pt x="933" y="297"/>
                      </a:lnTo>
                      <a:lnTo>
                        <a:pt x="929" y="297"/>
                      </a:lnTo>
                      <a:lnTo>
                        <a:pt x="924" y="297"/>
                      </a:lnTo>
                      <a:lnTo>
                        <a:pt x="920" y="295"/>
                      </a:lnTo>
                      <a:lnTo>
                        <a:pt x="916" y="293"/>
                      </a:lnTo>
                      <a:lnTo>
                        <a:pt x="916" y="293"/>
                      </a:lnTo>
                      <a:lnTo>
                        <a:pt x="900" y="285"/>
                      </a:lnTo>
                      <a:lnTo>
                        <a:pt x="882" y="277"/>
                      </a:lnTo>
                      <a:lnTo>
                        <a:pt x="863" y="270"/>
                      </a:lnTo>
                      <a:lnTo>
                        <a:pt x="841" y="263"/>
                      </a:lnTo>
                      <a:lnTo>
                        <a:pt x="798" y="250"/>
                      </a:lnTo>
                      <a:lnTo>
                        <a:pt x="759" y="240"/>
                      </a:lnTo>
                      <a:lnTo>
                        <a:pt x="759" y="240"/>
                      </a:lnTo>
                      <a:lnTo>
                        <a:pt x="754" y="239"/>
                      </a:lnTo>
                      <a:lnTo>
                        <a:pt x="750" y="237"/>
                      </a:lnTo>
                      <a:lnTo>
                        <a:pt x="746" y="234"/>
                      </a:lnTo>
                      <a:lnTo>
                        <a:pt x="742" y="230"/>
                      </a:lnTo>
                      <a:lnTo>
                        <a:pt x="740" y="226"/>
                      </a:lnTo>
                      <a:lnTo>
                        <a:pt x="738" y="221"/>
                      </a:lnTo>
                      <a:lnTo>
                        <a:pt x="737" y="217"/>
                      </a:lnTo>
                      <a:lnTo>
                        <a:pt x="736" y="212"/>
                      </a:lnTo>
                      <a:lnTo>
                        <a:pt x="736" y="57"/>
                      </a:lnTo>
                      <a:lnTo>
                        <a:pt x="623" y="57"/>
                      </a:lnTo>
                      <a:lnTo>
                        <a:pt x="623" y="212"/>
                      </a:lnTo>
                      <a:lnTo>
                        <a:pt x="623" y="212"/>
                      </a:lnTo>
                      <a:lnTo>
                        <a:pt x="623" y="217"/>
                      </a:lnTo>
                      <a:lnTo>
                        <a:pt x="621" y="221"/>
                      </a:lnTo>
                      <a:lnTo>
                        <a:pt x="620" y="226"/>
                      </a:lnTo>
                      <a:lnTo>
                        <a:pt x="617" y="230"/>
                      </a:lnTo>
                      <a:lnTo>
                        <a:pt x="614" y="234"/>
                      </a:lnTo>
                      <a:lnTo>
                        <a:pt x="610" y="237"/>
                      </a:lnTo>
                      <a:lnTo>
                        <a:pt x="606" y="239"/>
                      </a:lnTo>
                      <a:lnTo>
                        <a:pt x="601" y="240"/>
                      </a:lnTo>
                      <a:lnTo>
                        <a:pt x="601" y="240"/>
                      </a:lnTo>
                      <a:lnTo>
                        <a:pt x="570" y="248"/>
                      </a:lnTo>
                      <a:lnTo>
                        <a:pt x="526" y="260"/>
                      </a:lnTo>
                      <a:lnTo>
                        <a:pt x="504" y="267"/>
                      </a:lnTo>
                      <a:lnTo>
                        <a:pt x="482" y="275"/>
                      </a:lnTo>
                      <a:lnTo>
                        <a:pt x="462" y="284"/>
                      </a:lnTo>
                      <a:lnTo>
                        <a:pt x="445" y="293"/>
                      </a:lnTo>
                      <a:lnTo>
                        <a:pt x="445" y="293"/>
                      </a:lnTo>
                      <a:lnTo>
                        <a:pt x="439" y="295"/>
                      </a:lnTo>
                      <a:lnTo>
                        <a:pt x="435" y="297"/>
                      </a:lnTo>
                      <a:lnTo>
                        <a:pt x="430" y="297"/>
                      </a:lnTo>
                      <a:lnTo>
                        <a:pt x="426" y="297"/>
                      </a:lnTo>
                      <a:lnTo>
                        <a:pt x="421" y="296"/>
                      </a:lnTo>
                      <a:lnTo>
                        <a:pt x="417" y="295"/>
                      </a:lnTo>
                      <a:lnTo>
                        <a:pt x="413" y="292"/>
                      </a:lnTo>
                      <a:lnTo>
                        <a:pt x="409" y="289"/>
                      </a:lnTo>
                      <a:lnTo>
                        <a:pt x="299" y="179"/>
                      </a:lnTo>
                      <a:lnTo>
                        <a:pt x="179" y="299"/>
                      </a:lnTo>
                      <a:lnTo>
                        <a:pt x="289" y="409"/>
                      </a:lnTo>
                      <a:lnTo>
                        <a:pt x="289" y="409"/>
                      </a:lnTo>
                      <a:lnTo>
                        <a:pt x="292" y="413"/>
                      </a:lnTo>
                      <a:lnTo>
                        <a:pt x="295" y="417"/>
                      </a:lnTo>
                      <a:lnTo>
                        <a:pt x="296" y="421"/>
                      </a:lnTo>
                      <a:lnTo>
                        <a:pt x="297" y="427"/>
                      </a:lnTo>
                      <a:lnTo>
                        <a:pt x="297" y="431"/>
                      </a:lnTo>
                      <a:lnTo>
                        <a:pt x="297" y="436"/>
                      </a:lnTo>
                      <a:lnTo>
                        <a:pt x="295" y="440"/>
                      </a:lnTo>
                      <a:lnTo>
                        <a:pt x="293" y="445"/>
                      </a:lnTo>
                      <a:lnTo>
                        <a:pt x="293" y="445"/>
                      </a:lnTo>
                      <a:lnTo>
                        <a:pt x="284" y="462"/>
                      </a:lnTo>
                      <a:lnTo>
                        <a:pt x="275" y="482"/>
                      </a:lnTo>
                      <a:lnTo>
                        <a:pt x="267" y="504"/>
                      </a:lnTo>
                      <a:lnTo>
                        <a:pt x="260" y="527"/>
                      </a:lnTo>
                      <a:lnTo>
                        <a:pt x="248" y="570"/>
                      </a:lnTo>
                      <a:lnTo>
                        <a:pt x="239" y="602"/>
                      </a:lnTo>
                      <a:lnTo>
                        <a:pt x="239" y="602"/>
                      </a:lnTo>
                      <a:lnTo>
                        <a:pt x="238" y="606"/>
                      </a:lnTo>
                      <a:lnTo>
                        <a:pt x="235" y="610"/>
                      </a:lnTo>
                      <a:lnTo>
                        <a:pt x="233" y="614"/>
                      </a:lnTo>
                      <a:lnTo>
                        <a:pt x="229" y="617"/>
                      </a:lnTo>
                      <a:lnTo>
                        <a:pt x="225" y="620"/>
                      </a:lnTo>
                      <a:lnTo>
                        <a:pt x="221" y="622"/>
                      </a:lnTo>
                      <a:lnTo>
                        <a:pt x="217" y="624"/>
                      </a:lnTo>
                      <a:lnTo>
                        <a:pt x="212" y="624"/>
                      </a:lnTo>
                      <a:lnTo>
                        <a:pt x="57" y="624"/>
                      </a:lnTo>
                      <a:lnTo>
                        <a:pt x="57" y="737"/>
                      </a:lnTo>
                      <a:lnTo>
                        <a:pt x="212" y="737"/>
                      </a:lnTo>
                      <a:lnTo>
                        <a:pt x="212" y="737"/>
                      </a:lnTo>
                      <a:lnTo>
                        <a:pt x="217" y="738"/>
                      </a:lnTo>
                      <a:lnTo>
                        <a:pt x="221" y="739"/>
                      </a:lnTo>
                      <a:lnTo>
                        <a:pt x="225" y="741"/>
                      </a:lnTo>
                      <a:lnTo>
                        <a:pt x="229" y="743"/>
                      </a:lnTo>
                      <a:lnTo>
                        <a:pt x="233" y="746"/>
                      </a:lnTo>
                      <a:lnTo>
                        <a:pt x="235" y="750"/>
                      </a:lnTo>
                      <a:lnTo>
                        <a:pt x="238" y="754"/>
                      </a:lnTo>
                      <a:lnTo>
                        <a:pt x="239" y="759"/>
                      </a:lnTo>
                      <a:lnTo>
                        <a:pt x="239" y="759"/>
                      </a:lnTo>
                      <a:lnTo>
                        <a:pt x="248" y="791"/>
                      </a:lnTo>
                      <a:lnTo>
                        <a:pt x="260" y="834"/>
                      </a:lnTo>
                      <a:lnTo>
                        <a:pt x="267" y="856"/>
                      </a:lnTo>
                      <a:lnTo>
                        <a:pt x="275" y="878"/>
                      </a:lnTo>
                      <a:lnTo>
                        <a:pt x="284" y="898"/>
                      </a:lnTo>
                      <a:lnTo>
                        <a:pt x="293" y="916"/>
                      </a:lnTo>
                      <a:lnTo>
                        <a:pt x="293" y="916"/>
                      </a:lnTo>
                      <a:lnTo>
                        <a:pt x="295" y="921"/>
                      </a:lnTo>
                      <a:lnTo>
                        <a:pt x="297" y="925"/>
                      </a:lnTo>
                      <a:lnTo>
                        <a:pt x="297" y="930"/>
                      </a:lnTo>
                      <a:lnTo>
                        <a:pt x="297" y="935"/>
                      </a:lnTo>
                      <a:lnTo>
                        <a:pt x="296" y="939"/>
                      </a:lnTo>
                      <a:lnTo>
                        <a:pt x="295" y="943"/>
                      </a:lnTo>
                      <a:lnTo>
                        <a:pt x="292" y="947"/>
                      </a:lnTo>
                      <a:lnTo>
                        <a:pt x="289" y="951"/>
                      </a:lnTo>
                      <a:lnTo>
                        <a:pt x="179" y="1061"/>
                      </a:lnTo>
                      <a:lnTo>
                        <a:pt x="299" y="1181"/>
                      </a:lnTo>
                      <a:lnTo>
                        <a:pt x="409" y="1071"/>
                      </a:lnTo>
                      <a:lnTo>
                        <a:pt x="409" y="1071"/>
                      </a:lnTo>
                      <a:lnTo>
                        <a:pt x="413" y="1068"/>
                      </a:lnTo>
                      <a:lnTo>
                        <a:pt x="417" y="1066"/>
                      </a:lnTo>
                      <a:lnTo>
                        <a:pt x="421" y="1064"/>
                      </a:lnTo>
                      <a:lnTo>
                        <a:pt x="426" y="1063"/>
                      </a:lnTo>
                      <a:lnTo>
                        <a:pt x="430" y="1063"/>
                      </a:lnTo>
                      <a:lnTo>
                        <a:pt x="435" y="1064"/>
                      </a:lnTo>
                      <a:lnTo>
                        <a:pt x="439" y="1065"/>
                      </a:lnTo>
                      <a:lnTo>
                        <a:pt x="445" y="1067"/>
                      </a:lnTo>
                      <a:lnTo>
                        <a:pt x="445" y="1067"/>
                      </a:lnTo>
                      <a:lnTo>
                        <a:pt x="462" y="1076"/>
                      </a:lnTo>
                      <a:lnTo>
                        <a:pt x="482" y="1085"/>
                      </a:lnTo>
                      <a:lnTo>
                        <a:pt x="504" y="1093"/>
                      </a:lnTo>
                      <a:lnTo>
                        <a:pt x="526" y="1100"/>
                      </a:lnTo>
                      <a:lnTo>
                        <a:pt x="570" y="1112"/>
                      </a:lnTo>
                      <a:lnTo>
                        <a:pt x="602" y="1121"/>
                      </a:lnTo>
                      <a:lnTo>
                        <a:pt x="602" y="1121"/>
                      </a:lnTo>
                      <a:lnTo>
                        <a:pt x="606" y="1123"/>
                      </a:lnTo>
                      <a:lnTo>
                        <a:pt x="610" y="1125"/>
                      </a:lnTo>
                      <a:lnTo>
                        <a:pt x="614" y="1128"/>
                      </a:lnTo>
                      <a:lnTo>
                        <a:pt x="617" y="1131"/>
                      </a:lnTo>
                      <a:lnTo>
                        <a:pt x="620" y="1135"/>
                      </a:lnTo>
                      <a:lnTo>
                        <a:pt x="621" y="1139"/>
                      </a:lnTo>
                      <a:lnTo>
                        <a:pt x="623" y="1144"/>
                      </a:lnTo>
                      <a:lnTo>
                        <a:pt x="623" y="1148"/>
                      </a:lnTo>
                      <a:lnTo>
                        <a:pt x="623" y="130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6" name="Freeform 17">
                  <a:extLst>
                    <a:ext uri="{FF2B5EF4-FFF2-40B4-BE49-F238E27FC236}">
                      <a16:creationId xmlns:a16="http://schemas.microsoft.com/office/drawing/2014/main" id="{2AAA7E09-77A7-8149-DBC5-3710B8D16616}"/>
                    </a:ext>
                  </a:extLst>
                </p:cNvPr>
                <p:cNvSpPr>
                  <a:spLocks noEditPoints="1"/>
                </p:cNvSpPr>
                <p:nvPr/>
              </p:nvSpPr>
              <p:spPr bwMode="auto">
                <a:xfrm>
                  <a:off x="4221163" y="4073526"/>
                  <a:ext cx="150813" cy="150813"/>
                </a:xfrm>
                <a:custGeom>
                  <a:avLst/>
                  <a:gdLst>
                    <a:gd name="T0" fmla="*/ 255 w 568"/>
                    <a:gd name="T1" fmla="*/ 565 h 567"/>
                    <a:gd name="T2" fmla="*/ 200 w 568"/>
                    <a:gd name="T3" fmla="*/ 554 h 567"/>
                    <a:gd name="T4" fmla="*/ 149 w 568"/>
                    <a:gd name="T5" fmla="*/ 533 h 567"/>
                    <a:gd name="T6" fmla="*/ 104 w 568"/>
                    <a:gd name="T7" fmla="*/ 502 h 567"/>
                    <a:gd name="T8" fmla="*/ 66 w 568"/>
                    <a:gd name="T9" fmla="*/ 464 h 567"/>
                    <a:gd name="T10" fmla="*/ 34 w 568"/>
                    <a:gd name="T11" fmla="*/ 418 h 567"/>
                    <a:gd name="T12" fmla="*/ 13 w 568"/>
                    <a:gd name="T13" fmla="*/ 368 h 567"/>
                    <a:gd name="T14" fmla="*/ 2 w 568"/>
                    <a:gd name="T15" fmla="*/ 312 h 567"/>
                    <a:gd name="T16" fmla="*/ 1 w 568"/>
                    <a:gd name="T17" fmla="*/ 269 h 567"/>
                    <a:gd name="T18" fmla="*/ 9 w 568"/>
                    <a:gd name="T19" fmla="*/ 212 h 567"/>
                    <a:gd name="T20" fmla="*/ 28 w 568"/>
                    <a:gd name="T21" fmla="*/ 161 h 567"/>
                    <a:gd name="T22" fmla="*/ 57 w 568"/>
                    <a:gd name="T23" fmla="*/ 113 h 567"/>
                    <a:gd name="T24" fmla="*/ 94 w 568"/>
                    <a:gd name="T25" fmla="*/ 74 h 567"/>
                    <a:gd name="T26" fmla="*/ 137 w 568"/>
                    <a:gd name="T27" fmla="*/ 41 h 567"/>
                    <a:gd name="T28" fmla="*/ 187 w 568"/>
                    <a:gd name="T29" fmla="*/ 17 h 567"/>
                    <a:gd name="T30" fmla="*/ 240 w 568"/>
                    <a:gd name="T31" fmla="*/ 3 h 567"/>
                    <a:gd name="T32" fmla="*/ 284 w 568"/>
                    <a:gd name="T33" fmla="*/ 0 h 567"/>
                    <a:gd name="T34" fmla="*/ 341 w 568"/>
                    <a:gd name="T35" fmla="*/ 5 h 567"/>
                    <a:gd name="T36" fmla="*/ 394 w 568"/>
                    <a:gd name="T37" fmla="*/ 22 h 567"/>
                    <a:gd name="T38" fmla="*/ 442 w 568"/>
                    <a:gd name="T39" fmla="*/ 49 h 567"/>
                    <a:gd name="T40" fmla="*/ 484 w 568"/>
                    <a:gd name="T41" fmla="*/ 83 h 567"/>
                    <a:gd name="T42" fmla="*/ 519 w 568"/>
                    <a:gd name="T43" fmla="*/ 124 h 567"/>
                    <a:gd name="T44" fmla="*/ 545 w 568"/>
                    <a:gd name="T45" fmla="*/ 173 h 567"/>
                    <a:gd name="T46" fmla="*/ 562 w 568"/>
                    <a:gd name="T47" fmla="*/ 227 h 567"/>
                    <a:gd name="T48" fmla="*/ 568 w 568"/>
                    <a:gd name="T49" fmla="*/ 283 h 567"/>
                    <a:gd name="T50" fmla="*/ 564 w 568"/>
                    <a:gd name="T51" fmla="*/ 327 h 567"/>
                    <a:gd name="T52" fmla="*/ 551 w 568"/>
                    <a:gd name="T53" fmla="*/ 381 h 567"/>
                    <a:gd name="T54" fmla="*/ 526 w 568"/>
                    <a:gd name="T55" fmla="*/ 431 h 567"/>
                    <a:gd name="T56" fmla="*/ 494 w 568"/>
                    <a:gd name="T57" fmla="*/ 474 h 567"/>
                    <a:gd name="T58" fmla="*/ 454 w 568"/>
                    <a:gd name="T59" fmla="*/ 510 h 567"/>
                    <a:gd name="T60" fmla="*/ 407 w 568"/>
                    <a:gd name="T61" fmla="*/ 539 h 567"/>
                    <a:gd name="T62" fmla="*/ 355 w 568"/>
                    <a:gd name="T63" fmla="*/ 558 h 567"/>
                    <a:gd name="T64" fmla="*/ 299 w 568"/>
                    <a:gd name="T65" fmla="*/ 566 h 567"/>
                    <a:gd name="T66" fmla="*/ 284 w 568"/>
                    <a:gd name="T67" fmla="*/ 57 h 567"/>
                    <a:gd name="T68" fmla="*/ 196 w 568"/>
                    <a:gd name="T69" fmla="*/ 74 h 567"/>
                    <a:gd name="T70" fmla="*/ 123 w 568"/>
                    <a:gd name="T71" fmla="*/ 123 h 567"/>
                    <a:gd name="T72" fmla="*/ 75 w 568"/>
                    <a:gd name="T73" fmla="*/ 195 h 567"/>
                    <a:gd name="T74" fmla="*/ 58 w 568"/>
                    <a:gd name="T75" fmla="*/ 283 h 567"/>
                    <a:gd name="T76" fmla="*/ 68 w 568"/>
                    <a:gd name="T77" fmla="*/ 351 h 567"/>
                    <a:gd name="T78" fmla="*/ 109 w 568"/>
                    <a:gd name="T79" fmla="*/ 428 h 567"/>
                    <a:gd name="T80" fmla="*/ 176 w 568"/>
                    <a:gd name="T81" fmla="*/ 483 h 567"/>
                    <a:gd name="T82" fmla="*/ 261 w 568"/>
                    <a:gd name="T83" fmla="*/ 509 h 567"/>
                    <a:gd name="T84" fmla="*/ 329 w 568"/>
                    <a:gd name="T85" fmla="*/ 505 h 567"/>
                    <a:gd name="T86" fmla="*/ 411 w 568"/>
                    <a:gd name="T87" fmla="*/ 471 h 567"/>
                    <a:gd name="T88" fmla="*/ 472 w 568"/>
                    <a:gd name="T89" fmla="*/ 410 h 567"/>
                    <a:gd name="T90" fmla="*/ 506 w 568"/>
                    <a:gd name="T91" fmla="*/ 329 h 567"/>
                    <a:gd name="T92" fmla="*/ 509 w 568"/>
                    <a:gd name="T93" fmla="*/ 260 h 567"/>
                    <a:gd name="T94" fmla="*/ 483 w 568"/>
                    <a:gd name="T95" fmla="*/ 175 h 567"/>
                    <a:gd name="T96" fmla="*/ 428 w 568"/>
                    <a:gd name="T97" fmla="*/ 108 h 567"/>
                    <a:gd name="T98" fmla="*/ 352 w 568"/>
                    <a:gd name="T99" fmla="*/ 67 h 567"/>
                    <a:gd name="T100" fmla="*/ 284 w 568"/>
                    <a:gd name="T101" fmla="*/ 57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8" h="567">
                      <a:moveTo>
                        <a:pt x="284" y="567"/>
                      </a:moveTo>
                      <a:lnTo>
                        <a:pt x="284" y="567"/>
                      </a:lnTo>
                      <a:lnTo>
                        <a:pt x="270" y="566"/>
                      </a:lnTo>
                      <a:lnTo>
                        <a:pt x="255" y="565"/>
                      </a:lnTo>
                      <a:lnTo>
                        <a:pt x="240" y="564"/>
                      </a:lnTo>
                      <a:lnTo>
                        <a:pt x="227" y="561"/>
                      </a:lnTo>
                      <a:lnTo>
                        <a:pt x="213" y="558"/>
                      </a:lnTo>
                      <a:lnTo>
                        <a:pt x="200" y="554"/>
                      </a:lnTo>
                      <a:lnTo>
                        <a:pt x="187" y="550"/>
                      </a:lnTo>
                      <a:lnTo>
                        <a:pt x="174" y="545"/>
                      </a:lnTo>
                      <a:lnTo>
                        <a:pt x="162" y="539"/>
                      </a:lnTo>
                      <a:lnTo>
                        <a:pt x="149" y="533"/>
                      </a:lnTo>
                      <a:lnTo>
                        <a:pt x="137" y="526"/>
                      </a:lnTo>
                      <a:lnTo>
                        <a:pt x="125" y="518"/>
                      </a:lnTo>
                      <a:lnTo>
                        <a:pt x="114" y="510"/>
                      </a:lnTo>
                      <a:lnTo>
                        <a:pt x="104" y="502"/>
                      </a:lnTo>
                      <a:lnTo>
                        <a:pt x="94" y="493"/>
                      </a:lnTo>
                      <a:lnTo>
                        <a:pt x="84" y="484"/>
                      </a:lnTo>
                      <a:lnTo>
                        <a:pt x="74" y="474"/>
                      </a:lnTo>
                      <a:lnTo>
                        <a:pt x="66" y="464"/>
                      </a:lnTo>
                      <a:lnTo>
                        <a:pt x="57" y="453"/>
                      </a:lnTo>
                      <a:lnTo>
                        <a:pt x="49" y="442"/>
                      </a:lnTo>
                      <a:lnTo>
                        <a:pt x="41" y="431"/>
                      </a:lnTo>
                      <a:lnTo>
                        <a:pt x="34" y="418"/>
                      </a:lnTo>
                      <a:lnTo>
                        <a:pt x="28" y="406"/>
                      </a:lnTo>
                      <a:lnTo>
                        <a:pt x="23" y="393"/>
                      </a:lnTo>
                      <a:lnTo>
                        <a:pt x="18" y="381"/>
                      </a:lnTo>
                      <a:lnTo>
                        <a:pt x="13" y="368"/>
                      </a:lnTo>
                      <a:lnTo>
                        <a:pt x="9" y="354"/>
                      </a:lnTo>
                      <a:lnTo>
                        <a:pt x="6" y="341"/>
                      </a:lnTo>
                      <a:lnTo>
                        <a:pt x="4" y="327"/>
                      </a:lnTo>
                      <a:lnTo>
                        <a:pt x="2" y="312"/>
                      </a:lnTo>
                      <a:lnTo>
                        <a:pt x="1" y="298"/>
                      </a:lnTo>
                      <a:lnTo>
                        <a:pt x="0" y="283"/>
                      </a:lnTo>
                      <a:lnTo>
                        <a:pt x="0" y="283"/>
                      </a:lnTo>
                      <a:lnTo>
                        <a:pt x="1" y="269"/>
                      </a:lnTo>
                      <a:lnTo>
                        <a:pt x="2" y="255"/>
                      </a:lnTo>
                      <a:lnTo>
                        <a:pt x="4" y="241"/>
                      </a:lnTo>
                      <a:lnTo>
                        <a:pt x="6" y="227"/>
                      </a:lnTo>
                      <a:lnTo>
                        <a:pt x="9" y="212"/>
                      </a:lnTo>
                      <a:lnTo>
                        <a:pt x="13" y="199"/>
                      </a:lnTo>
                      <a:lnTo>
                        <a:pt x="18" y="186"/>
                      </a:lnTo>
                      <a:lnTo>
                        <a:pt x="23" y="173"/>
                      </a:lnTo>
                      <a:lnTo>
                        <a:pt x="28" y="161"/>
                      </a:lnTo>
                      <a:lnTo>
                        <a:pt x="34" y="149"/>
                      </a:lnTo>
                      <a:lnTo>
                        <a:pt x="41" y="137"/>
                      </a:lnTo>
                      <a:lnTo>
                        <a:pt x="49" y="124"/>
                      </a:lnTo>
                      <a:lnTo>
                        <a:pt x="57" y="113"/>
                      </a:lnTo>
                      <a:lnTo>
                        <a:pt x="66" y="103"/>
                      </a:lnTo>
                      <a:lnTo>
                        <a:pt x="74" y="93"/>
                      </a:lnTo>
                      <a:lnTo>
                        <a:pt x="84" y="83"/>
                      </a:lnTo>
                      <a:lnTo>
                        <a:pt x="94" y="74"/>
                      </a:lnTo>
                      <a:lnTo>
                        <a:pt x="104" y="65"/>
                      </a:lnTo>
                      <a:lnTo>
                        <a:pt x="114" y="56"/>
                      </a:lnTo>
                      <a:lnTo>
                        <a:pt x="125" y="49"/>
                      </a:lnTo>
                      <a:lnTo>
                        <a:pt x="137" y="41"/>
                      </a:lnTo>
                      <a:lnTo>
                        <a:pt x="149" y="34"/>
                      </a:lnTo>
                      <a:lnTo>
                        <a:pt x="162" y="28"/>
                      </a:lnTo>
                      <a:lnTo>
                        <a:pt x="174" y="22"/>
                      </a:lnTo>
                      <a:lnTo>
                        <a:pt x="187" y="17"/>
                      </a:lnTo>
                      <a:lnTo>
                        <a:pt x="200" y="12"/>
                      </a:lnTo>
                      <a:lnTo>
                        <a:pt x="213" y="8"/>
                      </a:lnTo>
                      <a:lnTo>
                        <a:pt x="227" y="5"/>
                      </a:lnTo>
                      <a:lnTo>
                        <a:pt x="240" y="3"/>
                      </a:lnTo>
                      <a:lnTo>
                        <a:pt x="255" y="1"/>
                      </a:lnTo>
                      <a:lnTo>
                        <a:pt x="270" y="0"/>
                      </a:lnTo>
                      <a:lnTo>
                        <a:pt x="284" y="0"/>
                      </a:lnTo>
                      <a:lnTo>
                        <a:pt x="284" y="0"/>
                      </a:lnTo>
                      <a:lnTo>
                        <a:pt x="299" y="0"/>
                      </a:lnTo>
                      <a:lnTo>
                        <a:pt x="313" y="1"/>
                      </a:lnTo>
                      <a:lnTo>
                        <a:pt x="327" y="3"/>
                      </a:lnTo>
                      <a:lnTo>
                        <a:pt x="341" y="5"/>
                      </a:lnTo>
                      <a:lnTo>
                        <a:pt x="355" y="8"/>
                      </a:lnTo>
                      <a:lnTo>
                        <a:pt x="368" y="12"/>
                      </a:lnTo>
                      <a:lnTo>
                        <a:pt x="381" y="17"/>
                      </a:lnTo>
                      <a:lnTo>
                        <a:pt x="394" y="22"/>
                      </a:lnTo>
                      <a:lnTo>
                        <a:pt x="407" y="28"/>
                      </a:lnTo>
                      <a:lnTo>
                        <a:pt x="419" y="34"/>
                      </a:lnTo>
                      <a:lnTo>
                        <a:pt x="430" y="41"/>
                      </a:lnTo>
                      <a:lnTo>
                        <a:pt x="442" y="49"/>
                      </a:lnTo>
                      <a:lnTo>
                        <a:pt x="454" y="56"/>
                      </a:lnTo>
                      <a:lnTo>
                        <a:pt x="464" y="65"/>
                      </a:lnTo>
                      <a:lnTo>
                        <a:pt x="475" y="74"/>
                      </a:lnTo>
                      <a:lnTo>
                        <a:pt x="484" y="83"/>
                      </a:lnTo>
                      <a:lnTo>
                        <a:pt x="494" y="93"/>
                      </a:lnTo>
                      <a:lnTo>
                        <a:pt x="503" y="103"/>
                      </a:lnTo>
                      <a:lnTo>
                        <a:pt x="511" y="113"/>
                      </a:lnTo>
                      <a:lnTo>
                        <a:pt x="519" y="124"/>
                      </a:lnTo>
                      <a:lnTo>
                        <a:pt x="526" y="137"/>
                      </a:lnTo>
                      <a:lnTo>
                        <a:pt x="533" y="149"/>
                      </a:lnTo>
                      <a:lnTo>
                        <a:pt x="539" y="161"/>
                      </a:lnTo>
                      <a:lnTo>
                        <a:pt x="545" y="173"/>
                      </a:lnTo>
                      <a:lnTo>
                        <a:pt x="551" y="186"/>
                      </a:lnTo>
                      <a:lnTo>
                        <a:pt x="555" y="199"/>
                      </a:lnTo>
                      <a:lnTo>
                        <a:pt x="559" y="212"/>
                      </a:lnTo>
                      <a:lnTo>
                        <a:pt x="562" y="227"/>
                      </a:lnTo>
                      <a:lnTo>
                        <a:pt x="564" y="241"/>
                      </a:lnTo>
                      <a:lnTo>
                        <a:pt x="566" y="255"/>
                      </a:lnTo>
                      <a:lnTo>
                        <a:pt x="567" y="269"/>
                      </a:lnTo>
                      <a:lnTo>
                        <a:pt x="568" y="283"/>
                      </a:lnTo>
                      <a:lnTo>
                        <a:pt x="568" y="283"/>
                      </a:lnTo>
                      <a:lnTo>
                        <a:pt x="567" y="298"/>
                      </a:lnTo>
                      <a:lnTo>
                        <a:pt x="566" y="312"/>
                      </a:lnTo>
                      <a:lnTo>
                        <a:pt x="564" y="327"/>
                      </a:lnTo>
                      <a:lnTo>
                        <a:pt x="562" y="341"/>
                      </a:lnTo>
                      <a:lnTo>
                        <a:pt x="559" y="354"/>
                      </a:lnTo>
                      <a:lnTo>
                        <a:pt x="555" y="368"/>
                      </a:lnTo>
                      <a:lnTo>
                        <a:pt x="551" y="381"/>
                      </a:lnTo>
                      <a:lnTo>
                        <a:pt x="545" y="393"/>
                      </a:lnTo>
                      <a:lnTo>
                        <a:pt x="539" y="406"/>
                      </a:lnTo>
                      <a:lnTo>
                        <a:pt x="533" y="418"/>
                      </a:lnTo>
                      <a:lnTo>
                        <a:pt x="526" y="431"/>
                      </a:lnTo>
                      <a:lnTo>
                        <a:pt x="519" y="442"/>
                      </a:lnTo>
                      <a:lnTo>
                        <a:pt x="511" y="453"/>
                      </a:lnTo>
                      <a:lnTo>
                        <a:pt x="503" y="464"/>
                      </a:lnTo>
                      <a:lnTo>
                        <a:pt x="494" y="474"/>
                      </a:lnTo>
                      <a:lnTo>
                        <a:pt x="484" y="484"/>
                      </a:lnTo>
                      <a:lnTo>
                        <a:pt x="475" y="493"/>
                      </a:lnTo>
                      <a:lnTo>
                        <a:pt x="464" y="502"/>
                      </a:lnTo>
                      <a:lnTo>
                        <a:pt x="454" y="510"/>
                      </a:lnTo>
                      <a:lnTo>
                        <a:pt x="442" y="518"/>
                      </a:lnTo>
                      <a:lnTo>
                        <a:pt x="430" y="526"/>
                      </a:lnTo>
                      <a:lnTo>
                        <a:pt x="419" y="533"/>
                      </a:lnTo>
                      <a:lnTo>
                        <a:pt x="407" y="539"/>
                      </a:lnTo>
                      <a:lnTo>
                        <a:pt x="394" y="545"/>
                      </a:lnTo>
                      <a:lnTo>
                        <a:pt x="381" y="550"/>
                      </a:lnTo>
                      <a:lnTo>
                        <a:pt x="368" y="554"/>
                      </a:lnTo>
                      <a:lnTo>
                        <a:pt x="355" y="558"/>
                      </a:lnTo>
                      <a:lnTo>
                        <a:pt x="341" y="561"/>
                      </a:lnTo>
                      <a:lnTo>
                        <a:pt x="327" y="564"/>
                      </a:lnTo>
                      <a:lnTo>
                        <a:pt x="313" y="565"/>
                      </a:lnTo>
                      <a:lnTo>
                        <a:pt x="299" y="566"/>
                      </a:lnTo>
                      <a:lnTo>
                        <a:pt x="284" y="567"/>
                      </a:lnTo>
                      <a:lnTo>
                        <a:pt x="284" y="567"/>
                      </a:lnTo>
                      <a:close/>
                      <a:moveTo>
                        <a:pt x="284" y="57"/>
                      </a:moveTo>
                      <a:lnTo>
                        <a:pt x="284" y="57"/>
                      </a:lnTo>
                      <a:lnTo>
                        <a:pt x="261" y="58"/>
                      </a:lnTo>
                      <a:lnTo>
                        <a:pt x="238" y="61"/>
                      </a:lnTo>
                      <a:lnTo>
                        <a:pt x="216" y="67"/>
                      </a:lnTo>
                      <a:lnTo>
                        <a:pt x="196" y="74"/>
                      </a:lnTo>
                      <a:lnTo>
                        <a:pt x="176" y="84"/>
                      </a:lnTo>
                      <a:lnTo>
                        <a:pt x="158" y="95"/>
                      </a:lnTo>
                      <a:lnTo>
                        <a:pt x="139" y="108"/>
                      </a:lnTo>
                      <a:lnTo>
                        <a:pt x="123" y="123"/>
                      </a:lnTo>
                      <a:lnTo>
                        <a:pt x="109" y="139"/>
                      </a:lnTo>
                      <a:lnTo>
                        <a:pt x="96" y="157"/>
                      </a:lnTo>
                      <a:lnTo>
                        <a:pt x="85" y="175"/>
                      </a:lnTo>
                      <a:lnTo>
                        <a:pt x="75" y="195"/>
                      </a:lnTo>
                      <a:lnTo>
                        <a:pt x="68" y="216"/>
                      </a:lnTo>
                      <a:lnTo>
                        <a:pt x="62" y="238"/>
                      </a:lnTo>
                      <a:lnTo>
                        <a:pt x="59" y="260"/>
                      </a:lnTo>
                      <a:lnTo>
                        <a:pt x="58" y="283"/>
                      </a:lnTo>
                      <a:lnTo>
                        <a:pt x="58" y="283"/>
                      </a:lnTo>
                      <a:lnTo>
                        <a:pt x="59" y="306"/>
                      </a:lnTo>
                      <a:lnTo>
                        <a:pt x="62" y="329"/>
                      </a:lnTo>
                      <a:lnTo>
                        <a:pt x="68" y="351"/>
                      </a:lnTo>
                      <a:lnTo>
                        <a:pt x="75" y="371"/>
                      </a:lnTo>
                      <a:lnTo>
                        <a:pt x="85" y="391"/>
                      </a:lnTo>
                      <a:lnTo>
                        <a:pt x="96" y="410"/>
                      </a:lnTo>
                      <a:lnTo>
                        <a:pt x="109" y="428"/>
                      </a:lnTo>
                      <a:lnTo>
                        <a:pt x="123" y="444"/>
                      </a:lnTo>
                      <a:lnTo>
                        <a:pt x="139" y="458"/>
                      </a:lnTo>
                      <a:lnTo>
                        <a:pt x="158" y="471"/>
                      </a:lnTo>
                      <a:lnTo>
                        <a:pt x="176" y="483"/>
                      </a:lnTo>
                      <a:lnTo>
                        <a:pt x="196" y="492"/>
                      </a:lnTo>
                      <a:lnTo>
                        <a:pt x="216" y="500"/>
                      </a:lnTo>
                      <a:lnTo>
                        <a:pt x="238" y="505"/>
                      </a:lnTo>
                      <a:lnTo>
                        <a:pt x="261" y="509"/>
                      </a:lnTo>
                      <a:lnTo>
                        <a:pt x="284" y="510"/>
                      </a:lnTo>
                      <a:lnTo>
                        <a:pt x="284" y="510"/>
                      </a:lnTo>
                      <a:lnTo>
                        <a:pt x="307" y="509"/>
                      </a:lnTo>
                      <a:lnTo>
                        <a:pt x="329" y="505"/>
                      </a:lnTo>
                      <a:lnTo>
                        <a:pt x="352" y="500"/>
                      </a:lnTo>
                      <a:lnTo>
                        <a:pt x="372" y="492"/>
                      </a:lnTo>
                      <a:lnTo>
                        <a:pt x="392" y="483"/>
                      </a:lnTo>
                      <a:lnTo>
                        <a:pt x="411" y="471"/>
                      </a:lnTo>
                      <a:lnTo>
                        <a:pt x="428" y="458"/>
                      </a:lnTo>
                      <a:lnTo>
                        <a:pt x="444" y="444"/>
                      </a:lnTo>
                      <a:lnTo>
                        <a:pt x="459" y="428"/>
                      </a:lnTo>
                      <a:lnTo>
                        <a:pt x="472" y="410"/>
                      </a:lnTo>
                      <a:lnTo>
                        <a:pt x="483" y="391"/>
                      </a:lnTo>
                      <a:lnTo>
                        <a:pt x="493" y="371"/>
                      </a:lnTo>
                      <a:lnTo>
                        <a:pt x="500" y="351"/>
                      </a:lnTo>
                      <a:lnTo>
                        <a:pt x="506" y="329"/>
                      </a:lnTo>
                      <a:lnTo>
                        <a:pt x="509" y="306"/>
                      </a:lnTo>
                      <a:lnTo>
                        <a:pt x="511" y="283"/>
                      </a:lnTo>
                      <a:lnTo>
                        <a:pt x="511" y="283"/>
                      </a:lnTo>
                      <a:lnTo>
                        <a:pt x="509" y="260"/>
                      </a:lnTo>
                      <a:lnTo>
                        <a:pt x="506" y="238"/>
                      </a:lnTo>
                      <a:lnTo>
                        <a:pt x="500" y="216"/>
                      </a:lnTo>
                      <a:lnTo>
                        <a:pt x="493" y="195"/>
                      </a:lnTo>
                      <a:lnTo>
                        <a:pt x="483" y="175"/>
                      </a:lnTo>
                      <a:lnTo>
                        <a:pt x="472" y="157"/>
                      </a:lnTo>
                      <a:lnTo>
                        <a:pt x="459" y="139"/>
                      </a:lnTo>
                      <a:lnTo>
                        <a:pt x="444" y="123"/>
                      </a:lnTo>
                      <a:lnTo>
                        <a:pt x="428" y="108"/>
                      </a:lnTo>
                      <a:lnTo>
                        <a:pt x="411" y="95"/>
                      </a:lnTo>
                      <a:lnTo>
                        <a:pt x="392" y="84"/>
                      </a:lnTo>
                      <a:lnTo>
                        <a:pt x="372" y="74"/>
                      </a:lnTo>
                      <a:lnTo>
                        <a:pt x="352" y="67"/>
                      </a:lnTo>
                      <a:lnTo>
                        <a:pt x="329" y="61"/>
                      </a:lnTo>
                      <a:lnTo>
                        <a:pt x="307" y="58"/>
                      </a:lnTo>
                      <a:lnTo>
                        <a:pt x="284" y="57"/>
                      </a:lnTo>
                      <a:lnTo>
                        <a:pt x="284" y="5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grpSp>
          <p:nvGrpSpPr>
            <p:cNvPr id="15" name="Group 14">
              <a:extLst>
                <a:ext uri="{FF2B5EF4-FFF2-40B4-BE49-F238E27FC236}">
                  <a16:creationId xmlns:a16="http://schemas.microsoft.com/office/drawing/2014/main" id="{57140006-F9FB-6EB0-391B-049D603AAD8F}"/>
                </a:ext>
              </a:extLst>
            </p:cNvPr>
            <p:cNvGrpSpPr/>
            <p:nvPr/>
          </p:nvGrpSpPr>
          <p:grpSpPr>
            <a:xfrm>
              <a:off x="9429463" y="4265249"/>
              <a:ext cx="216173" cy="220996"/>
              <a:chOff x="4854575" y="2884488"/>
              <a:chExt cx="355601" cy="363538"/>
            </a:xfrm>
            <a:solidFill>
              <a:schemeClr val="bg1"/>
            </a:solidFill>
          </p:grpSpPr>
          <p:sp>
            <p:nvSpPr>
              <p:cNvPr id="18" name="Freeform 10">
                <a:extLst>
                  <a:ext uri="{FF2B5EF4-FFF2-40B4-BE49-F238E27FC236}">
                    <a16:creationId xmlns:a16="http://schemas.microsoft.com/office/drawing/2014/main" id="{FAE27E00-D584-0021-4B89-430328D69731}"/>
                  </a:ext>
                </a:extLst>
              </p:cNvPr>
              <p:cNvSpPr>
                <a:spLocks/>
              </p:cNvSpPr>
              <p:nvPr/>
            </p:nvSpPr>
            <p:spPr bwMode="auto">
              <a:xfrm>
                <a:off x="4854575" y="2884488"/>
                <a:ext cx="257175" cy="333375"/>
              </a:xfrm>
              <a:custGeom>
                <a:avLst/>
                <a:gdLst>
                  <a:gd name="T0" fmla="*/ 114 w 972"/>
                  <a:gd name="T1" fmla="*/ 1258 h 1258"/>
                  <a:gd name="T2" fmla="*/ 103 w 972"/>
                  <a:gd name="T3" fmla="*/ 1258 h 1258"/>
                  <a:gd name="T4" fmla="*/ 81 w 972"/>
                  <a:gd name="T5" fmla="*/ 1253 h 1258"/>
                  <a:gd name="T6" fmla="*/ 59 w 972"/>
                  <a:gd name="T7" fmla="*/ 1243 h 1258"/>
                  <a:gd name="T8" fmla="*/ 41 w 972"/>
                  <a:gd name="T9" fmla="*/ 1231 h 1258"/>
                  <a:gd name="T10" fmla="*/ 26 w 972"/>
                  <a:gd name="T11" fmla="*/ 1216 h 1258"/>
                  <a:gd name="T12" fmla="*/ 14 w 972"/>
                  <a:gd name="T13" fmla="*/ 1198 h 1258"/>
                  <a:gd name="T14" fmla="*/ 5 w 972"/>
                  <a:gd name="T15" fmla="*/ 1177 h 1258"/>
                  <a:gd name="T16" fmla="*/ 1 w 972"/>
                  <a:gd name="T17" fmla="*/ 1155 h 1258"/>
                  <a:gd name="T18" fmla="*/ 0 w 972"/>
                  <a:gd name="T19" fmla="*/ 115 h 1258"/>
                  <a:gd name="T20" fmla="*/ 1 w 972"/>
                  <a:gd name="T21" fmla="*/ 103 h 1258"/>
                  <a:gd name="T22" fmla="*/ 5 w 972"/>
                  <a:gd name="T23" fmla="*/ 81 h 1258"/>
                  <a:gd name="T24" fmla="*/ 14 w 972"/>
                  <a:gd name="T25" fmla="*/ 61 h 1258"/>
                  <a:gd name="T26" fmla="*/ 26 w 972"/>
                  <a:gd name="T27" fmla="*/ 42 h 1258"/>
                  <a:gd name="T28" fmla="*/ 41 w 972"/>
                  <a:gd name="T29" fmla="*/ 26 h 1258"/>
                  <a:gd name="T30" fmla="*/ 59 w 972"/>
                  <a:gd name="T31" fmla="*/ 14 h 1258"/>
                  <a:gd name="T32" fmla="*/ 81 w 972"/>
                  <a:gd name="T33" fmla="*/ 5 h 1258"/>
                  <a:gd name="T34" fmla="*/ 103 w 972"/>
                  <a:gd name="T35" fmla="*/ 1 h 1258"/>
                  <a:gd name="T36" fmla="*/ 857 w 972"/>
                  <a:gd name="T37" fmla="*/ 0 h 1258"/>
                  <a:gd name="T38" fmla="*/ 870 w 972"/>
                  <a:gd name="T39" fmla="*/ 1 h 1258"/>
                  <a:gd name="T40" fmla="*/ 892 w 972"/>
                  <a:gd name="T41" fmla="*/ 5 h 1258"/>
                  <a:gd name="T42" fmla="*/ 912 w 972"/>
                  <a:gd name="T43" fmla="*/ 14 h 1258"/>
                  <a:gd name="T44" fmla="*/ 930 w 972"/>
                  <a:gd name="T45" fmla="*/ 26 h 1258"/>
                  <a:gd name="T46" fmla="*/ 946 w 972"/>
                  <a:gd name="T47" fmla="*/ 42 h 1258"/>
                  <a:gd name="T48" fmla="*/ 958 w 972"/>
                  <a:gd name="T49" fmla="*/ 61 h 1258"/>
                  <a:gd name="T50" fmla="*/ 966 w 972"/>
                  <a:gd name="T51" fmla="*/ 81 h 1258"/>
                  <a:gd name="T52" fmla="*/ 972 w 972"/>
                  <a:gd name="T53" fmla="*/ 103 h 1258"/>
                  <a:gd name="T54" fmla="*/ 972 w 972"/>
                  <a:gd name="T55" fmla="*/ 887 h 1258"/>
                  <a:gd name="T56" fmla="*/ 915 w 972"/>
                  <a:gd name="T57" fmla="*/ 115 h 1258"/>
                  <a:gd name="T58" fmla="*/ 914 w 972"/>
                  <a:gd name="T59" fmla="*/ 103 h 1258"/>
                  <a:gd name="T60" fmla="*/ 905 w 972"/>
                  <a:gd name="T61" fmla="*/ 83 h 1258"/>
                  <a:gd name="T62" fmla="*/ 890 w 972"/>
                  <a:gd name="T63" fmla="*/ 68 h 1258"/>
                  <a:gd name="T64" fmla="*/ 870 w 972"/>
                  <a:gd name="T65" fmla="*/ 59 h 1258"/>
                  <a:gd name="T66" fmla="*/ 114 w 972"/>
                  <a:gd name="T67" fmla="*/ 58 h 1258"/>
                  <a:gd name="T68" fmla="*/ 103 w 972"/>
                  <a:gd name="T69" fmla="*/ 59 h 1258"/>
                  <a:gd name="T70" fmla="*/ 83 w 972"/>
                  <a:gd name="T71" fmla="*/ 68 h 1258"/>
                  <a:gd name="T72" fmla="*/ 67 w 972"/>
                  <a:gd name="T73" fmla="*/ 83 h 1258"/>
                  <a:gd name="T74" fmla="*/ 58 w 972"/>
                  <a:gd name="T75" fmla="*/ 103 h 1258"/>
                  <a:gd name="T76" fmla="*/ 57 w 972"/>
                  <a:gd name="T77" fmla="*/ 1144 h 1258"/>
                  <a:gd name="T78" fmla="*/ 58 w 972"/>
                  <a:gd name="T79" fmla="*/ 1155 h 1258"/>
                  <a:gd name="T80" fmla="*/ 67 w 972"/>
                  <a:gd name="T81" fmla="*/ 1175 h 1258"/>
                  <a:gd name="T82" fmla="*/ 83 w 972"/>
                  <a:gd name="T83" fmla="*/ 1191 h 1258"/>
                  <a:gd name="T84" fmla="*/ 103 w 972"/>
                  <a:gd name="T85" fmla="*/ 1199 h 1258"/>
                  <a:gd name="T86" fmla="*/ 950 w 972"/>
                  <a:gd name="T87" fmla="*/ 120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72" h="1258">
                    <a:moveTo>
                      <a:pt x="950" y="1258"/>
                    </a:moveTo>
                    <a:lnTo>
                      <a:pt x="114" y="1258"/>
                    </a:lnTo>
                    <a:lnTo>
                      <a:pt x="114" y="1258"/>
                    </a:lnTo>
                    <a:lnTo>
                      <a:pt x="103" y="1258"/>
                    </a:lnTo>
                    <a:lnTo>
                      <a:pt x="91" y="1256"/>
                    </a:lnTo>
                    <a:lnTo>
                      <a:pt x="81" y="1253"/>
                    </a:lnTo>
                    <a:lnTo>
                      <a:pt x="70" y="1249"/>
                    </a:lnTo>
                    <a:lnTo>
                      <a:pt x="59" y="1243"/>
                    </a:lnTo>
                    <a:lnTo>
                      <a:pt x="50" y="1238"/>
                    </a:lnTo>
                    <a:lnTo>
                      <a:pt x="41" y="1231"/>
                    </a:lnTo>
                    <a:lnTo>
                      <a:pt x="33" y="1224"/>
                    </a:lnTo>
                    <a:lnTo>
                      <a:pt x="26" y="1216"/>
                    </a:lnTo>
                    <a:lnTo>
                      <a:pt x="19" y="1207"/>
                    </a:lnTo>
                    <a:lnTo>
                      <a:pt x="14" y="1198"/>
                    </a:lnTo>
                    <a:lnTo>
                      <a:pt x="9" y="1188"/>
                    </a:lnTo>
                    <a:lnTo>
                      <a:pt x="5" y="1177"/>
                    </a:lnTo>
                    <a:lnTo>
                      <a:pt x="2" y="1167"/>
                    </a:lnTo>
                    <a:lnTo>
                      <a:pt x="1" y="1155"/>
                    </a:lnTo>
                    <a:lnTo>
                      <a:pt x="0" y="1144"/>
                    </a:lnTo>
                    <a:lnTo>
                      <a:pt x="0" y="115"/>
                    </a:lnTo>
                    <a:lnTo>
                      <a:pt x="0" y="115"/>
                    </a:lnTo>
                    <a:lnTo>
                      <a:pt x="1" y="103"/>
                    </a:lnTo>
                    <a:lnTo>
                      <a:pt x="2" y="92"/>
                    </a:lnTo>
                    <a:lnTo>
                      <a:pt x="5" y="81"/>
                    </a:lnTo>
                    <a:lnTo>
                      <a:pt x="9" y="71"/>
                    </a:lnTo>
                    <a:lnTo>
                      <a:pt x="14" y="61"/>
                    </a:lnTo>
                    <a:lnTo>
                      <a:pt x="19" y="50"/>
                    </a:lnTo>
                    <a:lnTo>
                      <a:pt x="26" y="42"/>
                    </a:lnTo>
                    <a:lnTo>
                      <a:pt x="33" y="34"/>
                    </a:lnTo>
                    <a:lnTo>
                      <a:pt x="41" y="26"/>
                    </a:lnTo>
                    <a:lnTo>
                      <a:pt x="50" y="20"/>
                    </a:lnTo>
                    <a:lnTo>
                      <a:pt x="59" y="14"/>
                    </a:lnTo>
                    <a:lnTo>
                      <a:pt x="70" y="9"/>
                    </a:lnTo>
                    <a:lnTo>
                      <a:pt x="81" y="5"/>
                    </a:lnTo>
                    <a:lnTo>
                      <a:pt x="91" y="3"/>
                    </a:lnTo>
                    <a:lnTo>
                      <a:pt x="103" y="1"/>
                    </a:lnTo>
                    <a:lnTo>
                      <a:pt x="114" y="0"/>
                    </a:lnTo>
                    <a:lnTo>
                      <a:pt x="857" y="0"/>
                    </a:lnTo>
                    <a:lnTo>
                      <a:pt x="857" y="0"/>
                    </a:lnTo>
                    <a:lnTo>
                      <a:pt x="870" y="1"/>
                    </a:lnTo>
                    <a:lnTo>
                      <a:pt x="881" y="3"/>
                    </a:lnTo>
                    <a:lnTo>
                      <a:pt x="892" y="5"/>
                    </a:lnTo>
                    <a:lnTo>
                      <a:pt x="902" y="9"/>
                    </a:lnTo>
                    <a:lnTo>
                      <a:pt x="912" y="14"/>
                    </a:lnTo>
                    <a:lnTo>
                      <a:pt x="922" y="20"/>
                    </a:lnTo>
                    <a:lnTo>
                      <a:pt x="930" y="26"/>
                    </a:lnTo>
                    <a:lnTo>
                      <a:pt x="938" y="34"/>
                    </a:lnTo>
                    <a:lnTo>
                      <a:pt x="946" y="42"/>
                    </a:lnTo>
                    <a:lnTo>
                      <a:pt x="952" y="50"/>
                    </a:lnTo>
                    <a:lnTo>
                      <a:pt x="958" y="61"/>
                    </a:lnTo>
                    <a:lnTo>
                      <a:pt x="963" y="71"/>
                    </a:lnTo>
                    <a:lnTo>
                      <a:pt x="966" y="81"/>
                    </a:lnTo>
                    <a:lnTo>
                      <a:pt x="970" y="92"/>
                    </a:lnTo>
                    <a:lnTo>
                      <a:pt x="972" y="103"/>
                    </a:lnTo>
                    <a:lnTo>
                      <a:pt x="972" y="115"/>
                    </a:lnTo>
                    <a:lnTo>
                      <a:pt x="972" y="887"/>
                    </a:lnTo>
                    <a:lnTo>
                      <a:pt x="915" y="887"/>
                    </a:lnTo>
                    <a:lnTo>
                      <a:pt x="915" y="115"/>
                    </a:lnTo>
                    <a:lnTo>
                      <a:pt x="915" y="115"/>
                    </a:lnTo>
                    <a:lnTo>
                      <a:pt x="914" y="103"/>
                    </a:lnTo>
                    <a:lnTo>
                      <a:pt x="910" y="93"/>
                    </a:lnTo>
                    <a:lnTo>
                      <a:pt x="905" y="83"/>
                    </a:lnTo>
                    <a:lnTo>
                      <a:pt x="898" y="75"/>
                    </a:lnTo>
                    <a:lnTo>
                      <a:pt x="890" y="68"/>
                    </a:lnTo>
                    <a:lnTo>
                      <a:pt x="880" y="62"/>
                    </a:lnTo>
                    <a:lnTo>
                      <a:pt x="870" y="59"/>
                    </a:lnTo>
                    <a:lnTo>
                      <a:pt x="857" y="58"/>
                    </a:lnTo>
                    <a:lnTo>
                      <a:pt x="114" y="58"/>
                    </a:lnTo>
                    <a:lnTo>
                      <a:pt x="114" y="58"/>
                    </a:lnTo>
                    <a:lnTo>
                      <a:pt x="103" y="59"/>
                    </a:lnTo>
                    <a:lnTo>
                      <a:pt x="92" y="62"/>
                    </a:lnTo>
                    <a:lnTo>
                      <a:pt x="83" y="68"/>
                    </a:lnTo>
                    <a:lnTo>
                      <a:pt x="74" y="75"/>
                    </a:lnTo>
                    <a:lnTo>
                      <a:pt x="67" y="83"/>
                    </a:lnTo>
                    <a:lnTo>
                      <a:pt x="61" y="93"/>
                    </a:lnTo>
                    <a:lnTo>
                      <a:pt x="58" y="103"/>
                    </a:lnTo>
                    <a:lnTo>
                      <a:pt x="57" y="115"/>
                    </a:lnTo>
                    <a:lnTo>
                      <a:pt x="57" y="1144"/>
                    </a:lnTo>
                    <a:lnTo>
                      <a:pt x="57" y="1144"/>
                    </a:lnTo>
                    <a:lnTo>
                      <a:pt x="58" y="1155"/>
                    </a:lnTo>
                    <a:lnTo>
                      <a:pt x="61" y="1166"/>
                    </a:lnTo>
                    <a:lnTo>
                      <a:pt x="67" y="1175"/>
                    </a:lnTo>
                    <a:lnTo>
                      <a:pt x="74" y="1184"/>
                    </a:lnTo>
                    <a:lnTo>
                      <a:pt x="83" y="1191"/>
                    </a:lnTo>
                    <a:lnTo>
                      <a:pt x="92" y="1196"/>
                    </a:lnTo>
                    <a:lnTo>
                      <a:pt x="103" y="1199"/>
                    </a:lnTo>
                    <a:lnTo>
                      <a:pt x="114" y="1201"/>
                    </a:lnTo>
                    <a:lnTo>
                      <a:pt x="950" y="1201"/>
                    </a:lnTo>
                    <a:lnTo>
                      <a:pt x="950" y="12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19" name="Freeform 11">
                <a:extLst>
                  <a:ext uri="{FF2B5EF4-FFF2-40B4-BE49-F238E27FC236}">
                    <a16:creationId xmlns:a16="http://schemas.microsoft.com/office/drawing/2014/main" id="{BDE65683-E92D-79D3-52F3-539C79163FE8}"/>
                  </a:ext>
                </a:extLst>
              </p:cNvPr>
              <p:cNvSpPr>
                <a:spLocks/>
              </p:cNvSpPr>
              <p:nvPr/>
            </p:nvSpPr>
            <p:spPr bwMode="auto">
              <a:xfrm>
                <a:off x="4886325" y="2914651"/>
                <a:ext cx="203200" cy="242888"/>
              </a:xfrm>
              <a:custGeom>
                <a:avLst/>
                <a:gdLst>
                  <a:gd name="T0" fmla="*/ 29 w 769"/>
                  <a:gd name="T1" fmla="*/ 915 h 915"/>
                  <a:gd name="T2" fmla="*/ 23 w 769"/>
                  <a:gd name="T3" fmla="*/ 913 h 915"/>
                  <a:gd name="T4" fmla="*/ 13 w 769"/>
                  <a:gd name="T5" fmla="*/ 909 h 915"/>
                  <a:gd name="T6" fmla="*/ 5 w 769"/>
                  <a:gd name="T7" fmla="*/ 901 h 915"/>
                  <a:gd name="T8" fmla="*/ 1 w 769"/>
                  <a:gd name="T9" fmla="*/ 891 h 915"/>
                  <a:gd name="T10" fmla="*/ 0 w 769"/>
                  <a:gd name="T11" fmla="*/ 28 h 915"/>
                  <a:gd name="T12" fmla="*/ 1 w 769"/>
                  <a:gd name="T13" fmla="*/ 22 h 915"/>
                  <a:gd name="T14" fmla="*/ 5 w 769"/>
                  <a:gd name="T15" fmla="*/ 12 h 915"/>
                  <a:gd name="T16" fmla="*/ 13 w 769"/>
                  <a:gd name="T17" fmla="*/ 4 h 915"/>
                  <a:gd name="T18" fmla="*/ 23 w 769"/>
                  <a:gd name="T19" fmla="*/ 0 h 915"/>
                  <a:gd name="T20" fmla="*/ 715 w 769"/>
                  <a:gd name="T21" fmla="*/ 0 h 915"/>
                  <a:gd name="T22" fmla="*/ 721 w 769"/>
                  <a:gd name="T23" fmla="*/ 0 h 915"/>
                  <a:gd name="T24" fmla="*/ 731 w 769"/>
                  <a:gd name="T25" fmla="*/ 4 h 915"/>
                  <a:gd name="T26" fmla="*/ 738 w 769"/>
                  <a:gd name="T27" fmla="*/ 12 h 915"/>
                  <a:gd name="T28" fmla="*/ 743 w 769"/>
                  <a:gd name="T29" fmla="*/ 22 h 915"/>
                  <a:gd name="T30" fmla="*/ 743 w 769"/>
                  <a:gd name="T31" fmla="*/ 681 h 915"/>
                  <a:gd name="T32" fmla="*/ 743 w 769"/>
                  <a:gd name="T33" fmla="*/ 687 h 915"/>
                  <a:gd name="T34" fmla="*/ 738 w 769"/>
                  <a:gd name="T35" fmla="*/ 698 h 915"/>
                  <a:gd name="T36" fmla="*/ 731 w 769"/>
                  <a:gd name="T37" fmla="*/ 706 h 915"/>
                  <a:gd name="T38" fmla="*/ 721 w 769"/>
                  <a:gd name="T39" fmla="*/ 710 h 915"/>
                  <a:gd name="T40" fmla="*/ 715 w 769"/>
                  <a:gd name="T41" fmla="*/ 711 h 915"/>
                  <a:gd name="T42" fmla="*/ 704 w 769"/>
                  <a:gd name="T43" fmla="*/ 709 h 915"/>
                  <a:gd name="T44" fmla="*/ 695 w 769"/>
                  <a:gd name="T45" fmla="*/ 703 h 915"/>
                  <a:gd name="T46" fmla="*/ 689 w 769"/>
                  <a:gd name="T47" fmla="*/ 693 h 915"/>
                  <a:gd name="T48" fmla="*/ 687 w 769"/>
                  <a:gd name="T49" fmla="*/ 681 h 915"/>
                  <a:gd name="T50" fmla="*/ 58 w 769"/>
                  <a:gd name="T51" fmla="*/ 57 h 915"/>
                  <a:gd name="T52" fmla="*/ 740 w 769"/>
                  <a:gd name="T53" fmla="*/ 857 h 915"/>
                  <a:gd name="T54" fmla="*/ 745 w 769"/>
                  <a:gd name="T55" fmla="*/ 857 h 915"/>
                  <a:gd name="T56" fmla="*/ 757 w 769"/>
                  <a:gd name="T57" fmla="*/ 862 h 915"/>
                  <a:gd name="T58" fmla="*/ 764 w 769"/>
                  <a:gd name="T59" fmla="*/ 869 h 915"/>
                  <a:gd name="T60" fmla="*/ 768 w 769"/>
                  <a:gd name="T61" fmla="*/ 879 h 915"/>
                  <a:gd name="T62" fmla="*/ 769 w 769"/>
                  <a:gd name="T63" fmla="*/ 885 h 915"/>
                  <a:gd name="T64" fmla="*/ 767 w 769"/>
                  <a:gd name="T65" fmla="*/ 896 h 915"/>
                  <a:gd name="T66" fmla="*/ 761 w 769"/>
                  <a:gd name="T67" fmla="*/ 905 h 915"/>
                  <a:gd name="T68" fmla="*/ 751 w 769"/>
                  <a:gd name="T69" fmla="*/ 911 h 915"/>
                  <a:gd name="T70" fmla="*/ 740 w 769"/>
                  <a:gd name="T71"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9" h="915">
                    <a:moveTo>
                      <a:pt x="740" y="915"/>
                    </a:moveTo>
                    <a:lnTo>
                      <a:pt x="29" y="915"/>
                    </a:lnTo>
                    <a:lnTo>
                      <a:pt x="29" y="915"/>
                    </a:lnTo>
                    <a:lnTo>
                      <a:pt x="23" y="913"/>
                    </a:lnTo>
                    <a:lnTo>
                      <a:pt x="17" y="911"/>
                    </a:lnTo>
                    <a:lnTo>
                      <a:pt x="13" y="909"/>
                    </a:lnTo>
                    <a:lnTo>
                      <a:pt x="8" y="905"/>
                    </a:lnTo>
                    <a:lnTo>
                      <a:pt x="5" y="901"/>
                    </a:lnTo>
                    <a:lnTo>
                      <a:pt x="2" y="896"/>
                    </a:lnTo>
                    <a:lnTo>
                      <a:pt x="1" y="891"/>
                    </a:lnTo>
                    <a:lnTo>
                      <a:pt x="0" y="885"/>
                    </a:lnTo>
                    <a:lnTo>
                      <a:pt x="0" y="28"/>
                    </a:lnTo>
                    <a:lnTo>
                      <a:pt x="0" y="28"/>
                    </a:lnTo>
                    <a:lnTo>
                      <a:pt x="1" y="22"/>
                    </a:lnTo>
                    <a:lnTo>
                      <a:pt x="2" y="17"/>
                    </a:lnTo>
                    <a:lnTo>
                      <a:pt x="5" y="12"/>
                    </a:lnTo>
                    <a:lnTo>
                      <a:pt x="8" y="8"/>
                    </a:lnTo>
                    <a:lnTo>
                      <a:pt x="13" y="4"/>
                    </a:lnTo>
                    <a:lnTo>
                      <a:pt x="17" y="2"/>
                    </a:lnTo>
                    <a:lnTo>
                      <a:pt x="23" y="0"/>
                    </a:lnTo>
                    <a:lnTo>
                      <a:pt x="29" y="0"/>
                    </a:lnTo>
                    <a:lnTo>
                      <a:pt x="715" y="0"/>
                    </a:lnTo>
                    <a:lnTo>
                      <a:pt x="715" y="0"/>
                    </a:lnTo>
                    <a:lnTo>
                      <a:pt x="721" y="0"/>
                    </a:lnTo>
                    <a:lnTo>
                      <a:pt x="726" y="2"/>
                    </a:lnTo>
                    <a:lnTo>
                      <a:pt x="731" y="4"/>
                    </a:lnTo>
                    <a:lnTo>
                      <a:pt x="735" y="8"/>
                    </a:lnTo>
                    <a:lnTo>
                      <a:pt x="738" y="12"/>
                    </a:lnTo>
                    <a:lnTo>
                      <a:pt x="741" y="17"/>
                    </a:lnTo>
                    <a:lnTo>
                      <a:pt x="743" y="22"/>
                    </a:lnTo>
                    <a:lnTo>
                      <a:pt x="743" y="28"/>
                    </a:lnTo>
                    <a:lnTo>
                      <a:pt x="743" y="681"/>
                    </a:lnTo>
                    <a:lnTo>
                      <a:pt x="743" y="681"/>
                    </a:lnTo>
                    <a:lnTo>
                      <a:pt x="743" y="687"/>
                    </a:lnTo>
                    <a:lnTo>
                      <a:pt x="741" y="693"/>
                    </a:lnTo>
                    <a:lnTo>
                      <a:pt x="738" y="698"/>
                    </a:lnTo>
                    <a:lnTo>
                      <a:pt x="735" y="703"/>
                    </a:lnTo>
                    <a:lnTo>
                      <a:pt x="731" y="706"/>
                    </a:lnTo>
                    <a:lnTo>
                      <a:pt x="726" y="709"/>
                    </a:lnTo>
                    <a:lnTo>
                      <a:pt x="721" y="710"/>
                    </a:lnTo>
                    <a:lnTo>
                      <a:pt x="715" y="711"/>
                    </a:lnTo>
                    <a:lnTo>
                      <a:pt x="715" y="711"/>
                    </a:lnTo>
                    <a:lnTo>
                      <a:pt x="709" y="710"/>
                    </a:lnTo>
                    <a:lnTo>
                      <a:pt x="704" y="709"/>
                    </a:lnTo>
                    <a:lnTo>
                      <a:pt x="699" y="706"/>
                    </a:lnTo>
                    <a:lnTo>
                      <a:pt x="695" y="703"/>
                    </a:lnTo>
                    <a:lnTo>
                      <a:pt x="691" y="698"/>
                    </a:lnTo>
                    <a:lnTo>
                      <a:pt x="689" y="693"/>
                    </a:lnTo>
                    <a:lnTo>
                      <a:pt x="687" y="687"/>
                    </a:lnTo>
                    <a:lnTo>
                      <a:pt x="687" y="681"/>
                    </a:lnTo>
                    <a:lnTo>
                      <a:pt x="687" y="57"/>
                    </a:lnTo>
                    <a:lnTo>
                      <a:pt x="58" y="57"/>
                    </a:lnTo>
                    <a:lnTo>
                      <a:pt x="58" y="857"/>
                    </a:lnTo>
                    <a:lnTo>
                      <a:pt x="740" y="857"/>
                    </a:lnTo>
                    <a:lnTo>
                      <a:pt x="740" y="857"/>
                    </a:lnTo>
                    <a:lnTo>
                      <a:pt x="745" y="857"/>
                    </a:lnTo>
                    <a:lnTo>
                      <a:pt x="751" y="859"/>
                    </a:lnTo>
                    <a:lnTo>
                      <a:pt x="757" y="862"/>
                    </a:lnTo>
                    <a:lnTo>
                      <a:pt x="761" y="865"/>
                    </a:lnTo>
                    <a:lnTo>
                      <a:pt x="764" y="869"/>
                    </a:lnTo>
                    <a:lnTo>
                      <a:pt x="767" y="874"/>
                    </a:lnTo>
                    <a:lnTo>
                      <a:pt x="768" y="879"/>
                    </a:lnTo>
                    <a:lnTo>
                      <a:pt x="769" y="885"/>
                    </a:lnTo>
                    <a:lnTo>
                      <a:pt x="769" y="885"/>
                    </a:lnTo>
                    <a:lnTo>
                      <a:pt x="768" y="891"/>
                    </a:lnTo>
                    <a:lnTo>
                      <a:pt x="767" y="896"/>
                    </a:lnTo>
                    <a:lnTo>
                      <a:pt x="764" y="901"/>
                    </a:lnTo>
                    <a:lnTo>
                      <a:pt x="761" y="905"/>
                    </a:lnTo>
                    <a:lnTo>
                      <a:pt x="757" y="909"/>
                    </a:lnTo>
                    <a:lnTo>
                      <a:pt x="751" y="911"/>
                    </a:lnTo>
                    <a:lnTo>
                      <a:pt x="745" y="913"/>
                    </a:lnTo>
                    <a:lnTo>
                      <a:pt x="740" y="915"/>
                    </a:lnTo>
                    <a:lnTo>
                      <a:pt x="740" y="9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0" name="Freeform 12">
                <a:extLst>
                  <a:ext uri="{FF2B5EF4-FFF2-40B4-BE49-F238E27FC236}">
                    <a16:creationId xmlns:a16="http://schemas.microsoft.com/office/drawing/2014/main" id="{53A49CB3-49E4-4FEA-D8BD-F77A5FBA1305}"/>
                  </a:ext>
                </a:extLst>
              </p:cNvPr>
              <p:cNvSpPr>
                <a:spLocks/>
              </p:cNvSpPr>
              <p:nvPr/>
            </p:nvSpPr>
            <p:spPr bwMode="auto">
              <a:xfrm>
                <a:off x="5097463" y="3028951"/>
                <a:ext cx="112713" cy="219075"/>
              </a:xfrm>
              <a:custGeom>
                <a:avLst/>
                <a:gdLst>
                  <a:gd name="T0" fmla="*/ 400 w 428"/>
                  <a:gd name="T1" fmla="*/ 829 h 829"/>
                  <a:gd name="T2" fmla="*/ 388 w 428"/>
                  <a:gd name="T3" fmla="*/ 826 h 829"/>
                  <a:gd name="T4" fmla="*/ 378 w 428"/>
                  <a:gd name="T5" fmla="*/ 818 h 829"/>
                  <a:gd name="T6" fmla="*/ 206 w 428"/>
                  <a:gd name="T7" fmla="*/ 588 h 829"/>
                  <a:gd name="T8" fmla="*/ 201 w 428"/>
                  <a:gd name="T9" fmla="*/ 580 h 829"/>
                  <a:gd name="T10" fmla="*/ 200 w 428"/>
                  <a:gd name="T11" fmla="*/ 571 h 829"/>
                  <a:gd name="T12" fmla="*/ 200 w 428"/>
                  <a:gd name="T13" fmla="*/ 311 h 829"/>
                  <a:gd name="T14" fmla="*/ 196 w 428"/>
                  <a:gd name="T15" fmla="*/ 279 h 829"/>
                  <a:gd name="T16" fmla="*/ 184 w 428"/>
                  <a:gd name="T17" fmla="*/ 245 h 829"/>
                  <a:gd name="T18" fmla="*/ 166 w 428"/>
                  <a:gd name="T19" fmla="*/ 213 h 829"/>
                  <a:gd name="T20" fmla="*/ 142 w 428"/>
                  <a:gd name="T21" fmla="*/ 180 h 829"/>
                  <a:gd name="T22" fmla="*/ 113 w 428"/>
                  <a:gd name="T23" fmla="*/ 147 h 829"/>
                  <a:gd name="T24" fmla="*/ 81 w 428"/>
                  <a:gd name="T25" fmla="*/ 115 h 829"/>
                  <a:gd name="T26" fmla="*/ 10 w 428"/>
                  <a:gd name="T27" fmla="*/ 50 h 829"/>
                  <a:gd name="T28" fmla="*/ 6 w 428"/>
                  <a:gd name="T29" fmla="*/ 46 h 829"/>
                  <a:gd name="T30" fmla="*/ 1 w 428"/>
                  <a:gd name="T31" fmla="*/ 36 h 829"/>
                  <a:gd name="T32" fmla="*/ 0 w 428"/>
                  <a:gd name="T33" fmla="*/ 25 h 829"/>
                  <a:gd name="T34" fmla="*/ 3 w 428"/>
                  <a:gd name="T35" fmla="*/ 15 h 829"/>
                  <a:gd name="T36" fmla="*/ 7 w 428"/>
                  <a:gd name="T37" fmla="*/ 10 h 829"/>
                  <a:gd name="T38" fmla="*/ 15 w 428"/>
                  <a:gd name="T39" fmla="*/ 3 h 829"/>
                  <a:gd name="T40" fmla="*/ 26 w 428"/>
                  <a:gd name="T41" fmla="*/ 0 h 829"/>
                  <a:gd name="T42" fmla="*/ 37 w 428"/>
                  <a:gd name="T43" fmla="*/ 2 h 829"/>
                  <a:gd name="T44" fmla="*/ 47 w 428"/>
                  <a:gd name="T45" fmla="*/ 7 h 829"/>
                  <a:gd name="T46" fmla="*/ 92 w 428"/>
                  <a:gd name="T47" fmla="*/ 46 h 829"/>
                  <a:gd name="T48" fmla="*/ 133 w 428"/>
                  <a:gd name="T49" fmla="*/ 86 h 829"/>
                  <a:gd name="T50" fmla="*/ 169 w 428"/>
                  <a:gd name="T51" fmla="*/ 123 h 829"/>
                  <a:gd name="T52" fmla="*/ 199 w 428"/>
                  <a:gd name="T53" fmla="*/ 160 h 829"/>
                  <a:gd name="T54" fmla="*/ 224 w 428"/>
                  <a:gd name="T55" fmla="*/ 198 h 829"/>
                  <a:gd name="T56" fmla="*/ 242 w 428"/>
                  <a:gd name="T57" fmla="*/ 235 h 829"/>
                  <a:gd name="T58" fmla="*/ 253 w 428"/>
                  <a:gd name="T59" fmla="*/ 273 h 829"/>
                  <a:gd name="T60" fmla="*/ 258 w 428"/>
                  <a:gd name="T61" fmla="*/ 311 h 829"/>
                  <a:gd name="T62" fmla="*/ 423 w 428"/>
                  <a:gd name="T63" fmla="*/ 783 h 829"/>
                  <a:gd name="T64" fmla="*/ 426 w 428"/>
                  <a:gd name="T65" fmla="*/ 788 h 829"/>
                  <a:gd name="T66" fmla="*/ 428 w 428"/>
                  <a:gd name="T67" fmla="*/ 798 h 829"/>
                  <a:gd name="T68" fmla="*/ 427 w 428"/>
                  <a:gd name="T69" fmla="*/ 809 h 829"/>
                  <a:gd name="T70" fmla="*/ 421 w 428"/>
                  <a:gd name="T71" fmla="*/ 820 h 829"/>
                  <a:gd name="T72" fmla="*/ 417 w 428"/>
                  <a:gd name="T73" fmla="*/ 824 h 829"/>
                  <a:gd name="T74" fmla="*/ 409 w 428"/>
                  <a:gd name="T75" fmla="*/ 828 h 829"/>
                  <a:gd name="T76" fmla="*/ 400 w 428"/>
                  <a:gd name="T77" fmla="*/ 829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8" h="829">
                    <a:moveTo>
                      <a:pt x="400" y="829"/>
                    </a:moveTo>
                    <a:lnTo>
                      <a:pt x="400" y="829"/>
                    </a:lnTo>
                    <a:lnTo>
                      <a:pt x="394" y="828"/>
                    </a:lnTo>
                    <a:lnTo>
                      <a:pt x="388" y="826"/>
                    </a:lnTo>
                    <a:lnTo>
                      <a:pt x="382" y="823"/>
                    </a:lnTo>
                    <a:lnTo>
                      <a:pt x="378" y="818"/>
                    </a:lnTo>
                    <a:lnTo>
                      <a:pt x="206" y="588"/>
                    </a:lnTo>
                    <a:lnTo>
                      <a:pt x="206" y="588"/>
                    </a:lnTo>
                    <a:lnTo>
                      <a:pt x="203" y="585"/>
                    </a:lnTo>
                    <a:lnTo>
                      <a:pt x="201" y="580"/>
                    </a:lnTo>
                    <a:lnTo>
                      <a:pt x="200" y="576"/>
                    </a:lnTo>
                    <a:lnTo>
                      <a:pt x="200" y="571"/>
                    </a:lnTo>
                    <a:lnTo>
                      <a:pt x="200" y="311"/>
                    </a:lnTo>
                    <a:lnTo>
                      <a:pt x="200" y="311"/>
                    </a:lnTo>
                    <a:lnTo>
                      <a:pt x="199" y="295"/>
                    </a:lnTo>
                    <a:lnTo>
                      <a:pt x="196" y="279"/>
                    </a:lnTo>
                    <a:lnTo>
                      <a:pt x="191" y="262"/>
                    </a:lnTo>
                    <a:lnTo>
                      <a:pt x="184" y="245"/>
                    </a:lnTo>
                    <a:lnTo>
                      <a:pt x="176" y="229"/>
                    </a:lnTo>
                    <a:lnTo>
                      <a:pt x="166" y="213"/>
                    </a:lnTo>
                    <a:lnTo>
                      <a:pt x="155" y="197"/>
                    </a:lnTo>
                    <a:lnTo>
                      <a:pt x="142" y="180"/>
                    </a:lnTo>
                    <a:lnTo>
                      <a:pt x="128" y="164"/>
                    </a:lnTo>
                    <a:lnTo>
                      <a:pt x="113" y="147"/>
                    </a:lnTo>
                    <a:lnTo>
                      <a:pt x="98" y="131"/>
                    </a:lnTo>
                    <a:lnTo>
                      <a:pt x="81" y="115"/>
                    </a:lnTo>
                    <a:lnTo>
                      <a:pt x="46" y="83"/>
                    </a:lnTo>
                    <a:lnTo>
                      <a:pt x="10" y="50"/>
                    </a:lnTo>
                    <a:lnTo>
                      <a:pt x="10" y="50"/>
                    </a:lnTo>
                    <a:lnTo>
                      <a:pt x="6" y="46"/>
                    </a:lnTo>
                    <a:lnTo>
                      <a:pt x="3" y="41"/>
                    </a:lnTo>
                    <a:lnTo>
                      <a:pt x="1" y="36"/>
                    </a:lnTo>
                    <a:lnTo>
                      <a:pt x="0" y="31"/>
                    </a:lnTo>
                    <a:lnTo>
                      <a:pt x="0" y="25"/>
                    </a:lnTo>
                    <a:lnTo>
                      <a:pt x="1" y="20"/>
                    </a:lnTo>
                    <a:lnTo>
                      <a:pt x="3" y="15"/>
                    </a:lnTo>
                    <a:lnTo>
                      <a:pt x="7" y="10"/>
                    </a:lnTo>
                    <a:lnTo>
                      <a:pt x="7" y="10"/>
                    </a:lnTo>
                    <a:lnTo>
                      <a:pt x="11" y="6"/>
                    </a:lnTo>
                    <a:lnTo>
                      <a:pt x="15" y="3"/>
                    </a:lnTo>
                    <a:lnTo>
                      <a:pt x="21" y="1"/>
                    </a:lnTo>
                    <a:lnTo>
                      <a:pt x="26" y="0"/>
                    </a:lnTo>
                    <a:lnTo>
                      <a:pt x="31" y="0"/>
                    </a:lnTo>
                    <a:lnTo>
                      <a:pt x="37" y="2"/>
                    </a:lnTo>
                    <a:lnTo>
                      <a:pt x="42" y="4"/>
                    </a:lnTo>
                    <a:lnTo>
                      <a:pt x="47" y="7"/>
                    </a:lnTo>
                    <a:lnTo>
                      <a:pt x="47" y="7"/>
                    </a:lnTo>
                    <a:lnTo>
                      <a:pt x="92" y="46"/>
                    </a:lnTo>
                    <a:lnTo>
                      <a:pt x="113" y="67"/>
                    </a:lnTo>
                    <a:lnTo>
                      <a:pt x="133" y="86"/>
                    </a:lnTo>
                    <a:lnTo>
                      <a:pt x="151" y="104"/>
                    </a:lnTo>
                    <a:lnTo>
                      <a:pt x="169" y="123"/>
                    </a:lnTo>
                    <a:lnTo>
                      <a:pt x="185" y="142"/>
                    </a:lnTo>
                    <a:lnTo>
                      <a:pt x="199" y="160"/>
                    </a:lnTo>
                    <a:lnTo>
                      <a:pt x="212" y="179"/>
                    </a:lnTo>
                    <a:lnTo>
                      <a:pt x="224" y="198"/>
                    </a:lnTo>
                    <a:lnTo>
                      <a:pt x="234" y="216"/>
                    </a:lnTo>
                    <a:lnTo>
                      <a:pt x="242" y="235"/>
                    </a:lnTo>
                    <a:lnTo>
                      <a:pt x="248" y="253"/>
                    </a:lnTo>
                    <a:lnTo>
                      <a:pt x="253" y="273"/>
                    </a:lnTo>
                    <a:lnTo>
                      <a:pt x="257" y="292"/>
                    </a:lnTo>
                    <a:lnTo>
                      <a:pt x="258" y="311"/>
                    </a:lnTo>
                    <a:lnTo>
                      <a:pt x="258" y="562"/>
                    </a:lnTo>
                    <a:lnTo>
                      <a:pt x="423" y="783"/>
                    </a:lnTo>
                    <a:lnTo>
                      <a:pt x="423" y="783"/>
                    </a:lnTo>
                    <a:lnTo>
                      <a:pt x="426" y="788"/>
                    </a:lnTo>
                    <a:lnTo>
                      <a:pt x="428" y="793"/>
                    </a:lnTo>
                    <a:lnTo>
                      <a:pt x="428" y="798"/>
                    </a:lnTo>
                    <a:lnTo>
                      <a:pt x="428" y="804"/>
                    </a:lnTo>
                    <a:lnTo>
                      <a:pt x="427" y="809"/>
                    </a:lnTo>
                    <a:lnTo>
                      <a:pt x="425" y="815"/>
                    </a:lnTo>
                    <a:lnTo>
                      <a:pt x="421" y="820"/>
                    </a:lnTo>
                    <a:lnTo>
                      <a:pt x="417" y="824"/>
                    </a:lnTo>
                    <a:lnTo>
                      <a:pt x="417" y="824"/>
                    </a:lnTo>
                    <a:lnTo>
                      <a:pt x="413" y="826"/>
                    </a:lnTo>
                    <a:lnTo>
                      <a:pt x="409" y="828"/>
                    </a:lnTo>
                    <a:lnTo>
                      <a:pt x="405" y="829"/>
                    </a:lnTo>
                    <a:lnTo>
                      <a:pt x="400" y="829"/>
                    </a:lnTo>
                    <a:lnTo>
                      <a:pt x="400" y="8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1" name="Freeform 13">
                <a:extLst>
                  <a:ext uri="{FF2B5EF4-FFF2-40B4-BE49-F238E27FC236}">
                    <a16:creationId xmlns:a16="http://schemas.microsoft.com/office/drawing/2014/main" id="{E22E1520-194C-CFC4-4B36-1AE498069207}"/>
                  </a:ext>
                </a:extLst>
              </p:cNvPr>
              <p:cNvSpPr>
                <a:spLocks/>
              </p:cNvSpPr>
              <p:nvPr/>
            </p:nvSpPr>
            <p:spPr bwMode="auto">
              <a:xfrm>
                <a:off x="5051425" y="3087688"/>
                <a:ext cx="84138" cy="160338"/>
              </a:xfrm>
              <a:custGeom>
                <a:avLst/>
                <a:gdLst>
                  <a:gd name="T0" fmla="*/ 287 w 315"/>
                  <a:gd name="T1" fmla="*/ 604 h 604"/>
                  <a:gd name="T2" fmla="*/ 275 w 315"/>
                  <a:gd name="T3" fmla="*/ 602 h 604"/>
                  <a:gd name="T4" fmla="*/ 265 w 315"/>
                  <a:gd name="T5" fmla="*/ 594 h 604"/>
                  <a:gd name="T6" fmla="*/ 238 w 315"/>
                  <a:gd name="T7" fmla="*/ 557 h 604"/>
                  <a:gd name="T8" fmla="*/ 197 w 315"/>
                  <a:gd name="T9" fmla="*/ 499 h 604"/>
                  <a:gd name="T10" fmla="*/ 168 w 315"/>
                  <a:gd name="T11" fmla="*/ 449 h 604"/>
                  <a:gd name="T12" fmla="*/ 154 w 315"/>
                  <a:gd name="T13" fmla="*/ 417 h 604"/>
                  <a:gd name="T14" fmla="*/ 146 w 315"/>
                  <a:gd name="T15" fmla="*/ 388 h 604"/>
                  <a:gd name="T16" fmla="*/ 145 w 315"/>
                  <a:gd name="T17" fmla="*/ 327 h 604"/>
                  <a:gd name="T18" fmla="*/ 20 w 315"/>
                  <a:gd name="T19" fmla="*/ 148 h 604"/>
                  <a:gd name="T20" fmla="*/ 13 w 315"/>
                  <a:gd name="T21" fmla="*/ 139 h 604"/>
                  <a:gd name="T22" fmla="*/ 7 w 315"/>
                  <a:gd name="T23" fmla="*/ 126 h 604"/>
                  <a:gd name="T24" fmla="*/ 2 w 315"/>
                  <a:gd name="T25" fmla="*/ 110 h 604"/>
                  <a:gd name="T26" fmla="*/ 0 w 315"/>
                  <a:gd name="T27" fmla="*/ 93 h 604"/>
                  <a:gd name="T28" fmla="*/ 1 w 315"/>
                  <a:gd name="T29" fmla="*/ 76 h 604"/>
                  <a:gd name="T30" fmla="*/ 5 w 315"/>
                  <a:gd name="T31" fmla="*/ 58 h 604"/>
                  <a:gd name="T32" fmla="*/ 12 w 315"/>
                  <a:gd name="T33" fmla="*/ 41 h 604"/>
                  <a:gd name="T34" fmla="*/ 23 w 315"/>
                  <a:gd name="T35" fmla="*/ 26 h 604"/>
                  <a:gd name="T36" fmla="*/ 31 w 315"/>
                  <a:gd name="T37" fmla="*/ 20 h 604"/>
                  <a:gd name="T38" fmla="*/ 46 w 315"/>
                  <a:gd name="T39" fmla="*/ 10 h 604"/>
                  <a:gd name="T40" fmla="*/ 62 w 315"/>
                  <a:gd name="T41" fmla="*/ 4 h 604"/>
                  <a:gd name="T42" fmla="*/ 78 w 315"/>
                  <a:gd name="T43" fmla="*/ 1 h 604"/>
                  <a:gd name="T44" fmla="*/ 95 w 315"/>
                  <a:gd name="T45" fmla="*/ 1 h 604"/>
                  <a:gd name="T46" fmla="*/ 112 w 315"/>
                  <a:gd name="T47" fmla="*/ 4 h 604"/>
                  <a:gd name="T48" fmla="*/ 129 w 315"/>
                  <a:gd name="T49" fmla="*/ 10 h 604"/>
                  <a:gd name="T50" fmla="*/ 144 w 315"/>
                  <a:gd name="T51" fmla="*/ 20 h 604"/>
                  <a:gd name="T52" fmla="*/ 279 w 315"/>
                  <a:gd name="T53" fmla="*/ 156 h 604"/>
                  <a:gd name="T54" fmla="*/ 282 w 315"/>
                  <a:gd name="T55" fmla="*/ 160 h 604"/>
                  <a:gd name="T56" fmla="*/ 287 w 315"/>
                  <a:gd name="T57" fmla="*/ 170 h 604"/>
                  <a:gd name="T58" fmla="*/ 287 w 315"/>
                  <a:gd name="T59" fmla="*/ 181 h 604"/>
                  <a:gd name="T60" fmla="*/ 282 w 315"/>
                  <a:gd name="T61" fmla="*/ 191 h 604"/>
                  <a:gd name="T62" fmla="*/ 279 w 315"/>
                  <a:gd name="T63" fmla="*/ 196 h 604"/>
                  <a:gd name="T64" fmla="*/ 269 w 315"/>
                  <a:gd name="T65" fmla="*/ 202 h 604"/>
                  <a:gd name="T66" fmla="*/ 259 w 315"/>
                  <a:gd name="T67" fmla="*/ 204 h 604"/>
                  <a:gd name="T68" fmla="*/ 248 w 315"/>
                  <a:gd name="T69" fmla="*/ 202 h 604"/>
                  <a:gd name="T70" fmla="*/ 239 w 315"/>
                  <a:gd name="T71" fmla="*/ 196 h 604"/>
                  <a:gd name="T72" fmla="*/ 109 w 315"/>
                  <a:gd name="T73" fmla="*/ 67 h 604"/>
                  <a:gd name="T74" fmla="*/ 99 w 315"/>
                  <a:gd name="T75" fmla="*/ 60 h 604"/>
                  <a:gd name="T76" fmla="*/ 87 w 315"/>
                  <a:gd name="T77" fmla="*/ 58 h 604"/>
                  <a:gd name="T78" fmla="*/ 75 w 315"/>
                  <a:gd name="T79" fmla="*/ 60 h 604"/>
                  <a:gd name="T80" fmla="*/ 64 w 315"/>
                  <a:gd name="T81" fmla="*/ 67 h 604"/>
                  <a:gd name="T82" fmla="*/ 61 w 315"/>
                  <a:gd name="T83" fmla="*/ 72 h 604"/>
                  <a:gd name="T84" fmla="*/ 59 w 315"/>
                  <a:gd name="T85" fmla="*/ 84 h 604"/>
                  <a:gd name="T86" fmla="*/ 60 w 315"/>
                  <a:gd name="T87" fmla="*/ 98 h 604"/>
                  <a:gd name="T88" fmla="*/ 63 w 315"/>
                  <a:gd name="T89" fmla="*/ 109 h 604"/>
                  <a:gd name="T90" fmla="*/ 196 w 315"/>
                  <a:gd name="T91" fmla="*/ 302 h 604"/>
                  <a:gd name="T92" fmla="*/ 198 w 315"/>
                  <a:gd name="T93" fmla="*/ 306 h 604"/>
                  <a:gd name="T94" fmla="*/ 201 w 315"/>
                  <a:gd name="T95" fmla="*/ 314 h 604"/>
                  <a:gd name="T96" fmla="*/ 201 w 315"/>
                  <a:gd name="T97" fmla="*/ 376 h 604"/>
                  <a:gd name="T98" fmla="*/ 202 w 315"/>
                  <a:gd name="T99" fmla="*/ 382 h 604"/>
                  <a:gd name="T100" fmla="*/ 207 w 315"/>
                  <a:gd name="T101" fmla="*/ 398 h 604"/>
                  <a:gd name="T102" fmla="*/ 221 w 315"/>
                  <a:gd name="T103" fmla="*/ 429 h 604"/>
                  <a:gd name="T104" fmla="*/ 253 w 315"/>
                  <a:gd name="T105" fmla="*/ 479 h 604"/>
                  <a:gd name="T106" fmla="*/ 290 w 315"/>
                  <a:gd name="T107" fmla="*/ 532 h 604"/>
                  <a:gd name="T108" fmla="*/ 309 w 315"/>
                  <a:gd name="T109" fmla="*/ 557 h 604"/>
                  <a:gd name="T110" fmla="*/ 314 w 315"/>
                  <a:gd name="T111" fmla="*/ 567 h 604"/>
                  <a:gd name="T112" fmla="*/ 315 w 315"/>
                  <a:gd name="T113" fmla="*/ 578 h 604"/>
                  <a:gd name="T114" fmla="*/ 312 w 315"/>
                  <a:gd name="T115" fmla="*/ 589 h 604"/>
                  <a:gd name="T116" fmla="*/ 305 w 315"/>
                  <a:gd name="T117" fmla="*/ 598 h 604"/>
                  <a:gd name="T118" fmla="*/ 301 w 315"/>
                  <a:gd name="T119" fmla="*/ 601 h 604"/>
                  <a:gd name="T120" fmla="*/ 292 w 315"/>
                  <a:gd name="T121" fmla="*/ 604 h 604"/>
                  <a:gd name="T122" fmla="*/ 287 w 315"/>
                  <a:gd name="T123"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5" h="604">
                    <a:moveTo>
                      <a:pt x="287" y="604"/>
                    </a:moveTo>
                    <a:lnTo>
                      <a:pt x="287" y="604"/>
                    </a:lnTo>
                    <a:lnTo>
                      <a:pt x="281" y="604"/>
                    </a:lnTo>
                    <a:lnTo>
                      <a:pt x="275" y="602"/>
                    </a:lnTo>
                    <a:lnTo>
                      <a:pt x="270" y="598"/>
                    </a:lnTo>
                    <a:lnTo>
                      <a:pt x="265" y="594"/>
                    </a:lnTo>
                    <a:lnTo>
                      <a:pt x="265" y="594"/>
                    </a:lnTo>
                    <a:lnTo>
                      <a:pt x="238" y="557"/>
                    </a:lnTo>
                    <a:lnTo>
                      <a:pt x="217" y="530"/>
                    </a:lnTo>
                    <a:lnTo>
                      <a:pt x="197" y="499"/>
                    </a:lnTo>
                    <a:lnTo>
                      <a:pt x="177" y="465"/>
                    </a:lnTo>
                    <a:lnTo>
                      <a:pt x="168" y="449"/>
                    </a:lnTo>
                    <a:lnTo>
                      <a:pt x="160" y="433"/>
                    </a:lnTo>
                    <a:lnTo>
                      <a:pt x="154" y="417"/>
                    </a:lnTo>
                    <a:lnTo>
                      <a:pt x="149" y="402"/>
                    </a:lnTo>
                    <a:lnTo>
                      <a:pt x="146" y="388"/>
                    </a:lnTo>
                    <a:lnTo>
                      <a:pt x="145" y="376"/>
                    </a:lnTo>
                    <a:lnTo>
                      <a:pt x="145" y="327"/>
                    </a:lnTo>
                    <a:lnTo>
                      <a:pt x="20" y="148"/>
                    </a:lnTo>
                    <a:lnTo>
                      <a:pt x="20" y="148"/>
                    </a:lnTo>
                    <a:lnTo>
                      <a:pt x="16" y="144"/>
                    </a:lnTo>
                    <a:lnTo>
                      <a:pt x="13" y="139"/>
                    </a:lnTo>
                    <a:lnTo>
                      <a:pt x="10" y="132"/>
                    </a:lnTo>
                    <a:lnTo>
                      <a:pt x="7" y="126"/>
                    </a:lnTo>
                    <a:lnTo>
                      <a:pt x="4" y="118"/>
                    </a:lnTo>
                    <a:lnTo>
                      <a:pt x="2" y="110"/>
                    </a:lnTo>
                    <a:lnTo>
                      <a:pt x="1" y="102"/>
                    </a:lnTo>
                    <a:lnTo>
                      <a:pt x="0" y="93"/>
                    </a:lnTo>
                    <a:lnTo>
                      <a:pt x="0" y="85"/>
                    </a:lnTo>
                    <a:lnTo>
                      <a:pt x="1" y="76"/>
                    </a:lnTo>
                    <a:lnTo>
                      <a:pt x="3" y="67"/>
                    </a:lnTo>
                    <a:lnTo>
                      <a:pt x="5" y="58"/>
                    </a:lnTo>
                    <a:lnTo>
                      <a:pt x="8" y="50"/>
                    </a:lnTo>
                    <a:lnTo>
                      <a:pt x="12" y="41"/>
                    </a:lnTo>
                    <a:lnTo>
                      <a:pt x="17" y="33"/>
                    </a:lnTo>
                    <a:lnTo>
                      <a:pt x="23" y="26"/>
                    </a:lnTo>
                    <a:lnTo>
                      <a:pt x="23" y="26"/>
                    </a:lnTo>
                    <a:lnTo>
                      <a:pt x="31" y="20"/>
                    </a:lnTo>
                    <a:lnTo>
                      <a:pt x="38" y="15"/>
                    </a:lnTo>
                    <a:lnTo>
                      <a:pt x="46" y="10"/>
                    </a:lnTo>
                    <a:lnTo>
                      <a:pt x="54" y="7"/>
                    </a:lnTo>
                    <a:lnTo>
                      <a:pt x="62" y="4"/>
                    </a:lnTo>
                    <a:lnTo>
                      <a:pt x="70" y="2"/>
                    </a:lnTo>
                    <a:lnTo>
                      <a:pt x="78" y="1"/>
                    </a:lnTo>
                    <a:lnTo>
                      <a:pt x="87" y="0"/>
                    </a:lnTo>
                    <a:lnTo>
                      <a:pt x="95" y="1"/>
                    </a:lnTo>
                    <a:lnTo>
                      <a:pt x="104" y="2"/>
                    </a:lnTo>
                    <a:lnTo>
                      <a:pt x="112" y="4"/>
                    </a:lnTo>
                    <a:lnTo>
                      <a:pt x="120" y="7"/>
                    </a:lnTo>
                    <a:lnTo>
                      <a:pt x="129" y="10"/>
                    </a:lnTo>
                    <a:lnTo>
                      <a:pt x="137" y="15"/>
                    </a:lnTo>
                    <a:lnTo>
                      <a:pt x="144" y="20"/>
                    </a:lnTo>
                    <a:lnTo>
                      <a:pt x="150" y="26"/>
                    </a:lnTo>
                    <a:lnTo>
                      <a:pt x="279" y="156"/>
                    </a:lnTo>
                    <a:lnTo>
                      <a:pt x="279" y="156"/>
                    </a:lnTo>
                    <a:lnTo>
                      <a:pt x="282" y="160"/>
                    </a:lnTo>
                    <a:lnTo>
                      <a:pt x="285" y="165"/>
                    </a:lnTo>
                    <a:lnTo>
                      <a:pt x="287" y="170"/>
                    </a:lnTo>
                    <a:lnTo>
                      <a:pt x="287" y="176"/>
                    </a:lnTo>
                    <a:lnTo>
                      <a:pt x="287" y="181"/>
                    </a:lnTo>
                    <a:lnTo>
                      <a:pt x="285" y="186"/>
                    </a:lnTo>
                    <a:lnTo>
                      <a:pt x="282" y="191"/>
                    </a:lnTo>
                    <a:lnTo>
                      <a:pt x="279" y="196"/>
                    </a:lnTo>
                    <a:lnTo>
                      <a:pt x="279" y="196"/>
                    </a:lnTo>
                    <a:lnTo>
                      <a:pt x="274" y="199"/>
                    </a:lnTo>
                    <a:lnTo>
                      <a:pt x="269" y="202"/>
                    </a:lnTo>
                    <a:lnTo>
                      <a:pt x="264" y="203"/>
                    </a:lnTo>
                    <a:lnTo>
                      <a:pt x="259" y="204"/>
                    </a:lnTo>
                    <a:lnTo>
                      <a:pt x="253" y="203"/>
                    </a:lnTo>
                    <a:lnTo>
                      <a:pt x="248" y="202"/>
                    </a:lnTo>
                    <a:lnTo>
                      <a:pt x="243" y="199"/>
                    </a:lnTo>
                    <a:lnTo>
                      <a:pt x="239" y="196"/>
                    </a:lnTo>
                    <a:lnTo>
                      <a:pt x="109" y="67"/>
                    </a:lnTo>
                    <a:lnTo>
                      <a:pt x="109" y="67"/>
                    </a:lnTo>
                    <a:lnTo>
                      <a:pt x="104" y="63"/>
                    </a:lnTo>
                    <a:lnTo>
                      <a:pt x="99" y="60"/>
                    </a:lnTo>
                    <a:lnTo>
                      <a:pt x="93" y="58"/>
                    </a:lnTo>
                    <a:lnTo>
                      <a:pt x="87" y="58"/>
                    </a:lnTo>
                    <a:lnTo>
                      <a:pt x="81" y="58"/>
                    </a:lnTo>
                    <a:lnTo>
                      <a:pt x="75" y="60"/>
                    </a:lnTo>
                    <a:lnTo>
                      <a:pt x="69" y="63"/>
                    </a:lnTo>
                    <a:lnTo>
                      <a:pt x="64" y="67"/>
                    </a:lnTo>
                    <a:lnTo>
                      <a:pt x="64" y="67"/>
                    </a:lnTo>
                    <a:lnTo>
                      <a:pt x="61" y="72"/>
                    </a:lnTo>
                    <a:lnTo>
                      <a:pt x="59" y="78"/>
                    </a:lnTo>
                    <a:lnTo>
                      <a:pt x="59" y="84"/>
                    </a:lnTo>
                    <a:lnTo>
                      <a:pt x="59" y="91"/>
                    </a:lnTo>
                    <a:lnTo>
                      <a:pt x="60" y="98"/>
                    </a:lnTo>
                    <a:lnTo>
                      <a:pt x="61" y="104"/>
                    </a:lnTo>
                    <a:lnTo>
                      <a:pt x="63" y="109"/>
                    </a:lnTo>
                    <a:lnTo>
                      <a:pt x="65" y="112"/>
                    </a:lnTo>
                    <a:lnTo>
                      <a:pt x="196" y="302"/>
                    </a:lnTo>
                    <a:lnTo>
                      <a:pt x="196" y="302"/>
                    </a:lnTo>
                    <a:lnTo>
                      <a:pt x="198" y="306"/>
                    </a:lnTo>
                    <a:lnTo>
                      <a:pt x="200" y="310"/>
                    </a:lnTo>
                    <a:lnTo>
                      <a:pt x="201" y="314"/>
                    </a:lnTo>
                    <a:lnTo>
                      <a:pt x="201" y="318"/>
                    </a:lnTo>
                    <a:lnTo>
                      <a:pt x="201" y="376"/>
                    </a:lnTo>
                    <a:lnTo>
                      <a:pt x="201" y="376"/>
                    </a:lnTo>
                    <a:lnTo>
                      <a:pt x="202" y="382"/>
                    </a:lnTo>
                    <a:lnTo>
                      <a:pt x="204" y="389"/>
                    </a:lnTo>
                    <a:lnTo>
                      <a:pt x="207" y="398"/>
                    </a:lnTo>
                    <a:lnTo>
                      <a:pt x="211" y="407"/>
                    </a:lnTo>
                    <a:lnTo>
                      <a:pt x="221" y="429"/>
                    </a:lnTo>
                    <a:lnTo>
                      <a:pt x="236" y="453"/>
                    </a:lnTo>
                    <a:lnTo>
                      <a:pt x="253" y="479"/>
                    </a:lnTo>
                    <a:lnTo>
                      <a:pt x="271" y="506"/>
                    </a:lnTo>
                    <a:lnTo>
                      <a:pt x="290" y="532"/>
                    </a:lnTo>
                    <a:lnTo>
                      <a:pt x="309" y="557"/>
                    </a:lnTo>
                    <a:lnTo>
                      <a:pt x="309" y="557"/>
                    </a:lnTo>
                    <a:lnTo>
                      <a:pt x="312" y="562"/>
                    </a:lnTo>
                    <a:lnTo>
                      <a:pt x="314" y="567"/>
                    </a:lnTo>
                    <a:lnTo>
                      <a:pt x="315" y="573"/>
                    </a:lnTo>
                    <a:lnTo>
                      <a:pt x="315" y="578"/>
                    </a:lnTo>
                    <a:lnTo>
                      <a:pt x="314" y="583"/>
                    </a:lnTo>
                    <a:lnTo>
                      <a:pt x="312" y="589"/>
                    </a:lnTo>
                    <a:lnTo>
                      <a:pt x="309" y="594"/>
                    </a:lnTo>
                    <a:lnTo>
                      <a:pt x="305" y="598"/>
                    </a:lnTo>
                    <a:lnTo>
                      <a:pt x="305" y="598"/>
                    </a:lnTo>
                    <a:lnTo>
                      <a:pt x="301" y="601"/>
                    </a:lnTo>
                    <a:lnTo>
                      <a:pt x="296" y="603"/>
                    </a:lnTo>
                    <a:lnTo>
                      <a:pt x="292" y="604"/>
                    </a:lnTo>
                    <a:lnTo>
                      <a:pt x="287" y="604"/>
                    </a:lnTo>
                    <a:lnTo>
                      <a:pt x="287" y="6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2" name="Rectangle 14">
                <a:extLst>
                  <a:ext uri="{FF2B5EF4-FFF2-40B4-BE49-F238E27FC236}">
                    <a16:creationId xmlns:a16="http://schemas.microsoft.com/office/drawing/2014/main" id="{7A6C21D0-B8FA-ED25-DA1E-603BB0245CEA}"/>
                  </a:ext>
                </a:extLst>
              </p:cNvPr>
              <p:cNvSpPr>
                <a:spLocks noChangeArrowheads="1"/>
              </p:cNvSpPr>
              <p:nvPr/>
            </p:nvSpPr>
            <p:spPr bwMode="auto">
              <a:xfrm>
                <a:off x="4946650" y="3171826"/>
                <a:ext cx="58738"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4" name="Freeform 15">
                <a:extLst>
                  <a:ext uri="{FF2B5EF4-FFF2-40B4-BE49-F238E27FC236}">
                    <a16:creationId xmlns:a16="http://schemas.microsoft.com/office/drawing/2014/main" id="{F84AD9B1-AB77-D38F-78ED-E4EC738107AB}"/>
                  </a:ext>
                </a:extLst>
              </p:cNvPr>
              <p:cNvSpPr>
                <a:spLocks/>
              </p:cNvSpPr>
              <p:nvPr/>
            </p:nvSpPr>
            <p:spPr bwMode="auto">
              <a:xfrm>
                <a:off x="4916488" y="3171826"/>
                <a:ext cx="14288" cy="15875"/>
              </a:xfrm>
              <a:custGeom>
                <a:avLst/>
                <a:gdLst>
                  <a:gd name="T0" fmla="*/ 29 w 58"/>
                  <a:gd name="T1" fmla="*/ 0 h 58"/>
                  <a:gd name="T2" fmla="*/ 29 w 58"/>
                  <a:gd name="T3" fmla="*/ 0 h 58"/>
                  <a:gd name="T4" fmla="*/ 23 w 58"/>
                  <a:gd name="T5" fmla="*/ 1 h 58"/>
                  <a:gd name="T6" fmla="*/ 18 w 58"/>
                  <a:gd name="T7" fmla="*/ 2 h 58"/>
                  <a:gd name="T8" fmla="*/ 13 w 58"/>
                  <a:gd name="T9" fmla="*/ 5 h 58"/>
                  <a:gd name="T10" fmla="*/ 9 w 58"/>
                  <a:gd name="T11" fmla="*/ 8 h 58"/>
                  <a:gd name="T12" fmla="*/ 5 w 58"/>
                  <a:gd name="T13" fmla="*/ 13 h 58"/>
                  <a:gd name="T14" fmla="*/ 3 w 58"/>
                  <a:gd name="T15" fmla="*/ 17 h 58"/>
                  <a:gd name="T16" fmla="*/ 1 w 58"/>
                  <a:gd name="T17" fmla="*/ 23 h 58"/>
                  <a:gd name="T18" fmla="*/ 0 w 58"/>
                  <a:gd name="T19" fmla="*/ 28 h 58"/>
                  <a:gd name="T20" fmla="*/ 0 w 58"/>
                  <a:gd name="T21" fmla="*/ 28 h 58"/>
                  <a:gd name="T22" fmla="*/ 1 w 58"/>
                  <a:gd name="T23" fmla="*/ 34 h 58"/>
                  <a:gd name="T24" fmla="*/ 3 w 58"/>
                  <a:gd name="T25" fmla="*/ 39 h 58"/>
                  <a:gd name="T26" fmla="*/ 5 w 58"/>
                  <a:gd name="T27" fmla="*/ 44 h 58"/>
                  <a:gd name="T28" fmla="*/ 9 w 58"/>
                  <a:gd name="T29" fmla="*/ 48 h 58"/>
                  <a:gd name="T30" fmla="*/ 13 w 58"/>
                  <a:gd name="T31" fmla="*/ 53 h 58"/>
                  <a:gd name="T32" fmla="*/ 18 w 58"/>
                  <a:gd name="T33" fmla="*/ 56 h 58"/>
                  <a:gd name="T34" fmla="*/ 23 w 58"/>
                  <a:gd name="T35" fmla="*/ 57 h 58"/>
                  <a:gd name="T36" fmla="*/ 29 w 58"/>
                  <a:gd name="T37" fmla="*/ 58 h 58"/>
                  <a:gd name="T38" fmla="*/ 29 w 58"/>
                  <a:gd name="T39" fmla="*/ 58 h 58"/>
                  <a:gd name="T40" fmla="*/ 34 w 58"/>
                  <a:gd name="T41" fmla="*/ 57 h 58"/>
                  <a:gd name="T42" fmla="*/ 41 w 58"/>
                  <a:gd name="T43" fmla="*/ 56 h 58"/>
                  <a:gd name="T44" fmla="*/ 46 w 58"/>
                  <a:gd name="T45" fmla="*/ 53 h 58"/>
                  <a:gd name="T46" fmla="*/ 50 w 58"/>
                  <a:gd name="T47" fmla="*/ 48 h 58"/>
                  <a:gd name="T48" fmla="*/ 53 w 58"/>
                  <a:gd name="T49" fmla="*/ 44 h 58"/>
                  <a:gd name="T50" fmla="*/ 56 w 58"/>
                  <a:gd name="T51" fmla="*/ 39 h 58"/>
                  <a:gd name="T52" fmla="*/ 57 w 58"/>
                  <a:gd name="T53" fmla="*/ 34 h 58"/>
                  <a:gd name="T54" fmla="*/ 58 w 58"/>
                  <a:gd name="T55" fmla="*/ 28 h 58"/>
                  <a:gd name="T56" fmla="*/ 58 w 58"/>
                  <a:gd name="T57" fmla="*/ 28 h 58"/>
                  <a:gd name="T58" fmla="*/ 57 w 58"/>
                  <a:gd name="T59" fmla="*/ 23 h 58"/>
                  <a:gd name="T60" fmla="*/ 56 w 58"/>
                  <a:gd name="T61" fmla="*/ 17 h 58"/>
                  <a:gd name="T62" fmla="*/ 53 w 58"/>
                  <a:gd name="T63" fmla="*/ 13 h 58"/>
                  <a:gd name="T64" fmla="*/ 50 w 58"/>
                  <a:gd name="T65" fmla="*/ 8 h 58"/>
                  <a:gd name="T66" fmla="*/ 46 w 58"/>
                  <a:gd name="T67" fmla="*/ 5 h 58"/>
                  <a:gd name="T68" fmla="*/ 41 w 58"/>
                  <a:gd name="T69" fmla="*/ 2 h 58"/>
                  <a:gd name="T70" fmla="*/ 34 w 58"/>
                  <a:gd name="T71" fmla="*/ 1 h 58"/>
                  <a:gd name="T72" fmla="*/ 29 w 58"/>
                  <a:gd name="T73" fmla="*/ 0 h 58"/>
                  <a:gd name="T74" fmla="*/ 29 w 58"/>
                  <a:gd name="T7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8">
                    <a:moveTo>
                      <a:pt x="29" y="0"/>
                    </a:moveTo>
                    <a:lnTo>
                      <a:pt x="29" y="0"/>
                    </a:lnTo>
                    <a:lnTo>
                      <a:pt x="23" y="1"/>
                    </a:lnTo>
                    <a:lnTo>
                      <a:pt x="18" y="2"/>
                    </a:lnTo>
                    <a:lnTo>
                      <a:pt x="13" y="5"/>
                    </a:lnTo>
                    <a:lnTo>
                      <a:pt x="9" y="8"/>
                    </a:lnTo>
                    <a:lnTo>
                      <a:pt x="5" y="13"/>
                    </a:lnTo>
                    <a:lnTo>
                      <a:pt x="3" y="17"/>
                    </a:lnTo>
                    <a:lnTo>
                      <a:pt x="1" y="23"/>
                    </a:lnTo>
                    <a:lnTo>
                      <a:pt x="0" y="28"/>
                    </a:lnTo>
                    <a:lnTo>
                      <a:pt x="0" y="28"/>
                    </a:lnTo>
                    <a:lnTo>
                      <a:pt x="1" y="34"/>
                    </a:lnTo>
                    <a:lnTo>
                      <a:pt x="3" y="39"/>
                    </a:lnTo>
                    <a:lnTo>
                      <a:pt x="5" y="44"/>
                    </a:lnTo>
                    <a:lnTo>
                      <a:pt x="9" y="48"/>
                    </a:lnTo>
                    <a:lnTo>
                      <a:pt x="13" y="53"/>
                    </a:lnTo>
                    <a:lnTo>
                      <a:pt x="18" y="56"/>
                    </a:lnTo>
                    <a:lnTo>
                      <a:pt x="23" y="57"/>
                    </a:lnTo>
                    <a:lnTo>
                      <a:pt x="29" y="58"/>
                    </a:lnTo>
                    <a:lnTo>
                      <a:pt x="29" y="58"/>
                    </a:lnTo>
                    <a:lnTo>
                      <a:pt x="34" y="57"/>
                    </a:lnTo>
                    <a:lnTo>
                      <a:pt x="41" y="56"/>
                    </a:lnTo>
                    <a:lnTo>
                      <a:pt x="46" y="53"/>
                    </a:lnTo>
                    <a:lnTo>
                      <a:pt x="50" y="48"/>
                    </a:lnTo>
                    <a:lnTo>
                      <a:pt x="53" y="44"/>
                    </a:lnTo>
                    <a:lnTo>
                      <a:pt x="56" y="39"/>
                    </a:lnTo>
                    <a:lnTo>
                      <a:pt x="57" y="34"/>
                    </a:lnTo>
                    <a:lnTo>
                      <a:pt x="58" y="28"/>
                    </a:lnTo>
                    <a:lnTo>
                      <a:pt x="58" y="28"/>
                    </a:lnTo>
                    <a:lnTo>
                      <a:pt x="57" y="23"/>
                    </a:lnTo>
                    <a:lnTo>
                      <a:pt x="56" y="17"/>
                    </a:lnTo>
                    <a:lnTo>
                      <a:pt x="53" y="13"/>
                    </a:lnTo>
                    <a:lnTo>
                      <a:pt x="50" y="8"/>
                    </a:lnTo>
                    <a:lnTo>
                      <a:pt x="46" y="5"/>
                    </a:lnTo>
                    <a:lnTo>
                      <a:pt x="41" y="2"/>
                    </a:lnTo>
                    <a:lnTo>
                      <a:pt x="34" y="1"/>
                    </a:lnTo>
                    <a:lnTo>
                      <a:pt x="29"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6" name="Freeform 16">
                <a:extLst>
                  <a:ext uri="{FF2B5EF4-FFF2-40B4-BE49-F238E27FC236}">
                    <a16:creationId xmlns:a16="http://schemas.microsoft.com/office/drawing/2014/main" id="{E88189CA-3E81-4B7F-8F6F-00DBCFDCF363}"/>
                  </a:ext>
                </a:extLst>
              </p:cNvPr>
              <p:cNvSpPr>
                <a:spLocks/>
              </p:cNvSpPr>
              <p:nvPr/>
            </p:nvSpPr>
            <p:spPr bwMode="auto">
              <a:xfrm>
                <a:off x="5021263" y="3171826"/>
                <a:ext cx="15875" cy="15875"/>
              </a:xfrm>
              <a:custGeom>
                <a:avLst/>
                <a:gdLst>
                  <a:gd name="T0" fmla="*/ 28 w 57"/>
                  <a:gd name="T1" fmla="*/ 0 h 58"/>
                  <a:gd name="T2" fmla="*/ 28 w 57"/>
                  <a:gd name="T3" fmla="*/ 0 h 58"/>
                  <a:gd name="T4" fmla="*/ 22 w 57"/>
                  <a:gd name="T5" fmla="*/ 1 h 58"/>
                  <a:gd name="T6" fmla="*/ 17 w 57"/>
                  <a:gd name="T7" fmla="*/ 2 h 58"/>
                  <a:gd name="T8" fmla="*/ 12 w 57"/>
                  <a:gd name="T9" fmla="*/ 5 h 58"/>
                  <a:gd name="T10" fmla="*/ 8 w 57"/>
                  <a:gd name="T11" fmla="*/ 8 h 58"/>
                  <a:gd name="T12" fmla="*/ 5 w 57"/>
                  <a:gd name="T13" fmla="*/ 13 h 58"/>
                  <a:gd name="T14" fmla="*/ 2 w 57"/>
                  <a:gd name="T15" fmla="*/ 17 h 58"/>
                  <a:gd name="T16" fmla="*/ 0 w 57"/>
                  <a:gd name="T17" fmla="*/ 23 h 58"/>
                  <a:gd name="T18" fmla="*/ 0 w 57"/>
                  <a:gd name="T19" fmla="*/ 28 h 58"/>
                  <a:gd name="T20" fmla="*/ 0 w 57"/>
                  <a:gd name="T21" fmla="*/ 28 h 58"/>
                  <a:gd name="T22" fmla="*/ 0 w 57"/>
                  <a:gd name="T23" fmla="*/ 34 h 58"/>
                  <a:gd name="T24" fmla="*/ 2 w 57"/>
                  <a:gd name="T25" fmla="*/ 39 h 58"/>
                  <a:gd name="T26" fmla="*/ 5 w 57"/>
                  <a:gd name="T27" fmla="*/ 44 h 58"/>
                  <a:gd name="T28" fmla="*/ 8 w 57"/>
                  <a:gd name="T29" fmla="*/ 48 h 58"/>
                  <a:gd name="T30" fmla="*/ 12 w 57"/>
                  <a:gd name="T31" fmla="*/ 53 h 58"/>
                  <a:gd name="T32" fmla="*/ 17 w 57"/>
                  <a:gd name="T33" fmla="*/ 56 h 58"/>
                  <a:gd name="T34" fmla="*/ 22 w 57"/>
                  <a:gd name="T35" fmla="*/ 57 h 58"/>
                  <a:gd name="T36" fmla="*/ 28 w 57"/>
                  <a:gd name="T37" fmla="*/ 58 h 58"/>
                  <a:gd name="T38" fmla="*/ 28 w 57"/>
                  <a:gd name="T39" fmla="*/ 58 h 58"/>
                  <a:gd name="T40" fmla="*/ 34 w 57"/>
                  <a:gd name="T41" fmla="*/ 57 h 58"/>
                  <a:gd name="T42" fmla="*/ 40 w 57"/>
                  <a:gd name="T43" fmla="*/ 56 h 58"/>
                  <a:gd name="T44" fmla="*/ 45 w 57"/>
                  <a:gd name="T45" fmla="*/ 53 h 58"/>
                  <a:gd name="T46" fmla="*/ 49 w 57"/>
                  <a:gd name="T47" fmla="*/ 48 h 58"/>
                  <a:gd name="T48" fmla="*/ 53 w 57"/>
                  <a:gd name="T49" fmla="*/ 44 h 58"/>
                  <a:gd name="T50" fmla="*/ 55 w 57"/>
                  <a:gd name="T51" fmla="*/ 39 h 58"/>
                  <a:gd name="T52" fmla="*/ 57 w 57"/>
                  <a:gd name="T53" fmla="*/ 34 h 58"/>
                  <a:gd name="T54" fmla="*/ 57 w 57"/>
                  <a:gd name="T55" fmla="*/ 28 h 58"/>
                  <a:gd name="T56" fmla="*/ 57 w 57"/>
                  <a:gd name="T57" fmla="*/ 28 h 58"/>
                  <a:gd name="T58" fmla="*/ 57 w 57"/>
                  <a:gd name="T59" fmla="*/ 23 h 58"/>
                  <a:gd name="T60" fmla="*/ 55 w 57"/>
                  <a:gd name="T61" fmla="*/ 17 h 58"/>
                  <a:gd name="T62" fmla="*/ 53 w 57"/>
                  <a:gd name="T63" fmla="*/ 13 h 58"/>
                  <a:gd name="T64" fmla="*/ 49 w 57"/>
                  <a:gd name="T65" fmla="*/ 8 h 58"/>
                  <a:gd name="T66" fmla="*/ 45 w 57"/>
                  <a:gd name="T67" fmla="*/ 5 h 58"/>
                  <a:gd name="T68" fmla="*/ 40 w 57"/>
                  <a:gd name="T69" fmla="*/ 2 h 58"/>
                  <a:gd name="T70" fmla="*/ 34 w 57"/>
                  <a:gd name="T71" fmla="*/ 1 h 58"/>
                  <a:gd name="T72" fmla="*/ 28 w 57"/>
                  <a:gd name="T73" fmla="*/ 0 h 58"/>
                  <a:gd name="T74" fmla="*/ 28 w 57"/>
                  <a:gd name="T7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 h="58">
                    <a:moveTo>
                      <a:pt x="28" y="0"/>
                    </a:moveTo>
                    <a:lnTo>
                      <a:pt x="28" y="0"/>
                    </a:lnTo>
                    <a:lnTo>
                      <a:pt x="22" y="1"/>
                    </a:lnTo>
                    <a:lnTo>
                      <a:pt x="17" y="2"/>
                    </a:lnTo>
                    <a:lnTo>
                      <a:pt x="12" y="5"/>
                    </a:lnTo>
                    <a:lnTo>
                      <a:pt x="8" y="8"/>
                    </a:lnTo>
                    <a:lnTo>
                      <a:pt x="5" y="13"/>
                    </a:lnTo>
                    <a:lnTo>
                      <a:pt x="2" y="17"/>
                    </a:lnTo>
                    <a:lnTo>
                      <a:pt x="0" y="23"/>
                    </a:lnTo>
                    <a:lnTo>
                      <a:pt x="0" y="28"/>
                    </a:lnTo>
                    <a:lnTo>
                      <a:pt x="0" y="28"/>
                    </a:lnTo>
                    <a:lnTo>
                      <a:pt x="0" y="34"/>
                    </a:lnTo>
                    <a:lnTo>
                      <a:pt x="2" y="39"/>
                    </a:lnTo>
                    <a:lnTo>
                      <a:pt x="5" y="44"/>
                    </a:lnTo>
                    <a:lnTo>
                      <a:pt x="8" y="48"/>
                    </a:lnTo>
                    <a:lnTo>
                      <a:pt x="12" y="53"/>
                    </a:lnTo>
                    <a:lnTo>
                      <a:pt x="17" y="56"/>
                    </a:lnTo>
                    <a:lnTo>
                      <a:pt x="22" y="57"/>
                    </a:lnTo>
                    <a:lnTo>
                      <a:pt x="28" y="58"/>
                    </a:lnTo>
                    <a:lnTo>
                      <a:pt x="28" y="58"/>
                    </a:lnTo>
                    <a:lnTo>
                      <a:pt x="34" y="57"/>
                    </a:lnTo>
                    <a:lnTo>
                      <a:pt x="40" y="56"/>
                    </a:lnTo>
                    <a:lnTo>
                      <a:pt x="45" y="53"/>
                    </a:lnTo>
                    <a:lnTo>
                      <a:pt x="49" y="48"/>
                    </a:lnTo>
                    <a:lnTo>
                      <a:pt x="53" y="44"/>
                    </a:lnTo>
                    <a:lnTo>
                      <a:pt x="55" y="39"/>
                    </a:lnTo>
                    <a:lnTo>
                      <a:pt x="57" y="34"/>
                    </a:lnTo>
                    <a:lnTo>
                      <a:pt x="57" y="28"/>
                    </a:lnTo>
                    <a:lnTo>
                      <a:pt x="57" y="28"/>
                    </a:lnTo>
                    <a:lnTo>
                      <a:pt x="57" y="23"/>
                    </a:lnTo>
                    <a:lnTo>
                      <a:pt x="55" y="17"/>
                    </a:lnTo>
                    <a:lnTo>
                      <a:pt x="53" y="13"/>
                    </a:lnTo>
                    <a:lnTo>
                      <a:pt x="49" y="8"/>
                    </a:lnTo>
                    <a:lnTo>
                      <a:pt x="45" y="5"/>
                    </a:lnTo>
                    <a:lnTo>
                      <a:pt x="40" y="2"/>
                    </a:lnTo>
                    <a:lnTo>
                      <a:pt x="34" y="1"/>
                    </a:lnTo>
                    <a:lnTo>
                      <a:pt x="28"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7" name="Rectangle 17">
                <a:extLst>
                  <a:ext uri="{FF2B5EF4-FFF2-40B4-BE49-F238E27FC236}">
                    <a16:creationId xmlns:a16="http://schemas.microsoft.com/office/drawing/2014/main" id="{806AF9E6-446C-4492-6A23-E5EEB420AF12}"/>
                  </a:ext>
                </a:extLst>
              </p:cNvPr>
              <p:cNvSpPr>
                <a:spLocks noChangeArrowheads="1"/>
              </p:cNvSpPr>
              <p:nvPr/>
            </p:nvSpPr>
            <p:spPr bwMode="auto">
              <a:xfrm>
                <a:off x="4930775" y="3081338"/>
                <a:ext cx="1063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8" name="Rectangle 18">
                <a:extLst>
                  <a:ext uri="{FF2B5EF4-FFF2-40B4-BE49-F238E27FC236}">
                    <a16:creationId xmlns:a16="http://schemas.microsoft.com/office/drawing/2014/main" id="{FBE22388-07CB-2C82-3EE6-49E0C43F9640}"/>
                  </a:ext>
                </a:extLst>
              </p:cNvPr>
              <p:cNvSpPr>
                <a:spLocks noChangeArrowheads="1"/>
              </p:cNvSpPr>
              <p:nvPr/>
            </p:nvSpPr>
            <p:spPr bwMode="auto">
              <a:xfrm>
                <a:off x="4930775" y="3051176"/>
                <a:ext cx="1063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9" name="Rectangle 19">
                <a:extLst>
                  <a:ext uri="{FF2B5EF4-FFF2-40B4-BE49-F238E27FC236}">
                    <a16:creationId xmlns:a16="http://schemas.microsoft.com/office/drawing/2014/main" id="{CAF043A2-F0A4-EE84-7A79-68CDD3F5ABD9}"/>
                  </a:ext>
                </a:extLst>
              </p:cNvPr>
              <p:cNvSpPr>
                <a:spLocks noChangeArrowheads="1"/>
              </p:cNvSpPr>
              <p:nvPr/>
            </p:nvSpPr>
            <p:spPr bwMode="auto">
              <a:xfrm>
                <a:off x="4930775" y="3021013"/>
                <a:ext cx="1063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0" name="Rectangle 20">
                <a:extLst>
                  <a:ext uri="{FF2B5EF4-FFF2-40B4-BE49-F238E27FC236}">
                    <a16:creationId xmlns:a16="http://schemas.microsoft.com/office/drawing/2014/main" id="{5C8653AC-31F4-BFEA-D416-9CDDC9B3DD0A}"/>
                  </a:ext>
                </a:extLst>
              </p:cNvPr>
              <p:cNvSpPr>
                <a:spLocks noChangeArrowheads="1"/>
              </p:cNvSpPr>
              <p:nvPr/>
            </p:nvSpPr>
            <p:spPr bwMode="auto">
              <a:xfrm>
                <a:off x="4930775" y="2990851"/>
                <a:ext cx="1063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2" name="Rectangle 21">
                <a:extLst>
                  <a:ext uri="{FF2B5EF4-FFF2-40B4-BE49-F238E27FC236}">
                    <a16:creationId xmlns:a16="http://schemas.microsoft.com/office/drawing/2014/main" id="{DDD29DF2-2A70-2E92-AFAC-7E719DA2F190}"/>
                  </a:ext>
                </a:extLst>
              </p:cNvPr>
              <p:cNvSpPr>
                <a:spLocks noChangeArrowheads="1"/>
              </p:cNvSpPr>
              <p:nvPr/>
            </p:nvSpPr>
            <p:spPr bwMode="auto">
              <a:xfrm>
                <a:off x="4930775" y="2960688"/>
                <a:ext cx="60325"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pic>
          <p:nvPicPr>
            <p:cNvPr id="16" name="Graphic 15">
              <a:extLst>
                <a:ext uri="{FF2B5EF4-FFF2-40B4-BE49-F238E27FC236}">
                  <a16:creationId xmlns:a16="http://schemas.microsoft.com/office/drawing/2014/main" id="{523BA29E-BD03-9BDF-1E07-6853435312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01258" y="2888159"/>
              <a:ext cx="259072" cy="259072"/>
            </a:xfrm>
            <a:prstGeom prst="rect">
              <a:avLst/>
            </a:prstGeom>
          </p:spPr>
        </p:pic>
        <p:grpSp>
          <p:nvGrpSpPr>
            <p:cNvPr id="3" name="Group 2">
              <a:extLst>
                <a:ext uri="{FF2B5EF4-FFF2-40B4-BE49-F238E27FC236}">
                  <a16:creationId xmlns:a16="http://schemas.microsoft.com/office/drawing/2014/main" id="{19F9FD19-8B39-D32A-D0AE-DB35B4132AF8}"/>
                </a:ext>
              </a:extLst>
            </p:cNvPr>
            <p:cNvGrpSpPr/>
            <p:nvPr/>
          </p:nvGrpSpPr>
          <p:grpSpPr>
            <a:xfrm>
              <a:off x="4981455" y="2513642"/>
              <a:ext cx="287904" cy="287903"/>
              <a:chOff x="4835525" y="5048251"/>
              <a:chExt cx="360363" cy="360362"/>
            </a:xfrm>
            <a:solidFill>
              <a:schemeClr val="bg1"/>
            </a:solidFill>
          </p:grpSpPr>
          <p:sp>
            <p:nvSpPr>
              <p:cNvPr id="17" name="Freeform 429">
                <a:extLst>
                  <a:ext uri="{FF2B5EF4-FFF2-40B4-BE49-F238E27FC236}">
                    <a16:creationId xmlns:a16="http://schemas.microsoft.com/office/drawing/2014/main" id="{8EAD775E-979B-2017-C8C2-82E9D9DEB45F}"/>
                  </a:ext>
                </a:extLst>
              </p:cNvPr>
              <p:cNvSpPr>
                <a:spLocks noEditPoints="1"/>
              </p:cNvSpPr>
              <p:nvPr/>
            </p:nvSpPr>
            <p:spPr bwMode="auto">
              <a:xfrm>
                <a:off x="4835525" y="5048251"/>
                <a:ext cx="165100" cy="165100"/>
              </a:xfrm>
              <a:custGeom>
                <a:avLst/>
                <a:gdLst>
                  <a:gd name="T0" fmla="*/ 596 w 624"/>
                  <a:gd name="T1" fmla="*/ 624 h 624"/>
                  <a:gd name="T2" fmla="*/ 29 w 624"/>
                  <a:gd name="T3" fmla="*/ 624 h 624"/>
                  <a:gd name="T4" fmla="*/ 29 w 624"/>
                  <a:gd name="T5" fmla="*/ 624 h 624"/>
                  <a:gd name="T6" fmla="*/ 23 w 624"/>
                  <a:gd name="T7" fmla="*/ 623 h 624"/>
                  <a:gd name="T8" fmla="*/ 18 w 624"/>
                  <a:gd name="T9" fmla="*/ 621 h 624"/>
                  <a:gd name="T10" fmla="*/ 13 w 624"/>
                  <a:gd name="T11" fmla="*/ 619 h 624"/>
                  <a:gd name="T12" fmla="*/ 9 w 624"/>
                  <a:gd name="T13" fmla="*/ 615 h 624"/>
                  <a:gd name="T14" fmla="*/ 5 w 624"/>
                  <a:gd name="T15" fmla="*/ 611 h 624"/>
                  <a:gd name="T16" fmla="*/ 3 w 624"/>
                  <a:gd name="T17" fmla="*/ 606 h 624"/>
                  <a:gd name="T18" fmla="*/ 1 w 624"/>
                  <a:gd name="T19" fmla="*/ 600 h 624"/>
                  <a:gd name="T20" fmla="*/ 0 w 624"/>
                  <a:gd name="T21" fmla="*/ 594 h 624"/>
                  <a:gd name="T22" fmla="*/ 0 w 624"/>
                  <a:gd name="T23" fmla="*/ 28 h 624"/>
                  <a:gd name="T24" fmla="*/ 0 w 624"/>
                  <a:gd name="T25" fmla="*/ 28 h 624"/>
                  <a:gd name="T26" fmla="*/ 1 w 624"/>
                  <a:gd name="T27" fmla="*/ 23 h 624"/>
                  <a:gd name="T28" fmla="*/ 3 w 624"/>
                  <a:gd name="T29" fmla="*/ 17 h 624"/>
                  <a:gd name="T30" fmla="*/ 5 w 624"/>
                  <a:gd name="T31" fmla="*/ 13 h 624"/>
                  <a:gd name="T32" fmla="*/ 9 w 624"/>
                  <a:gd name="T33" fmla="*/ 8 h 624"/>
                  <a:gd name="T34" fmla="*/ 13 w 624"/>
                  <a:gd name="T35" fmla="*/ 5 h 624"/>
                  <a:gd name="T36" fmla="*/ 18 w 624"/>
                  <a:gd name="T37" fmla="*/ 2 h 624"/>
                  <a:gd name="T38" fmla="*/ 23 w 624"/>
                  <a:gd name="T39" fmla="*/ 1 h 624"/>
                  <a:gd name="T40" fmla="*/ 29 w 624"/>
                  <a:gd name="T41" fmla="*/ 0 h 624"/>
                  <a:gd name="T42" fmla="*/ 596 w 624"/>
                  <a:gd name="T43" fmla="*/ 0 h 624"/>
                  <a:gd name="T44" fmla="*/ 596 w 624"/>
                  <a:gd name="T45" fmla="*/ 0 h 624"/>
                  <a:gd name="T46" fmla="*/ 601 w 624"/>
                  <a:gd name="T47" fmla="*/ 1 h 624"/>
                  <a:gd name="T48" fmla="*/ 607 w 624"/>
                  <a:gd name="T49" fmla="*/ 2 h 624"/>
                  <a:gd name="T50" fmla="*/ 611 w 624"/>
                  <a:gd name="T51" fmla="*/ 5 h 624"/>
                  <a:gd name="T52" fmla="*/ 616 w 624"/>
                  <a:gd name="T53" fmla="*/ 8 h 624"/>
                  <a:gd name="T54" fmla="*/ 619 w 624"/>
                  <a:gd name="T55" fmla="*/ 13 h 624"/>
                  <a:gd name="T56" fmla="*/ 622 w 624"/>
                  <a:gd name="T57" fmla="*/ 17 h 624"/>
                  <a:gd name="T58" fmla="*/ 623 w 624"/>
                  <a:gd name="T59" fmla="*/ 23 h 624"/>
                  <a:gd name="T60" fmla="*/ 624 w 624"/>
                  <a:gd name="T61" fmla="*/ 28 h 624"/>
                  <a:gd name="T62" fmla="*/ 624 w 624"/>
                  <a:gd name="T63" fmla="*/ 594 h 624"/>
                  <a:gd name="T64" fmla="*/ 624 w 624"/>
                  <a:gd name="T65" fmla="*/ 594 h 624"/>
                  <a:gd name="T66" fmla="*/ 623 w 624"/>
                  <a:gd name="T67" fmla="*/ 600 h 624"/>
                  <a:gd name="T68" fmla="*/ 622 w 624"/>
                  <a:gd name="T69" fmla="*/ 606 h 624"/>
                  <a:gd name="T70" fmla="*/ 619 w 624"/>
                  <a:gd name="T71" fmla="*/ 611 h 624"/>
                  <a:gd name="T72" fmla="*/ 616 w 624"/>
                  <a:gd name="T73" fmla="*/ 615 h 624"/>
                  <a:gd name="T74" fmla="*/ 611 w 624"/>
                  <a:gd name="T75" fmla="*/ 619 h 624"/>
                  <a:gd name="T76" fmla="*/ 607 w 624"/>
                  <a:gd name="T77" fmla="*/ 621 h 624"/>
                  <a:gd name="T78" fmla="*/ 601 w 624"/>
                  <a:gd name="T79" fmla="*/ 623 h 624"/>
                  <a:gd name="T80" fmla="*/ 596 w 624"/>
                  <a:gd name="T81" fmla="*/ 624 h 624"/>
                  <a:gd name="T82" fmla="*/ 596 w 624"/>
                  <a:gd name="T83" fmla="*/ 624 h 624"/>
                  <a:gd name="T84" fmla="*/ 58 w 624"/>
                  <a:gd name="T85" fmla="*/ 566 h 624"/>
                  <a:gd name="T86" fmla="*/ 568 w 624"/>
                  <a:gd name="T87" fmla="*/ 566 h 624"/>
                  <a:gd name="T88" fmla="*/ 568 w 624"/>
                  <a:gd name="T89" fmla="*/ 56 h 624"/>
                  <a:gd name="T90" fmla="*/ 58 w 624"/>
                  <a:gd name="T91" fmla="*/ 56 h 624"/>
                  <a:gd name="T92" fmla="*/ 58 w 624"/>
                  <a:gd name="T93" fmla="*/ 566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4" h="624">
                    <a:moveTo>
                      <a:pt x="596" y="624"/>
                    </a:moveTo>
                    <a:lnTo>
                      <a:pt x="29" y="624"/>
                    </a:lnTo>
                    <a:lnTo>
                      <a:pt x="29" y="624"/>
                    </a:lnTo>
                    <a:lnTo>
                      <a:pt x="23" y="623"/>
                    </a:lnTo>
                    <a:lnTo>
                      <a:pt x="18" y="621"/>
                    </a:lnTo>
                    <a:lnTo>
                      <a:pt x="13" y="619"/>
                    </a:lnTo>
                    <a:lnTo>
                      <a:pt x="9" y="615"/>
                    </a:lnTo>
                    <a:lnTo>
                      <a:pt x="5" y="611"/>
                    </a:lnTo>
                    <a:lnTo>
                      <a:pt x="3" y="606"/>
                    </a:lnTo>
                    <a:lnTo>
                      <a:pt x="1" y="600"/>
                    </a:lnTo>
                    <a:lnTo>
                      <a:pt x="0" y="594"/>
                    </a:lnTo>
                    <a:lnTo>
                      <a:pt x="0" y="28"/>
                    </a:lnTo>
                    <a:lnTo>
                      <a:pt x="0" y="28"/>
                    </a:lnTo>
                    <a:lnTo>
                      <a:pt x="1" y="23"/>
                    </a:lnTo>
                    <a:lnTo>
                      <a:pt x="3" y="17"/>
                    </a:lnTo>
                    <a:lnTo>
                      <a:pt x="5" y="13"/>
                    </a:lnTo>
                    <a:lnTo>
                      <a:pt x="9" y="8"/>
                    </a:lnTo>
                    <a:lnTo>
                      <a:pt x="13" y="5"/>
                    </a:lnTo>
                    <a:lnTo>
                      <a:pt x="18" y="2"/>
                    </a:lnTo>
                    <a:lnTo>
                      <a:pt x="23" y="1"/>
                    </a:lnTo>
                    <a:lnTo>
                      <a:pt x="29" y="0"/>
                    </a:lnTo>
                    <a:lnTo>
                      <a:pt x="596" y="0"/>
                    </a:lnTo>
                    <a:lnTo>
                      <a:pt x="596" y="0"/>
                    </a:lnTo>
                    <a:lnTo>
                      <a:pt x="601" y="1"/>
                    </a:lnTo>
                    <a:lnTo>
                      <a:pt x="607" y="2"/>
                    </a:lnTo>
                    <a:lnTo>
                      <a:pt x="611" y="5"/>
                    </a:lnTo>
                    <a:lnTo>
                      <a:pt x="616" y="8"/>
                    </a:lnTo>
                    <a:lnTo>
                      <a:pt x="619" y="13"/>
                    </a:lnTo>
                    <a:lnTo>
                      <a:pt x="622" y="17"/>
                    </a:lnTo>
                    <a:lnTo>
                      <a:pt x="623" y="23"/>
                    </a:lnTo>
                    <a:lnTo>
                      <a:pt x="624" y="28"/>
                    </a:lnTo>
                    <a:lnTo>
                      <a:pt x="624" y="594"/>
                    </a:lnTo>
                    <a:lnTo>
                      <a:pt x="624" y="594"/>
                    </a:lnTo>
                    <a:lnTo>
                      <a:pt x="623" y="600"/>
                    </a:lnTo>
                    <a:lnTo>
                      <a:pt x="622" y="606"/>
                    </a:lnTo>
                    <a:lnTo>
                      <a:pt x="619" y="611"/>
                    </a:lnTo>
                    <a:lnTo>
                      <a:pt x="616" y="615"/>
                    </a:lnTo>
                    <a:lnTo>
                      <a:pt x="611" y="619"/>
                    </a:lnTo>
                    <a:lnTo>
                      <a:pt x="607" y="621"/>
                    </a:lnTo>
                    <a:lnTo>
                      <a:pt x="601" y="623"/>
                    </a:lnTo>
                    <a:lnTo>
                      <a:pt x="596" y="624"/>
                    </a:lnTo>
                    <a:lnTo>
                      <a:pt x="596" y="624"/>
                    </a:lnTo>
                    <a:close/>
                    <a:moveTo>
                      <a:pt x="58" y="566"/>
                    </a:moveTo>
                    <a:lnTo>
                      <a:pt x="568" y="566"/>
                    </a:lnTo>
                    <a:lnTo>
                      <a:pt x="568" y="56"/>
                    </a:lnTo>
                    <a:lnTo>
                      <a:pt x="58" y="56"/>
                    </a:lnTo>
                    <a:lnTo>
                      <a:pt x="58" y="5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3" name="Freeform 430">
                <a:extLst>
                  <a:ext uri="{FF2B5EF4-FFF2-40B4-BE49-F238E27FC236}">
                    <a16:creationId xmlns:a16="http://schemas.microsoft.com/office/drawing/2014/main" id="{2102671B-0DA1-E63E-F79B-A7A80981C11A}"/>
                  </a:ext>
                </a:extLst>
              </p:cNvPr>
              <p:cNvSpPr>
                <a:spLocks noEditPoints="1"/>
              </p:cNvSpPr>
              <p:nvPr/>
            </p:nvSpPr>
            <p:spPr bwMode="auto">
              <a:xfrm>
                <a:off x="5030788" y="5048251"/>
                <a:ext cx="165100" cy="165100"/>
              </a:xfrm>
              <a:custGeom>
                <a:avLst/>
                <a:gdLst>
                  <a:gd name="T0" fmla="*/ 595 w 624"/>
                  <a:gd name="T1" fmla="*/ 624 h 624"/>
                  <a:gd name="T2" fmla="*/ 29 w 624"/>
                  <a:gd name="T3" fmla="*/ 624 h 624"/>
                  <a:gd name="T4" fmla="*/ 29 w 624"/>
                  <a:gd name="T5" fmla="*/ 624 h 624"/>
                  <a:gd name="T6" fmla="*/ 23 w 624"/>
                  <a:gd name="T7" fmla="*/ 623 h 624"/>
                  <a:gd name="T8" fmla="*/ 18 w 624"/>
                  <a:gd name="T9" fmla="*/ 621 h 624"/>
                  <a:gd name="T10" fmla="*/ 13 w 624"/>
                  <a:gd name="T11" fmla="*/ 619 h 624"/>
                  <a:gd name="T12" fmla="*/ 9 w 624"/>
                  <a:gd name="T13" fmla="*/ 615 h 624"/>
                  <a:gd name="T14" fmla="*/ 6 w 624"/>
                  <a:gd name="T15" fmla="*/ 611 h 624"/>
                  <a:gd name="T16" fmla="*/ 3 w 624"/>
                  <a:gd name="T17" fmla="*/ 606 h 624"/>
                  <a:gd name="T18" fmla="*/ 1 w 624"/>
                  <a:gd name="T19" fmla="*/ 600 h 624"/>
                  <a:gd name="T20" fmla="*/ 0 w 624"/>
                  <a:gd name="T21" fmla="*/ 594 h 624"/>
                  <a:gd name="T22" fmla="*/ 0 w 624"/>
                  <a:gd name="T23" fmla="*/ 28 h 624"/>
                  <a:gd name="T24" fmla="*/ 0 w 624"/>
                  <a:gd name="T25" fmla="*/ 28 h 624"/>
                  <a:gd name="T26" fmla="*/ 1 w 624"/>
                  <a:gd name="T27" fmla="*/ 23 h 624"/>
                  <a:gd name="T28" fmla="*/ 3 w 624"/>
                  <a:gd name="T29" fmla="*/ 17 h 624"/>
                  <a:gd name="T30" fmla="*/ 6 w 624"/>
                  <a:gd name="T31" fmla="*/ 13 h 624"/>
                  <a:gd name="T32" fmla="*/ 9 w 624"/>
                  <a:gd name="T33" fmla="*/ 8 h 624"/>
                  <a:gd name="T34" fmla="*/ 13 w 624"/>
                  <a:gd name="T35" fmla="*/ 5 h 624"/>
                  <a:gd name="T36" fmla="*/ 18 w 624"/>
                  <a:gd name="T37" fmla="*/ 2 h 624"/>
                  <a:gd name="T38" fmla="*/ 23 w 624"/>
                  <a:gd name="T39" fmla="*/ 1 h 624"/>
                  <a:gd name="T40" fmla="*/ 29 w 624"/>
                  <a:gd name="T41" fmla="*/ 0 h 624"/>
                  <a:gd name="T42" fmla="*/ 595 w 624"/>
                  <a:gd name="T43" fmla="*/ 0 h 624"/>
                  <a:gd name="T44" fmla="*/ 595 w 624"/>
                  <a:gd name="T45" fmla="*/ 0 h 624"/>
                  <a:gd name="T46" fmla="*/ 601 w 624"/>
                  <a:gd name="T47" fmla="*/ 1 h 624"/>
                  <a:gd name="T48" fmla="*/ 607 w 624"/>
                  <a:gd name="T49" fmla="*/ 2 h 624"/>
                  <a:gd name="T50" fmla="*/ 612 w 624"/>
                  <a:gd name="T51" fmla="*/ 5 h 624"/>
                  <a:gd name="T52" fmla="*/ 616 w 624"/>
                  <a:gd name="T53" fmla="*/ 8 h 624"/>
                  <a:gd name="T54" fmla="*/ 620 w 624"/>
                  <a:gd name="T55" fmla="*/ 13 h 624"/>
                  <a:gd name="T56" fmla="*/ 622 w 624"/>
                  <a:gd name="T57" fmla="*/ 17 h 624"/>
                  <a:gd name="T58" fmla="*/ 624 w 624"/>
                  <a:gd name="T59" fmla="*/ 23 h 624"/>
                  <a:gd name="T60" fmla="*/ 624 w 624"/>
                  <a:gd name="T61" fmla="*/ 28 h 624"/>
                  <a:gd name="T62" fmla="*/ 624 w 624"/>
                  <a:gd name="T63" fmla="*/ 594 h 624"/>
                  <a:gd name="T64" fmla="*/ 624 w 624"/>
                  <a:gd name="T65" fmla="*/ 594 h 624"/>
                  <a:gd name="T66" fmla="*/ 624 w 624"/>
                  <a:gd name="T67" fmla="*/ 600 h 624"/>
                  <a:gd name="T68" fmla="*/ 622 w 624"/>
                  <a:gd name="T69" fmla="*/ 606 h 624"/>
                  <a:gd name="T70" fmla="*/ 620 w 624"/>
                  <a:gd name="T71" fmla="*/ 611 h 624"/>
                  <a:gd name="T72" fmla="*/ 616 w 624"/>
                  <a:gd name="T73" fmla="*/ 615 h 624"/>
                  <a:gd name="T74" fmla="*/ 612 w 624"/>
                  <a:gd name="T75" fmla="*/ 619 h 624"/>
                  <a:gd name="T76" fmla="*/ 607 w 624"/>
                  <a:gd name="T77" fmla="*/ 621 h 624"/>
                  <a:gd name="T78" fmla="*/ 601 w 624"/>
                  <a:gd name="T79" fmla="*/ 623 h 624"/>
                  <a:gd name="T80" fmla="*/ 595 w 624"/>
                  <a:gd name="T81" fmla="*/ 624 h 624"/>
                  <a:gd name="T82" fmla="*/ 595 w 624"/>
                  <a:gd name="T83" fmla="*/ 624 h 624"/>
                  <a:gd name="T84" fmla="*/ 57 w 624"/>
                  <a:gd name="T85" fmla="*/ 566 h 624"/>
                  <a:gd name="T86" fmla="*/ 567 w 624"/>
                  <a:gd name="T87" fmla="*/ 566 h 624"/>
                  <a:gd name="T88" fmla="*/ 567 w 624"/>
                  <a:gd name="T89" fmla="*/ 56 h 624"/>
                  <a:gd name="T90" fmla="*/ 57 w 624"/>
                  <a:gd name="T91" fmla="*/ 56 h 624"/>
                  <a:gd name="T92" fmla="*/ 57 w 624"/>
                  <a:gd name="T93" fmla="*/ 566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4" h="624">
                    <a:moveTo>
                      <a:pt x="595" y="624"/>
                    </a:moveTo>
                    <a:lnTo>
                      <a:pt x="29" y="624"/>
                    </a:lnTo>
                    <a:lnTo>
                      <a:pt x="29" y="624"/>
                    </a:lnTo>
                    <a:lnTo>
                      <a:pt x="23" y="623"/>
                    </a:lnTo>
                    <a:lnTo>
                      <a:pt x="18" y="621"/>
                    </a:lnTo>
                    <a:lnTo>
                      <a:pt x="13" y="619"/>
                    </a:lnTo>
                    <a:lnTo>
                      <a:pt x="9" y="615"/>
                    </a:lnTo>
                    <a:lnTo>
                      <a:pt x="6" y="611"/>
                    </a:lnTo>
                    <a:lnTo>
                      <a:pt x="3" y="606"/>
                    </a:lnTo>
                    <a:lnTo>
                      <a:pt x="1" y="600"/>
                    </a:lnTo>
                    <a:lnTo>
                      <a:pt x="0" y="594"/>
                    </a:lnTo>
                    <a:lnTo>
                      <a:pt x="0" y="28"/>
                    </a:lnTo>
                    <a:lnTo>
                      <a:pt x="0" y="28"/>
                    </a:lnTo>
                    <a:lnTo>
                      <a:pt x="1" y="23"/>
                    </a:lnTo>
                    <a:lnTo>
                      <a:pt x="3" y="17"/>
                    </a:lnTo>
                    <a:lnTo>
                      <a:pt x="6" y="13"/>
                    </a:lnTo>
                    <a:lnTo>
                      <a:pt x="9" y="8"/>
                    </a:lnTo>
                    <a:lnTo>
                      <a:pt x="13" y="5"/>
                    </a:lnTo>
                    <a:lnTo>
                      <a:pt x="18" y="2"/>
                    </a:lnTo>
                    <a:lnTo>
                      <a:pt x="23" y="1"/>
                    </a:lnTo>
                    <a:lnTo>
                      <a:pt x="29" y="0"/>
                    </a:lnTo>
                    <a:lnTo>
                      <a:pt x="595" y="0"/>
                    </a:lnTo>
                    <a:lnTo>
                      <a:pt x="595" y="0"/>
                    </a:lnTo>
                    <a:lnTo>
                      <a:pt x="601" y="1"/>
                    </a:lnTo>
                    <a:lnTo>
                      <a:pt x="607" y="2"/>
                    </a:lnTo>
                    <a:lnTo>
                      <a:pt x="612" y="5"/>
                    </a:lnTo>
                    <a:lnTo>
                      <a:pt x="616" y="8"/>
                    </a:lnTo>
                    <a:lnTo>
                      <a:pt x="620" y="13"/>
                    </a:lnTo>
                    <a:lnTo>
                      <a:pt x="622" y="17"/>
                    </a:lnTo>
                    <a:lnTo>
                      <a:pt x="624" y="23"/>
                    </a:lnTo>
                    <a:lnTo>
                      <a:pt x="624" y="28"/>
                    </a:lnTo>
                    <a:lnTo>
                      <a:pt x="624" y="594"/>
                    </a:lnTo>
                    <a:lnTo>
                      <a:pt x="624" y="594"/>
                    </a:lnTo>
                    <a:lnTo>
                      <a:pt x="624" y="600"/>
                    </a:lnTo>
                    <a:lnTo>
                      <a:pt x="622" y="606"/>
                    </a:lnTo>
                    <a:lnTo>
                      <a:pt x="620" y="611"/>
                    </a:lnTo>
                    <a:lnTo>
                      <a:pt x="616" y="615"/>
                    </a:lnTo>
                    <a:lnTo>
                      <a:pt x="612" y="619"/>
                    </a:lnTo>
                    <a:lnTo>
                      <a:pt x="607" y="621"/>
                    </a:lnTo>
                    <a:lnTo>
                      <a:pt x="601" y="623"/>
                    </a:lnTo>
                    <a:lnTo>
                      <a:pt x="595" y="624"/>
                    </a:lnTo>
                    <a:lnTo>
                      <a:pt x="595" y="624"/>
                    </a:lnTo>
                    <a:close/>
                    <a:moveTo>
                      <a:pt x="57" y="566"/>
                    </a:moveTo>
                    <a:lnTo>
                      <a:pt x="567" y="566"/>
                    </a:lnTo>
                    <a:lnTo>
                      <a:pt x="567" y="56"/>
                    </a:lnTo>
                    <a:lnTo>
                      <a:pt x="57" y="56"/>
                    </a:lnTo>
                    <a:lnTo>
                      <a:pt x="57" y="5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25" name="Freeform 431">
                <a:extLst>
                  <a:ext uri="{FF2B5EF4-FFF2-40B4-BE49-F238E27FC236}">
                    <a16:creationId xmlns:a16="http://schemas.microsoft.com/office/drawing/2014/main" id="{3090F5DB-4DAB-1E5A-D474-2AA665828158}"/>
                  </a:ext>
                </a:extLst>
              </p:cNvPr>
              <p:cNvSpPr>
                <a:spLocks noEditPoints="1"/>
              </p:cNvSpPr>
              <p:nvPr/>
            </p:nvSpPr>
            <p:spPr bwMode="auto">
              <a:xfrm>
                <a:off x="4835525" y="5243513"/>
                <a:ext cx="165100" cy="165100"/>
              </a:xfrm>
              <a:custGeom>
                <a:avLst/>
                <a:gdLst>
                  <a:gd name="T0" fmla="*/ 596 w 624"/>
                  <a:gd name="T1" fmla="*/ 623 h 623"/>
                  <a:gd name="T2" fmla="*/ 29 w 624"/>
                  <a:gd name="T3" fmla="*/ 623 h 623"/>
                  <a:gd name="T4" fmla="*/ 29 w 624"/>
                  <a:gd name="T5" fmla="*/ 623 h 623"/>
                  <a:gd name="T6" fmla="*/ 23 w 624"/>
                  <a:gd name="T7" fmla="*/ 623 h 623"/>
                  <a:gd name="T8" fmla="*/ 18 w 624"/>
                  <a:gd name="T9" fmla="*/ 621 h 623"/>
                  <a:gd name="T10" fmla="*/ 13 w 624"/>
                  <a:gd name="T11" fmla="*/ 618 h 623"/>
                  <a:gd name="T12" fmla="*/ 9 w 624"/>
                  <a:gd name="T13" fmla="*/ 615 h 623"/>
                  <a:gd name="T14" fmla="*/ 5 w 624"/>
                  <a:gd name="T15" fmla="*/ 611 h 623"/>
                  <a:gd name="T16" fmla="*/ 3 w 624"/>
                  <a:gd name="T17" fmla="*/ 606 h 623"/>
                  <a:gd name="T18" fmla="*/ 1 w 624"/>
                  <a:gd name="T19" fmla="*/ 601 h 623"/>
                  <a:gd name="T20" fmla="*/ 0 w 624"/>
                  <a:gd name="T21" fmla="*/ 595 h 623"/>
                  <a:gd name="T22" fmla="*/ 0 w 624"/>
                  <a:gd name="T23" fmla="*/ 28 h 623"/>
                  <a:gd name="T24" fmla="*/ 0 w 624"/>
                  <a:gd name="T25" fmla="*/ 28 h 623"/>
                  <a:gd name="T26" fmla="*/ 1 w 624"/>
                  <a:gd name="T27" fmla="*/ 22 h 623"/>
                  <a:gd name="T28" fmla="*/ 3 w 624"/>
                  <a:gd name="T29" fmla="*/ 17 h 623"/>
                  <a:gd name="T30" fmla="*/ 5 w 624"/>
                  <a:gd name="T31" fmla="*/ 12 h 623"/>
                  <a:gd name="T32" fmla="*/ 9 w 624"/>
                  <a:gd name="T33" fmla="*/ 8 h 623"/>
                  <a:gd name="T34" fmla="*/ 13 w 624"/>
                  <a:gd name="T35" fmla="*/ 5 h 623"/>
                  <a:gd name="T36" fmla="*/ 18 w 624"/>
                  <a:gd name="T37" fmla="*/ 2 h 623"/>
                  <a:gd name="T38" fmla="*/ 23 w 624"/>
                  <a:gd name="T39" fmla="*/ 0 h 623"/>
                  <a:gd name="T40" fmla="*/ 29 w 624"/>
                  <a:gd name="T41" fmla="*/ 0 h 623"/>
                  <a:gd name="T42" fmla="*/ 596 w 624"/>
                  <a:gd name="T43" fmla="*/ 0 h 623"/>
                  <a:gd name="T44" fmla="*/ 596 w 624"/>
                  <a:gd name="T45" fmla="*/ 0 h 623"/>
                  <a:gd name="T46" fmla="*/ 601 w 624"/>
                  <a:gd name="T47" fmla="*/ 0 h 623"/>
                  <a:gd name="T48" fmla="*/ 607 w 624"/>
                  <a:gd name="T49" fmla="*/ 2 h 623"/>
                  <a:gd name="T50" fmla="*/ 611 w 624"/>
                  <a:gd name="T51" fmla="*/ 5 h 623"/>
                  <a:gd name="T52" fmla="*/ 616 w 624"/>
                  <a:gd name="T53" fmla="*/ 8 h 623"/>
                  <a:gd name="T54" fmla="*/ 619 w 624"/>
                  <a:gd name="T55" fmla="*/ 12 h 623"/>
                  <a:gd name="T56" fmla="*/ 622 w 624"/>
                  <a:gd name="T57" fmla="*/ 17 h 623"/>
                  <a:gd name="T58" fmla="*/ 623 w 624"/>
                  <a:gd name="T59" fmla="*/ 22 h 623"/>
                  <a:gd name="T60" fmla="*/ 624 w 624"/>
                  <a:gd name="T61" fmla="*/ 28 h 623"/>
                  <a:gd name="T62" fmla="*/ 624 w 624"/>
                  <a:gd name="T63" fmla="*/ 595 h 623"/>
                  <a:gd name="T64" fmla="*/ 624 w 624"/>
                  <a:gd name="T65" fmla="*/ 595 h 623"/>
                  <a:gd name="T66" fmla="*/ 623 w 624"/>
                  <a:gd name="T67" fmla="*/ 601 h 623"/>
                  <a:gd name="T68" fmla="*/ 622 w 624"/>
                  <a:gd name="T69" fmla="*/ 606 h 623"/>
                  <a:gd name="T70" fmla="*/ 619 w 624"/>
                  <a:gd name="T71" fmla="*/ 611 h 623"/>
                  <a:gd name="T72" fmla="*/ 616 w 624"/>
                  <a:gd name="T73" fmla="*/ 615 h 623"/>
                  <a:gd name="T74" fmla="*/ 611 w 624"/>
                  <a:gd name="T75" fmla="*/ 618 h 623"/>
                  <a:gd name="T76" fmla="*/ 607 w 624"/>
                  <a:gd name="T77" fmla="*/ 621 h 623"/>
                  <a:gd name="T78" fmla="*/ 601 w 624"/>
                  <a:gd name="T79" fmla="*/ 623 h 623"/>
                  <a:gd name="T80" fmla="*/ 596 w 624"/>
                  <a:gd name="T81" fmla="*/ 623 h 623"/>
                  <a:gd name="T82" fmla="*/ 596 w 624"/>
                  <a:gd name="T83" fmla="*/ 623 h 623"/>
                  <a:gd name="T84" fmla="*/ 58 w 624"/>
                  <a:gd name="T85" fmla="*/ 566 h 623"/>
                  <a:gd name="T86" fmla="*/ 568 w 624"/>
                  <a:gd name="T87" fmla="*/ 566 h 623"/>
                  <a:gd name="T88" fmla="*/ 568 w 624"/>
                  <a:gd name="T89" fmla="*/ 56 h 623"/>
                  <a:gd name="T90" fmla="*/ 58 w 624"/>
                  <a:gd name="T91" fmla="*/ 56 h 623"/>
                  <a:gd name="T92" fmla="*/ 58 w 624"/>
                  <a:gd name="T93" fmla="*/ 566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4" h="623">
                    <a:moveTo>
                      <a:pt x="596" y="623"/>
                    </a:moveTo>
                    <a:lnTo>
                      <a:pt x="29" y="623"/>
                    </a:lnTo>
                    <a:lnTo>
                      <a:pt x="29" y="623"/>
                    </a:lnTo>
                    <a:lnTo>
                      <a:pt x="23" y="623"/>
                    </a:lnTo>
                    <a:lnTo>
                      <a:pt x="18" y="621"/>
                    </a:lnTo>
                    <a:lnTo>
                      <a:pt x="13" y="618"/>
                    </a:lnTo>
                    <a:lnTo>
                      <a:pt x="9" y="615"/>
                    </a:lnTo>
                    <a:lnTo>
                      <a:pt x="5" y="611"/>
                    </a:lnTo>
                    <a:lnTo>
                      <a:pt x="3" y="606"/>
                    </a:lnTo>
                    <a:lnTo>
                      <a:pt x="1" y="601"/>
                    </a:lnTo>
                    <a:lnTo>
                      <a:pt x="0" y="595"/>
                    </a:lnTo>
                    <a:lnTo>
                      <a:pt x="0" y="28"/>
                    </a:lnTo>
                    <a:lnTo>
                      <a:pt x="0" y="28"/>
                    </a:lnTo>
                    <a:lnTo>
                      <a:pt x="1" y="22"/>
                    </a:lnTo>
                    <a:lnTo>
                      <a:pt x="3" y="17"/>
                    </a:lnTo>
                    <a:lnTo>
                      <a:pt x="5" y="12"/>
                    </a:lnTo>
                    <a:lnTo>
                      <a:pt x="9" y="8"/>
                    </a:lnTo>
                    <a:lnTo>
                      <a:pt x="13" y="5"/>
                    </a:lnTo>
                    <a:lnTo>
                      <a:pt x="18" y="2"/>
                    </a:lnTo>
                    <a:lnTo>
                      <a:pt x="23" y="0"/>
                    </a:lnTo>
                    <a:lnTo>
                      <a:pt x="29" y="0"/>
                    </a:lnTo>
                    <a:lnTo>
                      <a:pt x="596" y="0"/>
                    </a:lnTo>
                    <a:lnTo>
                      <a:pt x="596" y="0"/>
                    </a:lnTo>
                    <a:lnTo>
                      <a:pt x="601" y="0"/>
                    </a:lnTo>
                    <a:lnTo>
                      <a:pt x="607" y="2"/>
                    </a:lnTo>
                    <a:lnTo>
                      <a:pt x="611" y="5"/>
                    </a:lnTo>
                    <a:lnTo>
                      <a:pt x="616" y="8"/>
                    </a:lnTo>
                    <a:lnTo>
                      <a:pt x="619" y="12"/>
                    </a:lnTo>
                    <a:lnTo>
                      <a:pt x="622" y="17"/>
                    </a:lnTo>
                    <a:lnTo>
                      <a:pt x="623" y="22"/>
                    </a:lnTo>
                    <a:lnTo>
                      <a:pt x="624" y="28"/>
                    </a:lnTo>
                    <a:lnTo>
                      <a:pt x="624" y="595"/>
                    </a:lnTo>
                    <a:lnTo>
                      <a:pt x="624" y="595"/>
                    </a:lnTo>
                    <a:lnTo>
                      <a:pt x="623" y="601"/>
                    </a:lnTo>
                    <a:lnTo>
                      <a:pt x="622" y="606"/>
                    </a:lnTo>
                    <a:lnTo>
                      <a:pt x="619" y="611"/>
                    </a:lnTo>
                    <a:lnTo>
                      <a:pt x="616" y="615"/>
                    </a:lnTo>
                    <a:lnTo>
                      <a:pt x="611" y="618"/>
                    </a:lnTo>
                    <a:lnTo>
                      <a:pt x="607" y="621"/>
                    </a:lnTo>
                    <a:lnTo>
                      <a:pt x="601" y="623"/>
                    </a:lnTo>
                    <a:lnTo>
                      <a:pt x="596" y="623"/>
                    </a:lnTo>
                    <a:lnTo>
                      <a:pt x="596" y="623"/>
                    </a:lnTo>
                    <a:close/>
                    <a:moveTo>
                      <a:pt x="58" y="566"/>
                    </a:moveTo>
                    <a:lnTo>
                      <a:pt x="568" y="566"/>
                    </a:lnTo>
                    <a:lnTo>
                      <a:pt x="568" y="56"/>
                    </a:lnTo>
                    <a:lnTo>
                      <a:pt x="58" y="56"/>
                    </a:lnTo>
                    <a:lnTo>
                      <a:pt x="58" y="5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sp>
            <p:nvSpPr>
              <p:cNvPr id="31" name="Freeform 432">
                <a:extLst>
                  <a:ext uri="{FF2B5EF4-FFF2-40B4-BE49-F238E27FC236}">
                    <a16:creationId xmlns:a16="http://schemas.microsoft.com/office/drawing/2014/main" id="{D2C3F1B1-79C0-9304-14E0-730C33E494C8}"/>
                  </a:ext>
                </a:extLst>
              </p:cNvPr>
              <p:cNvSpPr>
                <a:spLocks noEditPoints="1"/>
              </p:cNvSpPr>
              <p:nvPr/>
            </p:nvSpPr>
            <p:spPr bwMode="auto">
              <a:xfrm>
                <a:off x="5030788" y="5243513"/>
                <a:ext cx="165100" cy="165100"/>
              </a:xfrm>
              <a:custGeom>
                <a:avLst/>
                <a:gdLst>
                  <a:gd name="T0" fmla="*/ 595 w 624"/>
                  <a:gd name="T1" fmla="*/ 623 h 623"/>
                  <a:gd name="T2" fmla="*/ 29 w 624"/>
                  <a:gd name="T3" fmla="*/ 623 h 623"/>
                  <a:gd name="T4" fmla="*/ 29 w 624"/>
                  <a:gd name="T5" fmla="*/ 623 h 623"/>
                  <a:gd name="T6" fmla="*/ 23 w 624"/>
                  <a:gd name="T7" fmla="*/ 623 h 623"/>
                  <a:gd name="T8" fmla="*/ 18 w 624"/>
                  <a:gd name="T9" fmla="*/ 621 h 623"/>
                  <a:gd name="T10" fmla="*/ 13 w 624"/>
                  <a:gd name="T11" fmla="*/ 618 h 623"/>
                  <a:gd name="T12" fmla="*/ 9 w 624"/>
                  <a:gd name="T13" fmla="*/ 615 h 623"/>
                  <a:gd name="T14" fmla="*/ 6 w 624"/>
                  <a:gd name="T15" fmla="*/ 611 h 623"/>
                  <a:gd name="T16" fmla="*/ 3 w 624"/>
                  <a:gd name="T17" fmla="*/ 606 h 623"/>
                  <a:gd name="T18" fmla="*/ 1 w 624"/>
                  <a:gd name="T19" fmla="*/ 601 h 623"/>
                  <a:gd name="T20" fmla="*/ 0 w 624"/>
                  <a:gd name="T21" fmla="*/ 595 h 623"/>
                  <a:gd name="T22" fmla="*/ 0 w 624"/>
                  <a:gd name="T23" fmla="*/ 28 h 623"/>
                  <a:gd name="T24" fmla="*/ 0 w 624"/>
                  <a:gd name="T25" fmla="*/ 28 h 623"/>
                  <a:gd name="T26" fmla="*/ 1 w 624"/>
                  <a:gd name="T27" fmla="*/ 22 h 623"/>
                  <a:gd name="T28" fmla="*/ 3 w 624"/>
                  <a:gd name="T29" fmla="*/ 17 h 623"/>
                  <a:gd name="T30" fmla="*/ 6 w 624"/>
                  <a:gd name="T31" fmla="*/ 12 h 623"/>
                  <a:gd name="T32" fmla="*/ 9 w 624"/>
                  <a:gd name="T33" fmla="*/ 8 h 623"/>
                  <a:gd name="T34" fmla="*/ 13 w 624"/>
                  <a:gd name="T35" fmla="*/ 5 h 623"/>
                  <a:gd name="T36" fmla="*/ 18 w 624"/>
                  <a:gd name="T37" fmla="*/ 2 h 623"/>
                  <a:gd name="T38" fmla="*/ 23 w 624"/>
                  <a:gd name="T39" fmla="*/ 0 h 623"/>
                  <a:gd name="T40" fmla="*/ 29 w 624"/>
                  <a:gd name="T41" fmla="*/ 0 h 623"/>
                  <a:gd name="T42" fmla="*/ 595 w 624"/>
                  <a:gd name="T43" fmla="*/ 0 h 623"/>
                  <a:gd name="T44" fmla="*/ 595 w 624"/>
                  <a:gd name="T45" fmla="*/ 0 h 623"/>
                  <a:gd name="T46" fmla="*/ 601 w 624"/>
                  <a:gd name="T47" fmla="*/ 0 h 623"/>
                  <a:gd name="T48" fmla="*/ 607 w 624"/>
                  <a:gd name="T49" fmla="*/ 2 h 623"/>
                  <a:gd name="T50" fmla="*/ 612 w 624"/>
                  <a:gd name="T51" fmla="*/ 5 h 623"/>
                  <a:gd name="T52" fmla="*/ 616 w 624"/>
                  <a:gd name="T53" fmla="*/ 8 h 623"/>
                  <a:gd name="T54" fmla="*/ 620 w 624"/>
                  <a:gd name="T55" fmla="*/ 12 h 623"/>
                  <a:gd name="T56" fmla="*/ 622 w 624"/>
                  <a:gd name="T57" fmla="*/ 17 h 623"/>
                  <a:gd name="T58" fmla="*/ 624 w 624"/>
                  <a:gd name="T59" fmla="*/ 22 h 623"/>
                  <a:gd name="T60" fmla="*/ 624 w 624"/>
                  <a:gd name="T61" fmla="*/ 28 h 623"/>
                  <a:gd name="T62" fmla="*/ 624 w 624"/>
                  <a:gd name="T63" fmla="*/ 595 h 623"/>
                  <a:gd name="T64" fmla="*/ 624 w 624"/>
                  <a:gd name="T65" fmla="*/ 595 h 623"/>
                  <a:gd name="T66" fmla="*/ 624 w 624"/>
                  <a:gd name="T67" fmla="*/ 601 h 623"/>
                  <a:gd name="T68" fmla="*/ 622 w 624"/>
                  <a:gd name="T69" fmla="*/ 606 h 623"/>
                  <a:gd name="T70" fmla="*/ 620 w 624"/>
                  <a:gd name="T71" fmla="*/ 611 h 623"/>
                  <a:gd name="T72" fmla="*/ 616 w 624"/>
                  <a:gd name="T73" fmla="*/ 615 h 623"/>
                  <a:gd name="T74" fmla="*/ 612 w 624"/>
                  <a:gd name="T75" fmla="*/ 618 h 623"/>
                  <a:gd name="T76" fmla="*/ 607 w 624"/>
                  <a:gd name="T77" fmla="*/ 621 h 623"/>
                  <a:gd name="T78" fmla="*/ 601 w 624"/>
                  <a:gd name="T79" fmla="*/ 623 h 623"/>
                  <a:gd name="T80" fmla="*/ 595 w 624"/>
                  <a:gd name="T81" fmla="*/ 623 h 623"/>
                  <a:gd name="T82" fmla="*/ 595 w 624"/>
                  <a:gd name="T83" fmla="*/ 623 h 623"/>
                  <a:gd name="T84" fmla="*/ 57 w 624"/>
                  <a:gd name="T85" fmla="*/ 566 h 623"/>
                  <a:gd name="T86" fmla="*/ 567 w 624"/>
                  <a:gd name="T87" fmla="*/ 566 h 623"/>
                  <a:gd name="T88" fmla="*/ 567 w 624"/>
                  <a:gd name="T89" fmla="*/ 56 h 623"/>
                  <a:gd name="T90" fmla="*/ 57 w 624"/>
                  <a:gd name="T91" fmla="*/ 56 h 623"/>
                  <a:gd name="T92" fmla="*/ 57 w 624"/>
                  <a:gd name="T93" fmla="*/ 566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4" h="623">
                    <a:moveTo>
                      <a:pt x="595" y="623"/>
                    </a:moveTo>
                    <a:lnTo>
                      <a:pt x="29" y="623"/>
                    </a:lnTo>
                    <a:lnTo>
                      <a:pt x="29" y="623"/>
                    </a:lnTo>
                    <a:lnTo>
                      <a:pt x="23" y="623"/>
                    </a:lnTo>
                    <a:lnTo>
                      <a:pt x="18" y="621"/>
                    </a:lnTo>
                    <a:lnTo>
                      <a:pt x="13" y="618"/>
                    </a:lnTo>
                    <a:lnTo>
                      <a:pt x="9" y="615"/>
                    </a:lnTo>
                    <a:lnTo>
                      <a:pt x="6" y="611"/>
                    </a:lnTo>
                    <a:lnTo>
                      <a:pt x="3" y="606"/>
                    </a:lnTo>
                    <a:lnTo>
                      <a:pt x="1" y="601"/>
                    </a:lnTo>
                    <a:lnTo>
                      <a:pt x="0" y="595"/>
                    </a:lnTo>
                    <a:lnTo>
                      <a:pt x="0" y="28"/>
                    </a:lnTo>
                    <a:lnTo>
                      <a:pt x="0" y="28"/>
                    </a:lnTo>
                    <a:lnTo>
                      <a:pt x="1" y="22"/>
                    </a:lnTo>
                    <a:lnTo>
                      <a:pt x="3" y="17"/>
                    </a:lnTo>
                    <a:lnTo>
                      <a:pt x="6" y="12"/>
                    </a:lnTo>
                    <a:lnTo>
                      <a:pt x="9" y="8"/>
                    </a:lnTo>
                    <a:lnTo>
                      <a:pt x="13" y="5"/>
                    </a:lnTo>
                    <a:lnTo>
                      <a:pt x="18" y="2"/>
                    </a:lnTo>
                    <a:lnTo>
                      <a:pt x="23" y="0"/>
                    </a:lnTo>
                    <a:lnTo>
                      <a:pt x="29" y="0"/>
                    </a:lnTo>
                    <a:lnTo>
                      <a:pt x="595" y="0"/>
                    </a:lnTo>
                    <a:lnTo>
                      <a:pt x="595" y="0"/>
                    </a:lnTo>
                    <a:lnTo>
                      <a:pt x="601" y="0"/>
                    </a:lnTo>
                    <a:lnTo>
                      <a:pt x="607" y="2"/>
                    </a:lnTo>
                    <a:lnTo>
                      <a:pt x="612" y="5"/>
                    </a:lnTo>
                    <a:lnTo>
                      <a:pt x="616" y="8"/>
                    </a:lnTo>
                    <a:lnTo>
                      <a:pt x="620" y="12"/>
                    </a:lnTo>
                    <a:lnTo>
                      <a:pt x="622" y="17"/>
                    </a:lnTo>
                    <a:lnTo>
                      <a:pt x="624" y="22"/>
                    </a:lnTo>
                    <a:lnTo>
                      <a:pt x="624" y="28"/>
                    </a:lnTo>
                    <a:lnTo>
                      <a:pt x="624" y="595"/>
                    </a:lnTo>
                    <a:lnTo>
                      <a:pt x="624" y="595"/>
                    </a:lnTo>
                    <a:lnTo>
                      <a:pt x="624" y="601"/>
                    </a:lnTo>
                    <a:lnTo>
                      <a:pt x="622" y="606"/>
                    </a:lnTo>
                    <a:lnTo>
                      <a:pt x="620" y="611"/>
                    </a:lnTo>
                    <a:lnTo>
                      <a:pt x="616" y="615"/>
                    </a:lnTo>
                    <a:lnTo>
                      <a:pt x="612" y="618"/>
                    </a:lnTo>
                    <a:lnTo>
                      <a:pt x="607" y="621"/>
                    </a:lnTo>
                    <a:lnTo>
                      <a:pt x="601" y="623"/>
                    </a:lnTo>
                    <a:lnTo>
                      <a:pt x="595" y="623"/>
                    </a:lnTo>
                    <a:lnTo>
                      <a:pt x="595" y="623"/>
                    </a:lnTo>
                    <a:close/>
                    <a:moveTo>
                      <a:pt x="57" y="566"/>
                    </a:moveTo>
                    <a:lnTo>
                      <a:pt x="567" y="566"/>
                    </a:lnTo>
                    <a:lnTo>
                      <a:pt x="567" y="56"/>
                    </a:lnTo>
                    <a:lnTo>
                      <a:pt x="57" y="56"/>
                    </a:lnTo>
                    <a:lnTo>
                      <a:pt x="57" y="5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a:ea typeface="+mn-ea"/>
                  <a:cs typeface="+mn-cs"/>
                </a:endParaRPr>
              </a:p>
            </p:txBody>
          </p:sp>
        </p:grpSp>
        <p:grpSp>
          <p:nvGrpSpPr>
            <p:cNvPr id="276" name="Group 275">
              <a:extLst>
                <a:ext uri="{FF2B5EF4-FFF2-40B4-BE49-F238E27FC236}">
                  <a16:creationId xmlns:a16="http://schemas.microsoft.com/office/drawing/2014/main" id="{02EBED74-2FE0-91E3-175A-076F0DF21549}"/>
                </a:ext>
              </a:extLst>
            </p:cNvPr>
            <p:cNvGrpSpPr/>
            <p:nvPr/>
          </p:nvGrpSpPr>
          <p:grpSpPr>
            <a:xfrm>
              <a:off x="1211002" y="2806564"/>
              <a:ext cx="2499761" cy="442150"/>
              <a:chOff x="1285023" y="2972489"/>
              <a:chExt cx="2499761" cy="442150"/>
            </a:xfrm>
          </p:grpSpPr>
          <p:grpSp>
            <p:nvGrpSpPr>
              <p:cNvPr id="149" name="Group 148">
                <a:extLst>
                  <a:ext uri="{FF2B5EF4-FFF2-40B4-BE49-F238E27FC236}">
                    <a16:creationId xmlns:a16="http://schemas.microsoft.com/office/drawing/2014/main" id="{B63E8205-B441-9BBB-8517-E9830D38F857}"/>
                  </a:ext>
                </a:extLst>
              </p:cNvPr>
              <p:cNvGrpSpPr/>
              <p:nvPr/>
            </p:nvGrpSpPr>
            <p:grpSpPr>
              <a:xfrm>
                <a:off x="1285023" y="2972489"/>
                <a:ext cx="442151" cy="442150"/>
                <a:chOff x="4404994" y="2055016"/>
                <a:chExt cx="614681" cy="614680"/>
              </a:xfrm>
            </p:grpSpPr>
            <p:sp>
              <p:nvSpPr>
                <p:cNvPr id="150" name="Flowchart: Connector 149">
                  <a:extLst>
                    <a:ext uri="{FF2B5EF4-FFF2-40B4-BE49-F238E27FC236}">
                      <a16:creationId xmlns:a16="http://schemas.microsoft.com/office/drawing/2014/main" id="{F0C76E20-6705-667B-BE7D-366D3375082B}"/>
                    </a:ext>
                  </a:extLst>
                </p:cNvPr>
                <p:cNvSpPr/>
                <p:nvPr/>
              </p:nvSpPr>
              <p:spPr>
                <a:xfrm>
                  <a:off x="4404994" y="2055016"/>
                  <a:ext cx="614681" cy="61468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200" b="1" i="0" u="none" strike="noStrike" kern="1200" cap="none" spc="0" normalizeH="0" baseline="0" noProof="0" dirty="0">
                    <a:ln>
                      <a:noFill/>
                    </a:ln>
                    <a:solidFill>
                      <a:prstClr val="white"/>
                    </a:solidFill>
                    <a:effectLst/>
                    <a:uLnTx/>
                    <a:uFillTx/>
                    <a:latin typeface="Roboto"/>
                    <a:ea typeface="+mn-ea"/>
                    <a:cs typeface="+mn-cs"/>
                  </a:endParaRPr>
                </a:p>
              </p:txBody>
            </p:sp>
            <p:sp>
              <p:nvSpPr>
                <p:cNvPr id="151" name="Freeform 44">
                  <a:extLst>
                    <a:ext uri="{FF2B5EF4-FFF2-40B4-BE49-F238E27FC236}">
                      <a16:creationId xmlns:a16="http://schemas.microsoft.com/office/drawing/2014/main" id="{CFA76703-7972-C625-5939-BB6B3DE76E65}"/>
                    </a:ext>
                  </a:extLst>
                </p:cNvPr>
                <p:cNvSpPr>
                  <a:spLocks noEditPoints="1"/>
                </p:cNvSpPr>
                <p:nvPr/>
              </p:nvSpPr>
              <p:spPr bwMode="auto">
                <a:xfrm>
                  <a:off x="4576840" y="2161275"/>
                  <a:ext cx="269289" cy="402163"/>
                </a:xfrm>
                <a:custGeom>
                  <a:avLst/>
                  <a:gdLst>
                    <a:gd name="T0" fmla="*/ 476 w 1061"/>
                    <a:gd name="T1" fmla="*/ 1586 h 1589"/>
                    <a:gd name="T2" fmla="*/ 373 w 1061"/>
                    <a:gd name="T3" fmla="*/ 1566 h 1589"/>
                    <a:gd name="T4" fmla="*/ 279 w 1061"/>
                    <a:gd name="T5" fmla="*/ 1525 h 1589"/>
                    <a:gd name="T6" fmla="*/ 194 w 1061"/>
                    <a:gd name="T7" fmla="*/ 1468 h 1589"/>
                    <a:gd name="T8" fmla="*/ 121 w 1061"/>
                    <a:gd name="T9" fmla="*/ 1396 h 1589"/>
                    <a:gd name="T10" fmla="*/ 64 w 1061"/>
                    <a:gd name="T11" fmla="*/ 1312 h 1589"/>
                    <a:gd name="T12" fmla="*/ 24 w 1061"/>
                    <a:gd name="T13" fmla="*/ 1217 h 1589"/>
                    <a:gd name="T14" fmla="*/ 3 w 1061"/>
                    <a:gd name="T15" fmla="*/ 1114 h 1589"/>
                    <a:gd name="T16" fmla="*/ 1 w 1061"/>
                    <a:gd name="T17" fmla="*/ 1046 h 1589"/>
                    <a:gd name="T18" fmla="*/ 21 w 1061"/>
                    <a:gd name="T19" fmla="*/ 935 h 1589"/>
                    <a:gd name="T20" fmla="*/ 76 w 1061"/>
                    <a:gd name="T21" fmla="*/ 781 h 1589"/>
                    <a:gd name="T22" fmla="*/ 154 w 1061"/>
                    <a:gd name="T23" fmla="*/ 614 h 1589"/>
                    <a:gd name="T24" fmla="*/ 334 w 1061"/>
                    <a:gd name="T25" fmla="*/ 285 h 1589"/>
                    <a:gd name="T26" fmla="*/ 503 w 1061"/>
                    <a:gd name="T27" fmla="*/ 15 h 1589"/>
                    <a:gd name="T28" fmla="*/ 523 w 1061"/>
                    <a:gd name="T29" fmla="*/ 1 h 1589"/>
                    <a:gd name="T30" fmla="*/ 553 w 1061"/>
                    <a:gd name="T31" fmla="*/ 9 h 1589"/>
                    <a:gd name="T32" fmla="*/ 645 w 1061"/>
                    <a:gd name="T33" fmla="*/ 151 h 1589"/>
                    <a:gd name="T34" fmla="*/ 817 w 1061"/>
                    <a:gd name="T35" fmla="*/ 443 h 1589"/>
                    <a:gd name="T36" fmla="*/ 948 w 1061"/>
                    <a:gd name="T37" fmla="*/ 699 h 1589"/>
                    <a:gd name="T38" fmla="*/ 1016 w 1061"/>
                    <a:gd name="T39" fmla="*/ 861 h 1589"/>
                    <a:gd name="T40" fmla="*/ 1055 w 1061"/>
                    <a:gd name="T41" fmla="*/ 1002 h 1589"/>
                    <a:gd name="T42" fmla="*/ 1061 w 1061"/>
                    <a:gd name="T43" fmla="*/ 1060 h 1589"/>
                    <a:gd name="T44" fmla="*/ 1050 w 1061"/>
                    <a:gd name="T45" fmla="*/ 1166 h 1589"/>
                    <a:gd name="T46" fmla="*/ 1018 w 1061"/>
                    <a:gd name="T47" fmla="*/ 1266 h 1589"/>
                    <a:gd name="T48" fmla="*/ 970 w 1061"/>
                    <a:gd name="T49" fmla="*/ 1356 h 1589"/>
                    <a:gd name="T50" fmla="*/ 905 w 1061"/>
                    <a:gd name="T51" fmla="*/ 1434 h 1589"/>
                    <a:gd name="T52" fmla="*/ 827 w 1061"/>
                    <a:gd name="T53" fmla="*/ 1498 h 1589"/>
                    <a:gd name="T54" fmla="*/ 737 w 1061"/>
                    <a:gd name="T55" fmla="*/ 1548 h 1589"/>
                    <a:gd name="T56" fmla="*/ 638 w 1061"/>
                    <a:gd name="T57" fmla="*/ 1578 h 1589"/>
                    <a:gd name="T58" fmla="*/ 530 w 1061"/>
                    <a:gd name="T59" fmla="*/ 1589 h 1589"/>
                    <a:gd name="T60" fmla="*/ 480 w 1061"/>
                    <a:gd name="T61" fmla="*/ 172 h 1589"/>
                    <a:gd name="T62" fmla="*/ 299 w 1061"/>
                    <a:gd name="T63" fmla="*/ 481 h 1589"/>
                    <a:gd name="T64" fmla="*/ 153 w 1061"/>
                    <a:gd name="T65" fmla="*/ 768 h 1589"/>
                    <a:gd name="T66" fmla="*/ 101 w 1061"/>
                    <a:gd name="T67" fmla="*/ 900 h 1589"/>
                    <a:gd name="T68" fmla="*/ 71 w 1061"/>
                    <a:gd name="T69" fmla="*/ 1013 h 1589"/>
                    <a:gd name="T70" fmla="*/ 67 w 1061"/>
                    <a:gd name="T71" fmla="*/ 1084 h 1589"/>
                    <a:gd name="T72" fmla="*/ 81 w 1061"/>
                    <a:gd name="T73" fmla="*/ 1176 h 1589"/>
                    <a:gd name="T74" fmla="*/ 113 w 1061"/>
                    <a:gd name="T75" fmla="*/ 1260 h 1589"/>
                    <a:gd name="T76" fmla="*/ 158 w 1061"/>
                    <a:gd name="T77" fmla="*/ 1337 h 1589"/>
                    <a:gd name="T78" fmla="*/ 219 w 1061"/>
                    <a:gd name="T79" fmla="*/ 1402 h 1589"/>
                    <a:gd name="T80" fmla="*/ 290 w 1061"/>
                    <a:gd name="T81" fmla="*/ 1456 h 1589"/>
                    <a:gd name="T82" fmla="*/ 372 w 1061"/>
                    <a:gd name="T83" fmla="*/ 1495 h 1589"/>
                    <a:gd name="T84" fmla="*/ 460 w 1061"/>
                    <a:gd name="T85" fmla="*/ 1518 h 1589"/>
                    <a:gd name="T86" fmla="*/ 530 w 1061"/>
                    <a:gd name="T87" fmla="*/ 1523 h 1589"/>
                    <a:gd name="T88" fmla="*/ 624 w 1061"/>
                    <a:gd name="T89" fmla="*/ 1514 h 1589"/>
                    <a:gd name="T90" fmla="*/ 711 w 1061"/>
                    <a:gd name="T91" fmla="*/ 1487 h 1589"/>
                    <a:gd name="T92" fmla="*/ 790 w 1061"/>
                    <a:gd name="T93" fmla="*/ 1444 h 1589"/>
                    <a:gd name="T94" fmla="*/ 858 w 1061"/>
                    <a:gd name="T95" fmla="*/ 1387 h 1589"/>
                    <a:gd name="T96" fmla="*/ 915 w 1061"/>
                    <a:gd name="T97" fmla="*/ 1318 h 1589"/>
                    <a:gd name="T98" fmla="*/ 957 w 1061"/>
                    <a:gd name="T99" fmla="*/ 1240 h 1589"/>
                    <a:gd name="T100" fmla="*/ 984 w 1061"/>
                    <a:gd name="T101" fmla="*/ 1153 h 1589"/>
                    <a:gd name="T102" fmla="*/ 995 w 1061"/>
                    <a:gd name="T103" fmla="*/ 1060 h 1589"/>
                    <a:gd name="T104" fmla="*/ 985 w 1061"/>
                    <a:gd name="T105" fmla="*/ 987 h 1589"/>
                    <a:gd name="T106" fmla="*/ 949 w 1061"/>
                    <a:gd name="T107" fmla="*/ 869 h 1589"/>
                    <a:gd name="T108" fmla="*/ 875 w 1061"/>
                    <a:gd name="T109" fmla="*/ 698 h 1589"/>
                    <a:gd name="T110" fmla="*/ 722 w 1061"/>
                    <a:gd name="T111" fmla="*/ 411 h 1589"/>
                    <a:gd name="T112" fmla="*/ 530 w 1061"/>
                    <a:gd name="T113" fmla="*/ 94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1" h="1589">
                      <a:moveTo>
                        <a:pt x="530" y="1589"/>
                      </a:moveTo>
                      <a:lnTo>
                        <a:pt x="530" y="1589"/>
                      </a:lnTo>
                      <a:lnTo>
                        <a:pt x="503" y="1588"/>
                      </a:lnTo>
                      <a:lnTo>
                        <a:pt x="476" y="1586"/>
                      </a:lnTo>
                      <a:lnTo>
                        <a:pt x="450" y="1583"/>
                      </a:lnTo>
                      <a:lnTo>
                        <a:pt x="423" y="1578"/>
                      </a:lnTo>
                      <a:lnTo>
                        <a:pt x="399" y="1573"/>
                      </a:lnTo>
                      <a:lnTo>
                        <a:pt x="373" y="1566"/>
                      </a:lnTo>
                      <a:lnTo>
                        <a:pt x="349" y="1557"/>
                      </a:lnTo>
                      <a:lnTo>
                        <a:pt x="324" y="1548"/>
                      </a:lnTo>
                      <a:lnTo>
                        <a:pt x="301" y="1537"/>
                      </a:lnTo>
                      <a:lnTo>
                        <a:pt x="279" y="1525"/>
                      </a:lnTo>
                      <a:lnTo>
                        <a:pt x="256" y="1513"/>
                      </a:lnTo>
                      <a:lnTo>
                        <a:pt x="234" y="1498"/>
                      </a:lnTo>
                      <a:lnTo>
                        <a:pt x="213" y="1484"/>
                      </a:lnTo>
                      <a:lnTo>
                        <a:pt x="194" y="1468"/>
                      </a:lnTo>
                      <a:lnTo>
                        <a:pt x="174" y="1452"/>
                      </a:lnTo>
                      <a:lnTo>
                        <a:pt x="155" y="1434"/>
                      </a:lnTo>
                      <a:lnTo>
                        <a:pt x="139" y="1416"/>
                      </a:lnTo>
                      <a:lnTo>
                        <a:pt x="121" y="1396"/>
                      </a:lnTo>
                      <a:lnTo>
                        <a:pt x="106" y="1376"/>
                      </a:lnTo>
                      <a:lnTo>
                        <a:pt x="91" y="1356"/>
                      </a:lnTo>
                      <a:lnTo>
                        <a:pt x="78" y="1334"/>
                      </a:lnTo>
                      <a:lnTo>
                        <a:pt x="64" y="1312"/>
                      </a:lnTo>
                      <a:lnTo>
                        <a:pt x="53" y="1289"/>
                      </a:lnTo>
                      <a:lnTo>
                        <a:pt x="43" y="1266"/>
                      </a:lnTo>
                      <a:lnTo>
                        <a:pt x="32" y="1242"/>
                      </a:lnTo>
                      <a:lnTo>
                        <a:pt x="24" y="1217"/>
                      </a:lnTo>
                      <a:lnTo>
                        <a:pt x="17" y="1192"/>
                      </a:lnTo>
                      <a:lnTo>
                        <a:pt x="12" y="1166"/>
                      </a:lnTo>
                      <a:lnTo>
                        <a:pt x="6" y="1140"/>
                      </a:lnTo>
                      <a:lnTo>
                        <a:pt x="3" y="1114"/>
                      </a:lnTo>
                      <a:lnTo>
                        <a:pt x="1" y="1087"/>
                      </a:lnTo>
                      <a:lnTo>
                        <a:pt x="0" y="1060"/>
                      </a:lnTo>
                      <a:lnTo>
                        <a:pt x="0" y="1060"/>
                      </a:lnTo>
                      <a:lnTo>
                        <a:pt x="1" y="1046"/>
                      </a:lnTo>
                      <a:lnTo>
                        <a:pt x="2" y="1032"/>
                      </a:lnTo>
                      <a:lnTo>
                        <a:pt x="6" y="1002"/>
                      </a:lnTo>
                      <a:lnTo>
                        <a:pt x="13" y="970"/>
                      </a:lnTo>
                      <a:lnTo>
                        <a:pt x="21" y="935"/>
                      </a:lnTo>
                      <a:lnTo>
                        <a:pt x="32" y="899"/>
                      </a:lnTo>
                      <a:lnTo>
                        <a:pt x="45" y="861"/>
                      </a:lnTo>
                      <a:lnTo>
                        <a:pt x="60" y="822"/>
                      </a:lnTo>
                      <a:lnTo>
                        <a:pt x="76" y="781"/>
                      </a:lnTo>
                      <a:lnTo>
                        <a:pt x="94" y="741"/>
                      </a:lnTo>
                      <a:lnTo>
                        <a:pt x="113" y="699"/>
                      </a:lnTo>
                      <a:lnTo>
                        <a:pt x="133" y="656"/>
                      </a:lnTo>
                      <a:lnTo>
                        <a:pt x="154" y="614"/>
                      </a:lnTo>
                      <a:lnTo>
                        <a:pt x="198" y="528"/>
                      </a:lnTo>
                      <a:lnTo>
                        <a:pt x="244" y="443"/>
                      </a:lnTo>
                      <a:lnTo>
                        <a:pt x="290" y="361"/>
                      </a:lnTo>
                      <a:lnTo>
                        <a:pt x="334" y="285"/>
                      </a:lnTo>
                      <a:lnTo>
                        <a:pt x="377" y="215"/>
                      </a:lnTo>
                      <a:lnTo>
                        <a:pt x="416" y="151"/>
                      </a:lnTo>
                      <a:lnTo>
                        <a:pt x="475" y="57"/>
                      </a:lnTo>
                      <a:lnTo>
                        <a:pt x="503" y="15"/>
                      </a:lnTo>
                      <a:lnTo>
                        <a:pt x="503" y="15"/>
                      </a:lnTo>
                      <a:lnTo>
                        <a:pt x="508" y="9"/>
                      </a:lnTo>
                      <a:lnTo>
                        <a:pt x="514" y="5"/>
                      </a:lnTo>
                      <a:lnTo>
                        <a:pt x="523" y="1"/>
                      </a:lnTo>
                      <a:lnTo>
                        <a:pt x="530" y="0"/>
                      </a:lnTo>
                      <a:lnTo>
                        <a:pt x="538" y="1"/>
                      </a:lnTo>
                      <a:lnTo>
                        <a:pt x="546" y="5"/>
                      </a:lnTo>
                      <a:lnTo>
                        <a:pt x="553" y="9"/>
                      </a:lnTo>
                      <a:lnTo>
                        <a:pt x="558" y="15"/>
                      </a:lnTo>
                      <a:lnTo>
                        <a:pt x="558" y="15"/>
                      </a:lnTo>
                      <a:lnTo>
                        <a:pt x="586" y="57"/>
                      </a:lnTo>
                      <a:lnTo>
                        <a:pt x="645" y="151"/>
                      </a:lnTo>
                      <a:lnTo>
                        <a:pt x="684" y="215"/>
                      </a:lnTo>
                      <a:lnTo>
                        <a:pt x="726" y="285"/>
                      </a:lnTo>
                      <a:lnTo>
                        <a:pt x="771" y="361"/>
                      </a:lnTo>
                      <a:lnTo>
                        <a:pt x="817" y="443"/>
                      </a:lnTo>
                      <a:lnTo>
                        <a:pt x="863" y="528"/>
                      </a:lnTo>
                      <a:lnTo>
                        <a:pt x="907" y="614"/>
                      </a:lnTo>
                      <a:lnTo>
                        <a:pt x="928" y="656"/>
                      </a:lnTo>
                      <a:lnTo>
                        <a:pt x="948" y="699"/>
                      </a:lnTo>
                      <a:lnTo>
                        <a:pt x="967" y="741"/>
                      </a:lnTo>
                      <a:lnTo>
                        <a:pt x="985" y="781"/>
                      </a:lnTo>
                      <a:lnTo>
                        <a:pt x="1001" y="822"/>
                      </a:lnTo>
                      <a:lnTo>
                        <a:pt x="1016" y="861"/>
                      </a:lnTo>
                      <a:lnTo>
                        <a:pt x="1029" y="899"/>
                      </a:lnTo>
                      <a:lnTo>
                        <a:pt x="1040" y="935"/>
                      </a:lnTo>
                      <a:lnTo>
                        <a:pt x="1048" y="970"/>
                      </a:lnTo>
                      <a:lnTo>
                        <a:pt x="1055" y="1002"/>
                      </a:lnTo>
                      <a:lnTo>
                        <a:pt x="1059" y="1032"/>
                      </a:lnTo>
                      <a:lnTo>
                        <a:pt x="1060" y="1046"/>
                      </a:lnTo>
                      <a:lnTo>
                        <a:pt x="1061" y="1060"/>
                      </a:lnTo>
                      <a:lnTo>
                        <a:pt x="1061" y="1060"/>
                      </a:lnTo>
                      <a:lnTo>
                        <a:pt x="1060" y="1087"/>
                      </a:lnTo>
                      <a:lnTo>
                        <a:pt x="1058" y="1114"/>
                      </a:lnTo>
                      <a:lnTo>
                        <a:pt x="1055" y="1140"/>
                      </a:lnTo>
                      <a:lnTo>
                        <a:pt x="1050" y="1166"/>
                      </a:lnTo>
                      <a:lnTo>
                        <a:pt x="1043" y="1192"/>
                      </a:lnTo>
                      <a:lnTo>
                        <a:pt x="1037" y="1217"/>
                      </a:lnTo>
                      <a:lnTo>
                        <a:pt x="1028" y="1242"/>
                      </a:lnTo>
                      <a:lnTo>
                        <a:pt x="1018" y="1266"/>
                      </a:lnTo>
                      <a:lnTo>
                        <a:pt x="1008" y="1289"/>
                      </a:lnTo>
                      <a:lnTo>
                        <a:pt x="997" y="1312"/>
                      </a:lnTo>
                      <a:lnTo>
                        <a:pt x="983" y="1334"/>
                      </a:lnTo>
                      <a:lnTo>
                        <a:pt x="970" y="1356"/>
                      </a:lnTo>
                      <a:lnTo>
                        <a:pt x="955" y="1376"/>
                      </a:lnTo>
                      <a:lnTo>
                        <a:pt x="940" y="1396"/>
                      </a:lnTo>
                      <a:lnTo>
                        <a:pt x="922" y="1416"/>
                      </a:lnTo>
                      <a:lnTo>
                        <a:pt x="905" y="1434"/>
                      </a:lnTo>
                      <a:lnTo>
                        <a:pt x="887" y="1452"/>
                      </a:lnTo>
                      <a:lnTo>
                        <a:pt x="867" y="1468"/>
                      </a:lnTo>
                      <a:lnTo>
                        <a:pt x="848" y="1484"/>
                      </a:lnTo>
                      <a:lnTo>
                        <a:pt x="827" y="1498"/>
                      </a:lnTo>
                      <a:lnTo>
                        <a:pt x="805" y="1513"/>
                      </a:lnTo>
                      <a:lnTo>
                        <a:pt x="783" y="1525"/>
                      </a:lnTo>
                      <a:lnTo>
                        <a:pt x="760" y="1537"/>
                      </a:lnTo>
                      <a:lnTo>
                        <a:pt x="737" y="1548"/>
                      </a:lnTo>
                      <a:lnTo>
                        <a:pt x="712" y="1557"/>
                      </a:lnTo>
                      <a:lnTo>
                        <a:pt x="688" y="1566"/>
                      </a:lnTo>
                      <a:lnTo>
                        <a:pt x="662" y="1573"/>
                      </a:lnTo>
                      <a:lnTo>
                        <a:pt x="638" y="1578"/>
                      </a:lnTo>
                      <a:lnTo>
                        <a:pt x="611" y="1583"/>
                      </a:lnTo>
                      <a:lnTo>
                        <a:pt x="585" y="1586"/>
                      </a:lnTo>
                      <a:lnTo>
                        <a:pt x="558" y="1588"/>
                      </a:lnTo>
                      <a:lnTo>
                        <a:pt x="530" y="1589"/>
                      </a:lnTo>
                      <a:lnTo>
                        <a:pt x="530" y="1589"/>
                      </a:lnTo>
                      <a:close/>
                      <a:moveTo>
                        <a:pt x="530" y="94"/>
                      </a:moveTo>
                      <a:lnTo>
                        <a:pt x="530" y="94"/>
                      </a:lnTo>
                      <a:lnTo>
                        <a:pt x="480" y="172"/>
                      </a:lnTo>
                      <a:lnTo>
                        <a:pt x="414" y="282"/>
                      </a:lnTo>
                      <a:lnTo>
                        <a:pt x="377" y="344"/>
                      </a:lnTo>
                      <a:lnTo>
                        <a:pt x="339" y="411"/>
                      </a:lnTo>
                      <a:lnTo>
                        <a:pt x="299" y="481"/>
                      </a:lnTo>
                      <a:lnTo>
                        <a:pt x="260" y="553"/>
                      </a:lnTo>
                      <a:lnTo>
                        <a:pt x="222" y="625"/>
                      </a:lnTo>
                      <a:lnTo>
                        <a:pt x="186" y="698"/>
                      </a:lnTo>
                      <a:lnTo>
                        <a:pt x="153" y="768"/>
                      </a:lnTo>
                      <a:lnTo>
                        <a:pt x="139" y="803"/>
                      </a:lnTo>
                      <a:lnTo>
                        <a:pt x="124" y="836"/>
                      </a:lnTo>
                      <a:lnTo>
                        <a:pt x="112" y="869"/>
                      </a:lnTo>
                      <a:lnTo>
                        <a:pt x="101" y="900"/>
                      </a:lnTo>
                      <a:lnTo>
                        <a:pt x="91" y="932"/>
                      </a:lnTo>
                      <a:lnTo>
                        <a:pt x="82" y="960"/>
                      </a:lnTo>
                      <a:lnTo>
                        <a:pt x="76" y="987"/>
                      </a:lnTo>
                      <a:lnTo>
                        <a:pt x="71" y="1013"/>
                      </a:lnTo>
                      <a:lnTo>
                        <a:pt x="67" y="1037"/>
                      </a:lnTo>
                      <a:lnTo>
                        <a:pt x="66" y="1060"/>
                      </a:lnTo>
                      <a:lnTo>
                        <a:pt x="66" y="1060"/>
                      </a:lnTo>
                      <a:lnTo>
                        <a:pt x="67" y="1084"/>
                      </a:lnTo>
                      <a:lnTo>
                        <a:pt x="69" y="1106"/>
                      </a:lnTo>
                      <a:lnTo>
                        <a:pt x="72" y="1130"/>
                      </a:lnTo>
                      <a:lnTo>
                        <a:pt x="76" y="1153"/>
                      </a:lnTo>
                      <a:lnTo>
                        <a:pt x="81" y="1176"/>
                      </a:lnTo>
                      <a:lnTo>
                        <a:pt x="87" y="1197"/>
                      </a:lnTo>
                      <a:lnTo>
                        <a:pt x="95" y="1219"/>
                      </a:lnTo>
                      <a:lnTo>
                        <a:pt x="104" y="1240"/>
                      </a:lnTo>
                      <a:lnTo>
                        <a:pt x="113" y="1260"/>
                      </a:lnTo>
                      <a:lnTo>
                        <a:pt x="122" y="1280"/>
                      </a:lnTo>
                      <a:lnTo>
                        <a:pt x="134" y="1300"/>
                      </a:lnTo>
                      <a:lnTo>
                        <a:pt x="146" y="1318"/>
                      </a:lnTo>
                      <a:lnTo>
                        <a:pt x="158" y="1337"/>
                      </a:lnTo>
                      <a:lnTo>
                        <a:pt x="173" y="1355"/>
                      </a:lnTo>
                      <a:lnTo>
                        <a:pt x="187" y="1371"/>
                      </a:lnTo>
                      <a:lnTo>
                        <a:pt x="203" y="1387"/>
                      </a:lnTo>
                      <a:lnTo>
                        <a:pt x="219" y="1402"/>
                      </a:lnTo>
                      <a:lnTo>
                        <a:pt x="236" y="1417"/>
                      </a:lnTo>
                      <a:lnTo>
                        <a:pt x="253" y="1431"/>
                      </a:lnTo>
                      <a:lnTo>
                        <a:pt x="271" y="1444"/>
                      </a:lnTo>
                      <a:lnTo>
                        <a:pt x="290" y="1456"/>
                      </a:lnTo>
                      <a:lnTo>
                        <a:pt x="310" y="1467"/>
                      </a:lnTo>
                      <a:lnTo>
                        <a:pt x="329" y="1478"/>
                      </a:lnTo>
                      <a:lnTo>
                        <a:pt x="350" y="1487"/>
                      </a:lnTo>
                      <a:lnTo>
                        <a:pt x="372" y="1495"/>
                      </a:lnTo>
                      <a:lnTo>
                        <a:pt x="392" y="1503"/>
                      </a:lnTo>
                      <a:lnTo>
                        <a:pt x="415" y="1509"/>
                      </a:lnTo>
                      <a:lnTo>
                        <a:pt x="437" y="1514"/>
                      </a:lnTo>
                      <a:lnTo>
                        <a:pt x="460" y="1518"/>
                      </a:lnTo>
                      <a:lnTo>
                        <a:pt x="483" y="1520"/>
                      </a:lnTo>
                      <a:lnTo>
                        <a:pt x="506" y="1522"/>
                      </a:lnTo>
                      <a:lnTo>
                        <a:pt x="530" y="1523"/>
                      </a:lnTo>
                      <a:lnTo>
                        <a:pt x="530" y="1523"/>
                      </a:lnTo>
                      <a:lnTo>
                        <a:pt x="554" y="1522"/>
                      </a:lnTo>
                      <a:lnTo>
                        <a:pt x="578" y="1520"/>
                      </a:lnTo>
                      <a:lnTo>
                        <a:pt x="601" y="1518"/>
                      </a:lnTo>
                      <a:lnTo>
                        <a:pt x="624" y="1514"/>
                      </a:lnTo>
                      <a:lnTo>
                        <a:pt x="646" y="1509"/>
                      </a:lnTo>
                      <a:lnTo>
                        <a:pt x="669" y="1503"/>
                      </a:lnTo>
                      <a:lnTo>
                        <a:pt x="689" y="1495"/>
                      </a:lnTo>
                      <a:lnTo>
                        <a:pt x="711" y="1487"/>
                      </a:lnTo>
                      <a:lnTo>
                        <a:pt x="732" y="1478"/>
                      </a:lnTo>
                      <a:lnTo>
                        <a:pt x="751" y="1467"/>
                      </a:lnTo>
                      <a:lnTo>
                        <a:pt x="771" y="1456"/>
                      </a:lnTo>
                      <a:lnTo>
                        <a:pt x="790" y="1444"/>
                      </a:lnTo>
                      <a:lnTo>
                        <a:pt x="807" y="1431"/>
                      </a:lnTo>
                      <a:lnTo>
                        <a:pt x="825" y="1417"/>
                      </a:lnTo>
                      <a:lnTo>
                        <a:pt x="843" y="1402"/>
                      </a:lnTo>
                      <a:lnTo>
                        <a:pt x="858" y="1387"/>
                      </a:lnTo>
                      <a:lnTo>
                        <a:pt x="874" y="1371"/>
                      </a:lnTo>
                      <a:lnTo>
                        <a:pt x="888" y="1355"/>
                      </a:lnTo>
                      <a:lnTo>
                        <a:pt x="902" y="1337"/>
                      </a:lnTo>
                      <a:lnTo>
                        <a:pt x="915" y="1318"/>
                      </a:lnTo>
                      <a:lnTo>
                        <a:pt x="927" y="1300"/>
                      </a:lnTo>
                      <a:lnTo>
                        <a:pt x="938" y="1280"/>
                      </a:lnTo>
                      <a:lnTo>
                        <a:pt x="948" y="1260"/>
                      </a:lnTo>
                      <a:lnTo>
                        <a:pt x="957" y="1240"/>
                      </a:lnTo>
                      <a:lnTo>
                        <a:pt x="966" y="1219"/>
                      </a:lnTo>
                      <a:lnTo>
                        <a:pt x="973" y="1197"/>
                      </a:lnTo>
                      <a:lnTo>
                        <a:pt x="979" y="1176"/>
                      </a:lnTo>
                      <a:lnTo>
                        <a:pt x="984" y="1153"/>
                      </a:lnTo>
                      <a:lnTo>
                        <a:pt x="988" y="1130"/>
                      </a:lnTo>
                      <a:lnTo>
                        <a:pt x="992" y="1106"/>
                      </a:lnTo>
                      <a:lnTo>
                        <a:pt x="994" y="1084"/>
                      </a:lnTo>
                      <a:lnTo>
                        <a:pt x="995" y="1060"/>
                      </a:lnTo>
                      <a:lnTo>
                        <a:pt x="995" y="1060"/>
                      </a:lnTo>
                      <a:lnTo>
                        <a:pt x="994" y="1037"/>
                      </a:lnTo>
                      <a:lnTo>
                        <a:pt x="991" y="1013"/>
                      </a:lnTo>
                      <a:lnTo>
                        <a:pt x="985" y="987"/>
                      </a:lnTo>
                      <a:lnTo>
                        <a:pt x="978" y="960"/>
                      </a:lnTo>
                      <a:lnTo>
                        <a:pt x="970" y="932"/>
                      </a:lnTo>
                      <a:lnTo>
                        <a:pt x="961" y="900"/>
                      </a:lnTo>
                      <a:lnTo>
                        <a:pt x="949" y="869"/>
                      </a:lnTo>
                      <a:lnTo>
                        <a:pt x="937" y="836"/>
                      </a:lnTo>
                      <a:lnTo>
                        <a:pt x="922" y="803"/>
                      </a:lnTo>
                      <a:lnTo>
                        <a:pt x="908" y="768"/>
                      </a:lnTo>
                      <a:lnTo>
                        <a:pt x="875" y="698"/>
                      </a:lnTo>
                      <a:lnTo>
                        <a:pt x="839" y="625"/>
                      </a:lnTo>
                      <a:lnTo>
                        <a:pt x="801" y="553"/>
                      </a:lnTo>
                      <a:lnTo>
                        <a:pt x="762" y="481"/>
                      </a:lnTo>
                      <a:lnTo>
                        <a:pt x="722" y="411"/>
                      </a:lnTo>
                      <a:lnTo>
                        <a:pt x="684" y="344"/>
                      </a:lnTo>
                      <a:lnTo>
                        <a:pt x="647" y="282"/>
                      </a:lnTo>
                      <a:lnTo>
                        <a:pt x="580" y="172"/>
                      </a:lnTo>
                      <a:lnTo>
                        <a:pt x="530" y="94"/>
                      </a:lnTo>
                      <a:lnTo>
                        <a:pt x="530" y="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52" name="Freeform 45">
                  <a:extLst>
                    <a:ext uri="{FF2B5EF4-FFF2-40B4-BE49-F238E27FC236}">
                      <a16:creationId xmlns:a16="http://schemas.microsoft.com/office/drawing/2014/main" id="{FF2C4ECC-1F9C-2862-9247-4BDA235C7898}"/>
                    </a:ext>
                  </a:extLst>
                </p:cNvPr>
                <p:cNvSpPr>
                  <a:spLocks/>
                </p:cNvSpPr>
                <p:nvPr/>
              </p:nvSpPr>
              <p:spPr bwMode="auto">
                <a:xfrm>
                  <a:off x="4628217" y="2313636"/>
                  <a:ext cx="58465" cy="180707"/>
                </a:xfrm>
                <a:custGeom>
                  <a:avLst/>
                  <a:gdLst>
                    <a:gd name="T0" fmla="*/ 133 w 235"/>
                    <a:gd name="T1" fmla="*/ 719 h 719"/>
                    <a:gd name="T2" fmla="*/ 121 w 235"/>
                    <a:gd name="T3" fmla="*/ 717 h 719"/>
                    <a:gd name="T4" fmla="*/ 111 w 235"/>
                    <a:gd name="T5" fmla="*/ 710 h 719"/>
                    <a:gd name="T6" fmla="*/ 98 w 235"/>
                    <a:gd name="T7" fmla="*/ 699 h 719"/>
                    <a:gd name="T8" fmla="*/ 74 w 235"/>
                    <a:gd name="T9" fmla="*/ 673 h 719"/>
                    <a:gd name="T10" fmla="*/ 54 w 235"/>
                    <a:gd name="T11" fmla="*/ 644 h 719"/>
                    <a:gd name="T12" fmla="*/ 37 w 235"/>
                    <a:gd name="T13" fmla="*/ 614 h 719"/>
                    <a:gd name="T14" fmla="*/ 23 w 235"/>
                    <a:gd name="T15" fmla="*/ 583 h 719"/>
                    <a:gd name="T16" fmla="*/ 11 w 235"/>
                    <a:gd name="T17" fmla="*/ 550 h 719"/>
                    <a:gd name="T18" fmla="*/ 4 w 235"/>
                    <a:gd name="T19" fmla="*/ 516 h 719"/>
                    <a:gd name="T20" fmla="*/ 1 w 235"/>
                    <a:gd name="T21" fmla="*/ 481 h 719"/>
                    <a:gd name="T22" fmla="*/ 0 w 235"/>
                    <a:gd name="T23" fmla="*/ 464 h 719"/>
                    <a:gd name="T24" fmla="*/ 3 w 235"/>
                    <a:gd name="T25" fmla="*/ 431 h 719"/>
                    <a:gd name="T26" fmla="*/ 11 w 235"/>
                    <a:gd name="T27" fmla="*/ 391 h 719"/>
                    <a:gd name="T28" fmla="*/ 25 w 235"/>
                    <a:gd name="T29" fmla="*/ 345 h 719"/>
                    <a:gd name="T30" fmla="*/ 43 w 235"/>
                    <a:gd name="T31" fmla="*/ 293 h 719"/>
                    <a:gd name="T32" fmla="*/ 97 w 235"/>
                    <a:gd name="T33" fmla="*/ 168 h 719"/>
                    <a:gd name="T34" fmla="*/ 173 w 235"/>
                    <a:gd name="T35" fmla="*/ 18 h 719"/>
                    <a:gd name="T36" fmla="*/ 177 w 235"/>
                    <a:gd name="T37" fmla="*/ 12 h 719"/>
                    <a:gd name="T38" fmla="*/ 186 w 235"/>
                    <a:gd name="T39" fmla="*/ 3 h 719"/>
                    <a:gd name="T40" fmla="*/ 199 w 235"/>
                    <a:gd name="T41" fmla="*/ 0 h 719"/>
                    <a:gd name="T42" fmla="*/ 211 w 235"/>
                    <a:gd name="T43" fmla="*/ 1 h 719"/>
                    <a:gd name="T44" fmla="*/ 217 w 235"/>
                    <a:gd name="T45" fmla="*/ 3 h 719"/>
                    <a:gd name="T46" fmla="*/ 228 w 235"/>
                    <a:gd name="T47" fmla="*/ 12 h 719"/>
                    <a:gd name="T48" fmla="*/ 234 w 235"/>
                    <a:gd name="T49" fmla="*/ 23 h 719"/>
                    <a:gd name="T50" fmla="*/ 235 w 235"/>
                    <a:gd name="T51" fmla="*/ 35 h 719"/>
                    <a:gd name="T52" fmla="*/ 232 w 235"/>
                    <a:gd name="T53" fmla="*/ 48 h 719"/>
                    <a:gd name="T54" fmla="*/ 193 w 235"/>
                    <a:gd name="T55" fmla="*/ 121 h 719"/>
                    <a:gd name="T56" fmla="*/ 132 w 235"/>
                    <a:gd name="T57" fmla="*/ 252 h 719"/>
                    <a:gd name="T58" fmla="*/ 91 w 235"/>
                    <a:gd name="T59" fmla="*/ 356 h 719"/>
                    <a:gd name="T60" fmla="*/ 77 w 235"/>
                    <a:gd name="T61" fmla="*/ 400 h 719"/>
                    <a:gd name="T62" fmla="*/ 69 w 235"/>
                    <a:gd name="T63" fmla="*/ 435 h 719"/>
                    <a:gd name="T64" fmla="*/ 66 w 235"/>
                    <a:gd name="T65" fmla="*/ 464 h 719"/>
                    <a:gd name="T66" fmla="*/ 67 w 235"/>
                    <a:gd name="T67" fmla="*/ 477 h 719"/>
                    <a:gd name="T68" fmla="*/ 70 w 235"/>
                    <a:gd name="T69" fmla="*/ 505 h 719"/>
                    <a:gd name="T70" fmla="*/ 75 w 235"/>
                    <a:gd name="T71" fmla="*/ 532 h 719"/>
                    <a:gd name="T72" fmla="*/ 85 w 235"/>
                    <a:gd name="T73" fmla="*/ 559 h 719"/>
                    <a:gd name="T74" fmla="*/ 96 w 235"/>
                    <a:gd name="T75" fmla="*/ 584 h 719"/>
                    <a:gd name="T76" fmla="*/ 110 w 235"/>
                    <a:gd name="T77" fmla="*/ 609 h 719"/>
                    <a:gd name="T78" fmla="*/ 126 w 235"/>
                    <a:gd name="T79" fmla="*/ 630 h 719"/>
                    <a:gd name="T80" fmla="*/ 145 w 235"/>
                    <a:gd name="T81" fmla="*/ 651 h 719"/>
                    <a:gd name="T82" fmla="*/ 155 w 235"/>
                    <a:gd name="T83" fmla="*/ 661 h 719"/>
                    <a:gd name="T84" fmla="*/ 162 w 235"/>
                    <a:gd name="T85" fmla="*/ 672 h 719"/>
                    <a:gd name="T86" fmla="*/ 165 w 235"/>
                    <a:gd name="T87" fmla="*/ 684 h 719"/>
                    <a:gd name="T88" fmla="*/ 164 w 235"/>
                    <a:gd name="T89" fmla="*/ 697 h 719"/>
                    <a:gd name="T90" fmla="*/ 157 w 235"/>
                    <a:gd name="T91" fmla="*/ 708 h 719"/>
                    <a:gd name="T92" fmla="*/ 152 w 235"/>
                    <a:gd name="T93" fmla="*/ 713 h 719"/>
                    <a:gd name="T94" fmla="*/ 140 w 235"/>
                    <a:gd name="T95" fmla="*/ 718 h 719"/>
                    <a:gd name="T96" fmla="*/ 133 w 235"/>
                    <a:gd name="T97"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5" h="719">
                      <a:moveTo>
                        <a:pt x="133" y="719"/>
                      </a:moveTo>
                      <a:lnTo>
                        <a:pt x="133" y="719"/>
                      </a:lnTo>
                      <a:lnTo>
                        <a:pt x="127" y="718"/>
                      </a:lnTo>
                      <a:lnTo>
                        <a:pt x="121" y="717"/>
                      </a:lnTo>
                      <a:lnTo>
                        <a:pt x="116" y="714"/>
                      </a:lnTo>
                      <a:lnTo>
                        <a:pt x="111" y="710"/>
                      </a:lnTo>
                      <a:lnTo>
                        <a:pt x="111" y="710"/>
                      </a:lnTo>
                      <a:lnTo>
                        <a:pt x="98" y="699"/>
                      </a:lnTo>
                      <a:lnTo>
                        <a:pt x="86" y="685"/>
                      </a:lnTo>
                      <a:lnTo>
                        <a:pt x="74" y="673"/>
                      </a:lnTo>
                      <a:lnTo>
                        <a:pt x="64" y="658"/>
                      </a:lnTo>
                      <a:lnTo>
                        <a:pt x="54" y="644"/>
                      </a:lnTo>
                      <a:lnTo>
                        <a:pt x="45" y="629"/>
                      </a:lnTo>
                      <a:lnTo>
                        <a:pt x="37" y="614"/>
                      </a:lnTo>
                      <a:lnTo>
                        <a:pt x="29" y="598"/>
                      </a:lnTo>
                      <a:lnTo>
                        <a:pt x="23" y="583"/>
                      </a:lnTo>
                      <a:lnTo>
                        <a:pt x="16" y="566"/>
                      </a:lnTo>
                      <a:lnTo>
                        <a:pt x="11" y="550"/>
                      </a:lnTo>
                      <a:lnTo>
                        <a:pt x="7" y="533"/>
                      </a:lnTo>
                      <a:lnTo>
                        <a:pt x="4" y="516"/>
                      </a:lnTo>
                      <a:lnTo>
                        <a:pt x="2" y="499"/>
                      </a:lnTo>
                      <a:lnTo>
                        <a:pt x="1" y="481"/>
                      </a:lnTo>
                      <a:lnTo>
                        <a:pt x="0" y="464"/>
                      </a:lnTo>
                      <a:lnTo>
                        <a:pt x="0" y="464"/>
                      </a:lnTo>
                      <a:lnTo>
                        <a:pt x="1" y="448"/>
                      </a:lnTo>
                      <a:lnTo>
                        <a:pt x="3" y="431"/>
                      </a:lnTo>
                      <a:lnTo>
                        <a:pt x="6" y="412"/>
                      </a:lnTo>
                      <a:lnTo>
                        <a:pt x="11" y="391"/>
                      </a:lnTo>
                      <a:lnTo>
                        <a:pt x="17" y="370"/>
                      </a:lnTo>
                      <a:lnTo>
                        <a:pt x="25" y="345"/>
                      </a:lnTo>
                      <a:lnTo>
                        <a:pt x="33" y="320"/>
                      </a:lnTo>
                      <a:lnTo>
                        <a:pt x="43" y="293"/>
                      </a:lnTo>
                      <a:lnTo>
                        <a:pt x="68" y="234"/>
                      </a:lnTo>
                      <a:lnTo>
                        <a:pt x="97" y="168"/>
                      </a:lnTo>
                      <a:lnTo>
                        <a:pt x="132" y="95"/>
                      </a:lnTo>
                      <a:lnTo>
                        <a:pt x="173" y="18"/>
                      </a:lnTo>
                      <a:lnTo>
                        <a:pt x="173" y="18"/>
                      </a:lnTo>
                      <a:lnTo>
                        <a:pt x="177" y="12"/>
                      </a:lnTo>
                      <a:lnTo>
                        <a:pt x="181" y="8"/>
                      </a:lnTo>
                      <a:lnTo>
                        <a:pt x="186" y="3"/>
                      </a:lnTo>
                      <a:lnTo>
                        <a:pt x="192" y="1"/>
                      </a:lnTo>
                      <a:lnTo>
                        <a:pt x="199" y="0"/>
                      </a:lnTo>
                      <a:lnTo>
                        <a:pt x="205" y="0"/>
                      </a:lnTo>
                      <a:lnTo>
                        <a:pt x="211" y="1"/>
                      </a:lnTo>
                      <a:lnTo>
                        <a:pt x="217" y="3"/>
                      </a:lnTo>
                      <a:lnTo>
                        <a:pt x="217" y="3"/>
                      </a:lnTo>
                      <a:lnTo>
                        <a:pt x="223" y="8"/>
                      </a:lnTo>
                      <a:lnTo>
                        <a:pt x="228" y="12"/>
                      </a:lnTo>
                      <a:lnTo>
                        <a:pt x="231" y="17"/>
                      </a:lnTo>
                      <a:lnTo>
                        <a:pt x="234" y="23"/>
                      </a:lnTo>
                      <a:lnTo>
                        <a:pt x="235" y="29"/>
                      </a:lnTo>
                      <a:lnTo>
                        <a:pt x="235" y="35"/>
                      </a:lnTo>
                      <a:lnTo>
                        <a:pt x="234" y="42"/>
                      </a:lnTo>
                      <a:lnTo>
                        <a:pt x="232" y="48"/>
                      </a:lnTo>
                      <a:lnTo>
                        <a:pt x="232" y="48"/>
                      </a:lnTo>
                      <a:lnTo>
                        <a:pt x="193" y="121"/>
                      </a:lnTo>
                      <a:lnTo>
                        <a:pt x="160" y="190"/>
                      </a:lnTo>
                      <a:lnTo>
                        <a:pt x="132" y="252"/>
                      </a:lnTo>
                      <a:lnTo>
                        <a:pt x="109" y="308"/>
                      </a:lnTo>
                      <a:lnTo>
                        <a:pt x="91" y="356"/>
                      </a:lnTo>
                      <a:lnTo>
                        <a:pt x="84" y="379"/>
                      </a:lnTo>
                      <a:lnTo>
                        <a:pt x="77" y="400"/>
                      </a:lnTo>
                      <a:lnTo>
                        <a:pt x="72" y="418"/>
                      </a:lnTo>
                      <a:lnTo>
                        <a:pt x="69" y="435"/>
                      </a:lnTo>
                      <a:lnTo>
                        <a:pt x="67" y="450"/>
                      </a:lnTo>
                      <a:lnTo>
                        <a:pt x="66" y="464"/>
                      </a:lnTo>
                      <a:lnTo>
                        <a:pt x="66" y="464"/>
                      </a:lnTo>
                      <a:lnTo>
                        <a:pt x="67" y="477"/>
                      </a:lnTo>
                      <a:lnTo>
                        <a:pt x="68" y="492"/>
                      </a:lnTo>
                      <a:lnTo>
                        <a:pt x="70" y="505"/>
                      </a:lnTo>
                      <a:lnTo>
                        <a:pt x="72" y="519"/>
                      </a:lnTo>
                      <a:lnTo>
                        <a:pt x="75" y="532"/>
                      </a:lnTo>
                      <a:lnTo>
                        <a:pt x="80" y="546"/>
                      </a:lnTo>
                      <a:lnTo>
                        <a:pt x="85" y="559"/>
                      </a:lnTo>
                      <a:lnTo>
                        <a:pt x="90" y="571"/>
                      </a:lnTo>
                      <a:lnTo>
                        <a:pt x="96" y="584"/>
                      </a:lnTo>
                      <a:lnTo>
                        <a:pt x="102" y="596"/>
                      </a:lnTo>
                      <a:lnTo>
                        <a:pt x="110" y="609"/>
                      </a:lnTo>
                      <a:lnTo>
                        <a:pt x="118" y="620"/>
                      </a:lnTo>
                      <a:lnTo>
                        <a:pt x="126" y="630"/>
                      </a:lnTo>
                      <a:lnTo>
                        <a:pt x="135" y="642"/>
                      </a:lnTo>
                      <a:lnTo>
                        <a:pt x="145" y="651"/>
                      </a:lnTo>
                      <a:lnTo>
                        <a:pt x="155" y="661"/>
                      </a:lnTo>
                      <a:lnTo>
                        <a:pt x="155" y="661"/>
                      </a:lnTo>
                      <a:lnTo>
                        <a:pt x="159" y="666"/>
                      </a:lnTo>
                      <a:lnTo>
                        <a:pt x="162" y="672"/>
                      </a:lnTo>
                      <a:lnTo>
                        <a:pt x="165" y="678"/>
                      </a:lnTo>
                      <a:lnTo>
                        <a:pt x="165" y="684"/>
                      </a:lnTo>
                      <a:lnTo>
                        <a:pt x="165" y="690"/>
                      </a:lnTo>
                      <a:lnTo>
                        <a:pt x="164" y="697"/>
                      </a:lnTo>
                      <a:lnTo>
                        <a:pt x="161" y="703"/>
                      </a:lnTo>
                      <a:lnTo>
                        <a:pt x="157" y="708"/>
                      </a:lnTo>
                      <a:lnTo>
                        <a:pt x="157" y="708"/>
                      </a:lnTo>
                      <a:lnTo>
                        <a:pt x="152" y="713"/>
                      </a:lnTo>
                      <a:lnTo>
                        <a:pt x="146" y="716"/>
                      </a:lnTo>
                      <a:lnTo>
                        <a:pt x="140" y="718"/>
                      </a:lnTo>
                      <a:lnTo>
                        <a:pt x="133" y="719"/>
                      </a:lnTo>
                      <a:lnTo>
                        <a:pt x="133" y="7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grpSp>
          <p:sp>
            <p:nvSpPr>
              <p:cNvPr id="153" name="TextBox 152">
                <a:extLst>
                  <a:ext uri="{FF2B5EF4-FFF2-40B4-BE49-F238E27FC236}">
                    <a16:creationId xmlns:a16="http://schemas.microsoft.com/office/drawing/2014/main" id="{31F0C921-E488-29E6-F6A8-B95099AB07B6}"/>
                  </a:ext>
                </a:extLst>
              </p:cNvPr>
              <p:cNvSpPr txBox="1"/>
              <p:nvPr/>
            </p:nvSpPr>
            <p:spPr>
              <a:xfrm>
                <a:off x="1881890" y="3101235"/>
                <a:ext cx="1902894"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oboto"/>
                    <a:ea typeface="+mn-ea"/>
                    <a:cs typeface="+mn-cs"/>
                  </a:rPr>
                  <a:t>Water &amp; sanitation</a:t>
                </a:r>
              </a:p>
            </p:txBody>
          </p:sp>
        </p:grpSp>
        <p:grpSp>
          <p:nvGrpSpPr>
            <p:cNvPr id="278" name="Group 277">
              <a:extLst>
                <a:ext uri="{FF2B5EF4-FFF2-40B4-BE49-F238E27FC236}">
                  <a16:creationId xmlns:a16="http://schemas.microsoft.com/office/drawing/2014/main" id="{B2BF8C9C-0D16-D956-EE7F-DABCCD75CF0C}"/>
                </a:ext>
              </a:extLst>
            </p:cNvPr>
            <p:cNvGrpSpPr/>
            <p:nvPr/>
          </p:nvGrpSpPr>
          <p:grpSpPr>
            <a:xfrm>
              <a:off x="1211002" y="4552984"/>
              <a:ext cx="2882533" cy="442150"/>
              <a:chOff x="1285023" y="4505408"/>
              <a:chExt cx="2882533" cy="442150"/>
            </a:xfrm>
          </p:grpSpPr>
          <p:grpSp>
            <p:nvGrpSpPr>
              <p:cNvPr id="242" name="Group 241">
                <a:extLst>
                  <a:ext uri="{FF2B5EF4-FFF2-40B4-BE49-F238E27FC236}">
                    <a16:creationId xmlns:a16="http://schemas.microsoft.com/office/drawing/2014/main" id="{0215A448-DA3F-2345-1DCD-615932EBD9C5}"/>
                  </a:ext>
                </a:extLst>
              </p:cNvPr>
              <p:cNvGrpSpPr/>
              <p:nvPr/>
            </p:nvGrpSpPr>
            <p:grpSpPr>
              <a:xfrm>
                <a:off x="1285023" y="4505408"/>
                <a:ext cx="442151" cy="442150"/>
                <a:chOff x="4404994" y="4937605"/>
                <a:chExt cx="614681" cy="614680"/>
              </a:xfrm>
            </p:grpSpPr>
            <p:sp>
              <p:nvSpPr>
                <p:cNvPr id="243" name="Flowchart: Connector 242">
                  <a:extLst>
                    <a:ext uri="{FF2B5EF4-FFF2-40B4-BE49-F238E27FC236}">
                      <a16:creationId xmlns:a16="http://schemas.microsoft.com/office/drawing/2014/main" id="{06F9BD5B-2E80-5B25-6FDA-20E425FAF73A}"/>
                    </a:ext>
                  </a:extLst>
                </p:cNvPr>
                <p:cNvSpPr/>
                <p:nvPr/>
              </p:nvSpPr>
              <p:spPr>
                <a:xfrm>
                  <a:off x="4404994" y="4937605"/>
                  <a:ext cx="614681" cy="61468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200" b="1" i="0" u="none" strike="noStrike" kern="1200" cap="none" spc="0" normalizeH="0" baseline="0" noProof="0" dirty="0">
                    <a:ln>
                      <a:noFill/>
                    </a:ln>
                    <a:solidFill>
                      <a:prstClr val="white"/>
                    </a:solidFill>
                    <a:effectLst/>
                    <a:uLnTx/>
                    <a:uFillTx/>
                    <a:latin typeface="Roboto"/>
                    <a:ea typeface="+mn-ea"/>
                    <a:cs typeface="+mn-cs"/>
                  </a:endParaRPr>
                </a:p>
              </p:txBody>
            </p:sp>
            <p:sp>
              <p:nvSpPr>
                <p:cNvPr id="244" name="Freeform 197">
                  <a:extLst>
                    <a:ext uri="{FF2B5EF4-FFF2-40B4-BE49-F238E27FC236}">
                      <a16:creationId xmlns:a16="http://schemas.microsoft.com/office/drawing/2014/main" id="{F45745EF-B06A-F4A8-8B5B-4808D60D3974}"/>
                    </a:ext>
                  </a:extLst>
                </p:cNvPr>
                <p:cNvSpPr>
                  <a:spLocks noEditPoints="1"/>
                </p:cNvSpPr>
                <p:nvPr/>
              </p:nvSpPr>
              <p:spPr bwMode="auto">
                <a:xfrm>
                  <a:off x="4504652" y="5032233"/>
                  <a:ext cx="220958" cy="425063"/>
                </a:xfrm>
                <a:custGeom>
                  <a:avLst/>
                  <a:gdLst>
                    <a:gd name="T0" fmla="*/ 753 w 827"/>
                    <a:gd name="T1" fmla="*/ 1586 h 1587"/>
                    <a:gd name="T2" fmla="*/ 636 w 827"/>
                    <a:gd name="T3" fmla="*/ 1571 h 1587"/>
                    <a:gd name="T4" fmla="*/ 525 w 827"/>
                    <a:gd name="T5" fmla="*/ 1538 h 1587"/>
                    <a:gd name="T6" fmla="*/ 419 w 827"/>
                    <a:gd name="T7" fmla="*/ 1490 h 1587"/>
                    <a:gd name="T8" fmla="*/ 323 w 827"/>
                    <a:gd name="T9" fmla="*/ 1427 h 1587"/>
                    <a:gd name="T10" fmla="*/ 236 w 827"/>
                    <a:gd name="T11" fmla="*/ 1351 h 1587"/>
                    <a:gd name="T12" fmla="*/ 160 w 827"/>
                    <a:gd name="T13" fmla="*/ 1264 h 1587"/>
                    <a:gd name="T14" fmla="*/ 98 w 827"/>
                    <a:gd name="T15" fmla="*/ 1168 h 1587"/>
                    <a:gd name="T16" fmla="*/ 50 w 827"/>
                    <a:gd name="T17" fmla="*/ 1064 h 1587"/>
                    <a:gd name="T18" fmla="*/ 16 w 827"/>
                    <a:gd name="T19" fmla="*/ 951 h 1587"/>
                    <a:gd name="T20" fmla="*/ 1 w 827"/>
                    <a:gd name="T21" fmla="*/ 834 h 1587"/>
                    <a:gd name="T22" fmla="*/ 1 w 827"/>
                    <a:gd name="T23" fmla="*/ 753 h 1587"/>
                    <a:gd name="T24" fmla="*/ 16 w 827"/>
                    <a:gd name="T25" fmla="*/ 636 h 1587"/>
                    <a:gd name="T26" fmla="*/ 50 w 827"/>
                    <a:gd name="T27" fmla="*/ 525 h 1587"/>
                    <a:gd name="T28" fmla="*/ 98 w 827"/>
                    <a:gd name="T29" fmla="*/ 419 h 1587"/>
                    <a:gd name="T30" fmla="*/ 160 w 827"/>
                    <a:gd name="T31" fmla="*/ 323 h 1587"/>
                    <a:gd name="T32" fmla="*/ 236 w 827"/>
                    <a:gd name="T33" fmla="*/ 236 h 1587"/>
                    <a:gd name="T34" fmla="*/ 323 w 827"/>
                    <a:gd name="T35" fmla="*/ 160 h 1587"/>
                    <a:gd name="T36" fmla="*/ 419 w 827"/>
                    <a:gd name="T37" fmla="*/ 98 h 1587"/>
                    <a:gd name="T38" fmla="*/ 525 w 827"/>
                    <a:gd name="T39" fmla="*/ 50 h 1587"/>
                    <a:gd name="T40" fmla="*/ 636 w 827"/>
                    <a:gd name="T41" fmla="*/ 17 h 1587"/>
                    <a:gd name="T42" fmla="*/ 753 w 827"/>
                    <a:gd name="T43" fmla="*/ 1 h 1587"/>
                    <a:gd name="T44" fmla="*/ 801 w 827"/>
                    <a:gd name="T45" fmla="*/ 1 h 1587"/>
                    <a:gd name="T46" fmla="*/ 817 w 827"/>
                    <a:gd name="T47" fmla="*/ 10 h 1587"/>
                    <a:gd name="T48" fmla="*/ 826 w 827"/>
                    <a:gd name="T49" fmla="*/ 27 h 1587"/>
                    <a:gd name="T50" fmla="*/ 827 w 827"/>
                    <a:gd name="T51" fmla="*/ 1554 h 1587"/>
                    <a:gd name="T52" fmla="*/ 822 w 827"/>
                    <a:gd name="T53" fmla="*/ 1573 h 1587"/>
                    <a:gd name="T54" fmla="*/ 807 w 827"/>
                    <a:gd name="T55" fmla="*/ 1584 h 1587"/>
                    <a:gd name="T56" fmla="*/ 794 w 827"/>
                    <a:gd name="T57" fmla="*/ 1587 h 1587"/>
                    <a:gd name="T58" fmla="*/ 726 w 827"/>
                    <a:gd name="T59" fmla="*/ 70 h 1587"/>
                    <a:gd name="T60" fmla="*/ 624 w 827"/>
                    <a:gd name="T61" fmla="*/ 89 h 1587"/>
                    <a:gd name="T62" fmla="*/ 526 w 827"/>
                    <a:gd name="T63" fmla="*/ 122 h 1587"/>
                    <a:gd name="T64" fmla="*/ 434 w 827"/>
                    <a:gd name="T65" fmla="*/ 169 h 1587"/>
                    <a:gd name="T66" fmla="*/ 350 w 827"/>
                    <a:gd name="T67" fmla="*/ 227 h 1587"/>
                    <a:gd name="T68" fmla="*/ 273 w 827"/>
                    <a:gd name="T69" fmla="*/ 296 h 1587"/>
                    <a:gd name="T70" fmla="*/ 207 w 827"/>
                    <a:gd name="T71" fmla="*/ 376 h 1587"/>
                    <a:gd name="T72" fmla="*/ 152 w 827"/>
                    <a:gd name="T73" fmla="*/ 463 h 1587"/>
                    <a:gd name="T74" fmla="*/ 110 w 827"/>
                    <a:gd name="T75" fmla="*/ 556 h 1587"/>
                    <a:gd name="T76" fmla="*/ 81 w 827"/>
                    <a:gd name="T77" fmla="*/ 655 h 1587"/>
                    <a:gd name="T78" fmla="*/ 67 w 827"/>
                    <a:gd name="T79" fmla="*/ 758 h 1587"/>
                    <a:gd name="T80" fmla="*/ 67 w 827"/>
                    <a:gd name="T81" fmla="*/ 829 h 1587"/>
                    <a:gd name="T82" fmla="*/ 81 w 827"/>
                    <a:gd name="T83" fmla="*/ 932 h 1587"/>
                    <a:gd name="T84" fmla="*/ 110 w 827"/>
                    <a:gd name="T85" fmla="*/ 1032 h 1587"/>
                    <a:gd name="T86" fmla="*/ 152 w 827"/>
                    <a:gd name="T87" fmla="*/ 1125 h 1587"/>
                    <a:gd name="T88" fmla="*/ 207 w 827"/>
                    <a:gd name="T89" fmla="*/ 1212 h 1587"/>
                    <a:gd name="T90" fmla="*/ 273 w 827"/>
                    <a:gd name="T91" fmla="*/ 1291 h 1587"/>
                    <a:gd name="T92" fmla="*/ 350 w 827"/>
                    <a:gd name="T93" fmla="*/ 1361 h 1587"/>
                    <a:gd name="T94" fmla="*/ 434 w 827"/>
                    <a:gd name="T95" fmla="*/ 1420 h 1587"/>
                    <a:gd name="T96" fmla="*/ 526 w 827"/>
                    <a:gd name="T97" fmla="*/ 1466 h 1587"/>
                    <a:gd name="T98" fmla="*/ 624 w 827"/>
                    <a:gd name="T99" fmla="*/ 1499 h 1587"/>
                    <a:gd name="T100" fmla="*/ 726 w 827"/>
                    <a:gd name="T101" fmla="*/ 1518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7" h="1587">
                      <a:moveTo>
                        <a:pt x="794" y="1587"/>
                      </a:moveTo>
                      <a:lnTo>
                        <a:pt x="794" y="1587"/>
                      </a:lnTo>
                      <a:lnTo>
                        <a:pt x="753" y="1586"/>
                      </a:lnTo>
                      <a:lnTo>
                        <a:pt x="714" y="1583"/>
                      </a:lnTo>
                      <a:lnTo>
                        <a:pt x="675" y="1578"/>
                      </a:lnTo>
                      <a:lnTo>
                        <a:pt x="636" y="1571"/>
                      </a:lnTo>
                      <a:lnTo>
                        <a:pt x="598" y="1561"/>
                      </a:lnTo>
                      <a:lnTo>
                        <a:pt x="561" y="1551"/>
                      </a:lnTo>
                      <a:lnTo>
                        <a:pt x="525" y="1538"/>
                      </a:lnTo>
                      <a:lnTo>
                        <a:pt x="488" y="1523"/>
                      </a:lnTo>
                      <a:lnTo>
                        <a:pt x="453" y="1508"/>
                      </a:lnTo>
                      <a:lnTo>
                        <a:pt x="419" y="1490"/>
                      </a:lnTo>
                      <a:lnTo>
                        <a:pt x="386" y="1470"/>
                      </a:lnTo>
                      <a:lnTo>
                        <a:pt x="354" y="1450"/>
                      </a:lnTo>
                      <a:lnTo>
                        <a:pt x="323" y="1427"/>
                      </a:lnTo>
                      <a:lnTo>
                        <a:pt x="293" y="1403"/>
                      </a:lnTo>
                      <a:lnTo>
                        <a:pt x="264" y="1378"/>
                      </a:lnTo>
                      <a:lnTo>
                        <a:pt x="236" y="1351"/>
                      </a:lnTo>
                      <a:lnTo>
                        <a:pt x="209" y="1323"/>
                      </a:lnTo>
                      <a:lnTo>
                        <a:pt x="184" y="1295"/>
                      </a:lnTo>
                      <a:lnTo>
                        <a:pt x="160" y="1264"/>
                      </a:lnTo>
                      <a:lnTo>
                        <a:pt x="137" y="1233"/>
                      </a:lnTo>
                      <a:lnTo>
                        <a:pt x="117" y="1201"/>
                      </a:lnTo>
                      <a:lnTo>
                        <a:pt x="98" y="1168"/>
                      </a:lnTo>
                      <a:lnTo>
                        <a:pt x="80" y="1134"/>
                      </a:lnTo>
                      <a:lnTo>
                        <a:pt x="64" y="1099"/>
                      </a:lnTo>
                      <a:lnTo>
                        <a:pt x="50" y="1064"/>
                      </a:lnTo>
                      <a:lnTo>
                        <a:pt x="37" y="1026"/>
                      </a:lnTo>
                      <a:lnTo>
                        <a:pt x="26" y="989"/>
                      </a:lnTo>
                      <a:lnTo>
                        <a:pt x="16" y="951"/>
                      </a:lnTo>
                      <a:lnTo>
                        <a:pt x="9" y="913"/>
                      </a:lnTo>
                      <a:lnTo>
                        <a:pt x="4" y="873"/>
                      </a:lnTo>
                      <a:lnTo>
                        <a:pt x="1" y="834"/>
                      </a:lnTo>
                      <a:lnTo>
                        <a:pt x="0" y="794"/>
                      </a:lnTo>
                      <a:lnTo>
                        <a:pt x="0" y="794"/>
                      </a:lnTo>
                      <a:lnTo>
                        <a:pt x="1" y="753"/>
                      </a:lnTo>
                      <a:lnTo>
                        <a:pt x="4" y="714"/>
                      </a:lnTo>
                      <a:lnTo>
                        <a:pt x="9" y="675"/>
                      </a:lnTo>
                      <a:lnTo>
                        <a:pt x="16" y="636"/>
                      </a:lnTo>
                      <a:lnTo>
                        <a:pt x="26" y="598"/>
                      </a:lnTo>
                      <a:lnTo>
                        <a:pt x="37" y="561"/>
                      </a:lnTo>
                      <a:lnTo>
                        <a:pt x="50" y="525"/>
                      </a:lnTo>
                      <a:lnTo>
                        <a:pt x="64" y="488"/>
                      </a:lnTo>
                      <a:lnTo>
                        <a:pt x="80" y="453"/>
                      </a:lnTo>
                      <a:lnTo>
                        <a:pt x="98" y="419"/>
                      </a:lnTo>
                      <a:lnTo>
                        <a:pt x="117" y="386"/>
                      </a:lnTo>
                      <a:lnTo>
                        <a:pt x="137" y="354"/>
                      </a:lnTo>
                      <a:lnTo>
                        <a:pt x="160" y="323"/>
                      </a:lnTo>
                      <a:lnTo>
                        <a:pt x="184" y="293"/>
                      </a:lnTo>
                      <a:lnTo>
                        <a:pt x="209" y="264"/>
                      </a:lnTo>
                      <a:lnTo>
                        <a:pt x="236" y="236"/>
                      </a:lnTo>
                      <a:lnTo>
                        <a:pt x="264" y="209"/>
                      </a:lnTo>
                      <a:lnTo>
                        <a:pt x="293" y="184"/>
                      </a:lnTo>
                      <a:lnTo>
                        <a:pt x="323" y="160"/>
                      </a:lnTo>
                      <a:lnTo>
                        <a:pt x="354" y="138"/>
                      </a:lnTo>
                      <a:lnTo>
                        <a:pt x="386" y="117"/>
                      </a:lnTo>
                      <a:lnTo>
                        <a:pt x="419" y="98"/>
                      </a:lnTo>
                      <a:lnTo>
                        <a:pt x="453" y="80"/>
                      </a:lnTo>
                      <a:lnTo>
                        <a:pt x="488" y="64"/>
                      </a:lnTo>
                      <a:lnTo>
                        <a:pt x="525" y="50"/>
                      </a:lnTo>
                      <a:lnTo>
                        <a:pt x="561" y="37"/>
                      </a:lnTo>
                      <a:lnTo>
                        <a:pt x="598" y="26"/>
                      </a:lnTo>
                      <a:lnTo>
                        <a:pt x="636" y="17"/>
                      </a:lnTo>
                      <a:lnTo>
                        <a:pt x="675" y="9"/>
                      </a:lnTo>
                      <a:lnTo>
                        <a:pt x="714" y="4"/>
                      </a:lnTo>
                      <a:lnTo>
                        <a:pt x="753" y="1"/>
                      </a:lnTo>
                      <a:lnTo>
                        <a:pt x="794" y="0"/>
                      </a:lnTo>
                      <a:lnTo>
                        <a:pt x="794" y="0"/>
                      </a:lnTo>
                      <a:lnTo>
                        <a:pt x="801" y="1"/>
                      </a:lnTo>
                      <a:lnTo>
                        <a:pt x="807" y="3"/>
                      </a:lnTo>
                      <a:lnTo>
                        <a:pt x="812" y="6"/>
                      </a:lnTo>
                      <a:lnTo>
                        <a:pt x="817" y="10"/>
                      </a:lnTo>
                      <a:lnTo>
                        <a:pt x="822" y="14"/>
                      </a:lnTo>
                      <a:lnTo>
                        <a:pt x="825" y="21"/>
                      </a:lnTo>
                      <a:lnTo>
                        <a:pt x="826" y="27"/>
                      </a:lnTo>
                      <a:lnTo>
                        <a:pt x="827" y="33"/>
                      </a:lnTo>
                      <a:lnTo>
                        <a:pt x="827" y="1554"/>
                      </a:lnTo>
                      <a:lnTo>
                        <a:pt x="827" y="1554"/>
                      </a:lnTo>
                      <a:lnTo>
                        <a:pt x="826" y="1560"/>
                      </a:lnTo>
                      <a:lnTo>
                        <a:pt x="825" y="1567"/>
                      </a:lnTo>
                      <a:lnTo>
                        <a:pt x="822" y="1573"/>
                      </a:lnTo>
                      <a:lnTo>
                        <a:pt x="817" y="1577"/>
                      </a:lnTo>
                      <a:lnTo>
                        <a:pt x="812" y="1581"/>
                      </a:lnTo>
                      <a:lnTo>
                        <a:pt x="807" y="1584"/>
                      </a:lnTo>
                      <a:lnTo>
                        <a:pt x="801" y="1586"/>
                      </a:lnTo>
                      <a:lnTo>
                        <a:pt x="794" y="1587"/>
                      </a:lnTo>
                      <a:lnTo>
                        <a:pt x="794" y="1587"/>
                      </a:lnTo>
                      <a:close/>
                      <a:moveTo>
                        <a:pt x="760" y="67"/>
                      </a:moveTo>
                      <a:lnTo>
                        <a:pt x="760" y="67"/>
                      </a:lnTo>
                      <a:lnTo>
                        <a:pt x="726" y="70"/>
                      </a:lnTo>
                      <a:lnTo>
                        <a:pt x="691" y="74"/>
                      </a:lnTo>
                      <a:lnTo>
                        <a:pt x="657" y="81"/>
                      </a:lnTo>
                      <a:lnTo>
                        <a:pt x="624" y="89"/>
                      </a:lnTo>
                      <a:lnTo>
                        <a:pt x="591" y="98"/>
                      </a:lnTo>
                      <a:lnTo>
                        <a:pt x="558" y="109"/>
                      </a:lnTo>
                      <a:lnTo>
                        <a:pt x="526" y="122"/>
                      </a:lnTo>
                      <a:lnTo>
                        <a:pt x="495" y="136"/>
                      </a:lnTo>
                      <a:lnTo>
                        <a:pt x="464" y="151"/>
                      </a:lnTo>
                      <a:lnTo>
                        <a:pt x="434" y="169"/>
                      </a:lnTo>
                      <a:lnTo>
                        <a:pt x="406" y="186"/>
                      </a:lnTo>
                      <a:lnTo>
                        <a:pt x="377" y="206"/>
                      </a:lnTo>
                      <a:lnTo>
                        <a:pt x="350" y="227"/>
                      </a:lnTo>
                      <a:lnTo>
                        <a:pt x="323" y="249"/>
                      </a:lnTo>
                      <a:lnTo>
                        <a:pt x="298" y="272"/>
                      </a:lnTo>
                      <a:lnTo>
                        <a:pt x="273" y="296"/>
                      </a:lnTo>
                      <a:lnTo>
                        <a:pt x="250" y="322"/>
                      </a:lnTo>
                      <a:lnTo>
                        <a:pt x="229" y="348"/>
                      </a:lnTo>
                      <a:lnTo>
                        <a:pt x="207" y="376"/>
                      </a:lnTo>
                      <a:lnTo>
                        <a:pt x="187" y="404"/>
                      </a:lnTo>
                      <a:lnTo>
                        <a:pt x="170" y="433"/>
                      </a:lnTo>
                      <a:lnTo>
                        <a:pt x="152" y="463"/>
                      </a:lnTo>
                      <a:lnTo>
                        <a:pt x="136" y="493"/>
                      </a:lnTo>
                      <a:lnTo>
                        <a:pt x="122" y="525"/>
                      </a:lnTo>
                      <a:lnTo>
                        <a:pt x="110" y="556"/>
                      </a:lnTo>
                      <a:lnTo>
                        <a:pt x="98" y="589"/>
                      </a:lnTo>
                      <a:lnTo>
                        <a:pt x="89" y="622"/>
                      </a:lnTo>
                      <a:lnTo>
                        <a:pt x="81" y="655"/>
                      </a:lnTo>
                      <a:lnTo>
                        <a:pt x="74" y="689"/>
                      </a:lnTo>
                      <a:lnTo>
                        <a:pt x="70" y="723"/>
                      </a:lnTo>
                      <a:lnTo>
                        <a:pt x="67" y="758"/>
                      </a:lnTo>
                      <a:lnTo>
                        <a:pt x="66" y="794"/>
                      </a:lnTo>
                      <a:lnTo>
                        <a:pt x="66" y="794"/>
                      </a:lnTo>
                      <a:lnTo>
                        <a:pt x="67" y="829"/>
                      </a:lnTo>
                      <a:lnTo>
                        <a:pt x="70" y="864"/>
                      </a:lnTo>
                      <a:lnTo>
                        <a:pt x="74" y="898"/>
                      </a:lnTo>
                      <a:lnTo>
                        <a:pt x="81" y="932"/>
                      </a:lnTo>
                      <a:lnTo>
                        <a:pt x="89" y="965"/>
                      </a:lnTo>
                      <a:lnTo>
                        <a:pt x="98" y="998"/>
                      </a:lnTo>
                      <a:lnTo>
                        <a:pt x="110" y="1032"/>
                      </a:lnTo>
                      <a:lnTo>
                        <a:pt x="122" y="1064"/>
                      </a:lnTo>
                      <a:lnTo>
                        <a:pt x="136" y="1095"/>
                      </a:lnTo>
                      <a:lnTo>
                        <a:pt x="152" y="1125"/>
                      </a:lnTo>
                      <a:lnTo>
                        <a:pt x="170" y="1155"/>
                      </a:lnTo>
                      <a:lnTo>
                        <a:pt x="187" y="1184"/>
                      </a:lnTo>
                      <a:lnTo>
                        <a:pt x="207" y="1212"/>
                      </a:lnTo>
                      <a:lnTo>
                        <a:pt x="229" y="1240"/>
                      </a:lnTo>
                      <a:lnTo>
                        <a:pt x="250" y="1265"/>
                      </a:lnTo>
                      <a:lnTo>
                        <a:pt x="273" y="1291"/>
                      </a:lnTo>
                      <a:lnTo>
                        <a:pt x="298" y="1315"/>
                      </a:lnTo>
                      <a:lnTo>
                        <a:pt x="323" y="1339"/>
                      </a:lnTo>
                      <a:lnTo>
                        <a:pt x="350" y="1361"/>
                      </a:lnTo>
                      <a:lnTo>
                        <a:pt x="377" y="1381"/>
                      </a:lnTo>
                      <a:lnTo>
                        <a:pt x="406" y="1401"/>
                      </a:lnTo>
                      <a:lnTo>
                        <a:pt x="434" y="1420"/>
                      </a:lnTo>
                      <a:lnTo>
                        <a:pt x="464" y="1436"/>
                      </a:lnTo>
                      <a:lnTo>
                        <a:pt x="495" y="1452"/>
                      </a:lnTo>
                      <a:lnTo>
                        <a:pt x="526" y="1466"/>
                      </a:lnTo>
                      <a:lnTo>
                        <a:pt x="558" y="1479"/>
                      </a:lnTo>
                      <a:lnTo>
                        <a:pt x="591" y="1489"/>
                      </a:lnTo>
                      <a:lnTo>
                        <a:pt x="624" y="1499"/>
                      </a:lnTo>
                      <a:lnTo>
                        <a:pt x="657" y="1507"/>
                      </a:lnTo>
                      <a:lnTo>
                        <a:pt x="691" y="1513"/>
                      </a:lnTo>
                      <a:lnTo>
                        <a:pt x="726" y="1518"/>
                      </a:lnTo>
                      <a:lnTo>
                        <a:pt x="760" y="1520"/>
                      </a:lnTo>
                      <a:lnTo>
                        <a:pt x="760"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245" name="Freeform 198">
                  <a:extLst>
                    <a:ext uri="{FF2B5EF4-FFF2-40B4-BE49-F238E27FC236}">
                      <a16:creationId xmlns:a16="http://schemas.microsoft.com/office/drawing/2014/main" id="{ED5D74EE-722F-C2BE-7CA2-507E41243778}"/>
                    </a:ext>
                  </a:extLst>
                </p:cNvPr>
                <p:cNvSpPr>
                  <a:spLocks noEditPoints="1"/>
                </p:cNvSpPr>
                <p:nvPr/>
              </p:nvSpPr>
              <p:spPr bwMode="auto">
                <a:xfrm>
                  <a:off x="4749952" y="5103389"/>
                  <a:ext cx="170400" cy="198487"/>
                </a:xfrm>
                <a:custGeom>
                  <a:avLst/>
                  <a:gdLst>
                    <a:gd name="T0" fmla="*/ 306 w 635"/>
                    <a:gd name="T1" fmla="*/ 742 h 744"/>
                    <a:gd name="T2" fmla="*/ 272 w 635"/>
                    <a:gd name="T3" fmla="*/ 733 h 744"/>
                    <a:gd name="T4" fmla="*/ 231 w 635"/>
                    <a:gd name="T5" fmla="*/ 709 h 744"/>
                    <a:gd name="T6" fmla="*/ 193 w 635"/>
                    <a:gd name="T7" fmla="*/ 671 h 744"/>
                    <a:gd name="T8" fmla="*/ 161 w 635"/>
                    <a:gd name="T9" fmla="*/ 620 h 744"/>
                    <a:gd name="T10" fmla="*/ 109 w 635"/>
                    <a:gd name="T11" fmla="*/ 581 h 744"/>
                    <a:gd name="T12" fmla="*/ 62 w 635"/>
                    <a:gd name="T13" fmla="*/ 546 h 744"/>
                    <a:gd name="T14" fmla="*/ 28 w 635"/>
                    <a:gd name="T15" fmla="*/ 507 h 744"/>
                    <a:gd name="T16" fmla="*/ 7 w 635"/>
                    <a:gd name="T17" fmla="*/ 463 h 744"/>
                    <a:gd name="T18" fmla="*/ 0 w 635"/>
                    <a:gd name="T19" fmla="*/ 427 h 744"/>
                    <a:gd name="T20" fmla="*/ 4 w 635"/>
                    <a:gd name="T21" fmla="*/ 374 h 744"/>
                    <a:gd name="T22" fmla="*/ 23 w 635"/>
                    <a:gd name="T23" fmla="*/ 321 h 744"/>
                    <a:gd name="T24" fmla="*/ 57 w 635"/>
                    <a:gd name="T25" fmla="*/ 265 h 744"/>
                    <a:gd name="T26" fmla="*/ 79 w 635"/>
                    <a:gd name="T27" fmla="*/ 236 h 744"/>
                    <a:gd name="T28" fmla="*/ 129 w 635"/>
                    <a:gd name="T29" fmla="*/ 190 h 744"/>
                    <a:gd name="T30" fmla="*/ 185 w 635"/>
                    <a:gd name="T31" fmla="*/ 157 h 744"/>
                    <a:gd name="T32" fmla="*/ 310 w 635"/>
                    <a:gd name="T33" fmla="*/ 113 h 744"/>
                    <a:gd name="T34" fmla="*/ 425 w 635"/>
                    <a:gd name="T35" fmla="*/ 73 h 744"/>
                    <a:gd name="T36" fmla="*/ 508 w 635"/>
                    <a:gd name="T37" fmla="*/ 28 h 744"/>
                    <a:gd name="T38" fmla="*/ 540 w 635"/>
                    <a:gd name="T39" fmla="*/ 4 h 744"/>
                    <a:gd name="T40" fmla="*/ 562 w 635"/>
                    <a:gd name="T41" fmla="*/ 1 h 744"/>
                    <a:gd name="T42" fmla="*/ 584 w 635"/>
                    <a:gd name="T43" fmla="*/ 17 h 744"/>
                    <a:gd name="T44" fmla="*/ 607 w 635"/>
                    <a:gd name="T45" fmla="*/ 69 h 744"/>
                    <a:gd name="T46" fmla="*/ 626 w 635"/>
                    <a:gd name="T47" fmla="*/ 147 h 744"/>
                    <a:gd name="T48" fmla="*/ 634 w 635"/>
                    <a:gd name="T49" fmla="*/ 232 h 744"/>
                    <a:gd name="T50" fmla="*/ 625 w 635"/>
                    <a:gd name="T51" fmla="*/ 383 h 744"/>
                    <a:gd name="T52" fmla="*/ 590 w 635"/>
                    <a:gd name="T53" fmla="*/ 519 h 744"/>
                    <a:gd name="T54" fmla="*/ 560 w 635"/>
                    <a:gd name="T55" fmla="*/ 583 h 744"/>
                    <a:gd name="T56" fmla="*/ 534 w 635"/>
                    <a:gd name="T57" fmla="*/ 621 h 744"/>
                    <a:gd name="T58" fmla="*/ 482 w 635"/>
                    <a:gd name="T59" fmla="*/ 673 h 744"/>
                    <a:gd name="T60" fmla="*/ 429 w 635"/>
                    <a:gd name="T61" fmla="*/ 712 h 744"/>
                    <a:gd name="T62" fmla="*/ 378 w 635"/>
                    <a:gd name="T63" fmla="*/ 736 h 744"/>
                    <a:gd name="T64" fmla="*/ 327 w 635"/>
                    <a:gd name="T65" fmla="*/ 744 h 744"/>
                    <a:gd name="T66" fmla="*/ 515 w 635"/>
                    <a:gd name="T67" fmla="*/ 101 h 744"/>
                    <a:gd name="T68" fmla="*/ 408 w 635"/>
                    <a:gd name="T69" fmla="*/ 151 h 744"/>
                    <a:gd name="T70" fmla="*/ 299 w 635"/>
                    <a:gd name="T71" fmla="*/ 185 h 744"/>
                    <a:gd name="T72" fmla="*/ 193 w 635"/>
                    <a:gd name="T73" fmla="*/ 228 h 744"/>
                    <a:gd name="T74" fmla="*/ 149 w 635"/>
                    <a:gd name="T75" fmla="*/ 259 h 744"/>
                    <a:gd name="T76" fmla="*/ 130 w 635"/>
                    <a:gd name="T77" fmla="*/ 279 h 744"/>
                    <a:gd name="T78" fmla="*/ 92 w 635"/>
                    <a:gd name="T79" fmla="*/ 332 h 744"/>
                    <a:gd name="T80" fmla="*/ 70 w 635"/>
                    <a:gd name="T81" fmla="*/ 384 h 744"/>
                    <a:gd name="T82" fmla="*/ 66 w 635"/>
                    <a:gd name="T83" fmla="*/ 426 h 744"/>
                    <a:gd name="T84" fmla="*/ 73 w 635"/>
                    <a:gd name="T85" fmla="*/ 453 h 744"/>
                    <a:gd name="T86" fmla="*/ 93 w 635"/>
                    <a:gd name="T87" fmla="*/ 483 h 744"/>
                    <a:gd name="T88" fmla="*/ 165 w 635"/>
                    <a:gd name="T89" fmla="*/ 537 h 744"/>
                    <a:gd name="T90" fmla="*/ 202 w 635"/>
                    <a:gd name="T91" fmla="*/ 557 h 744"/>
                    <a:gd name="T92" fmla="*/ 220 w 635"/>
                    <a:gd name="T93" fmla="*/ 590 h 744"/>
                    <a:gd name="T94" fmla="*/ 272 w 635"/>
                    <a:gd name="T95" fmla="*/ 657 h 744"/>
                    <a:gd name="T96" fmla="*/ 300 w 635"/>
                    <a:gd name="T97" fmla="*/ 673 h 744"/>
                    <a:gd name="T98" fmla="*/ 325 w 635"/>
                    <a:gd name="T99" fmla="*/ 678 h 744"/>
                    <a:gd name="T100" fmla="*/ 364 w 635"/>
                    <a:gd name="T101" fmla="*/ 670 h 744"/>
                    <a:gd name="T102" fmla="*/ 405 w 635"/>
                    <a:gd name="T103" fmla="*/ 649 h 744"/>
                    <a:gd name="T104" fmla="*/ 460 w 635"/>
                    <a:gd name="T105" fmla="*/ 603 h 744"/>
                    <a:gd name="T106" fmla="*/ 497 w 635"/>
                    <a:gd name="T107" fmla="*/ 560 h 744"/>
                    <a:gd name="T108" fmla="*/ 533 w 635"/>
                    <a:gd name="T109" fmla="*/ 484 h 744"/>
                    <a:gd name="T110" fmla="*/ 562 w 635"/>
                    <a:gd name="T111" fmla="*/ 355 h 744"/>
                    <a:gd name="T112" fmla="*/ 567 w 635"/>
                    <a:gd name="T113" fmla="*/ 214 h 744"/>
                    <a:gd name="T114" fmla="*/ 547 w 635"/>
                    <a:gd name="T115" fmla="*/ 99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5" h="744">
                      <a:moveTo>
                        <a:pt x="327" y="744"/>
                      </a:moveTo>
                      <a:lnTo>
                        <a:pt x="327" y="744"/>
                      </a:lnTo>
                      <a:lnTo>
                        <a:pt x="316" y="743"/>
                      </a:lnTo>
                      <a:lnTo>
                        <a:pt x="306" y="742"/>
                      </a:lnTo>
                      <a:lnTo>
                        <a:pt x="306" y="742"/>
                      </a:lnTo>
                      <a:lnTo>
                        <a:pt x="295" y="740"/>
                      </a:lnTo>
                      <a:lnTo>
                        <a:pt x="283" y="737"/>
                      </a:lnTo>
                      <a:lnTo>
                        <a:pt x="272" y="733"/>
                      </a:lnTo>
                      <a:lnTo>
                        <a:pt x="262" y="728"/>
                      </a:lnTo>
                      <a:lnTo>
                        <a:pt x="251" y="723"/>
                      </a:lnTo>
                      <a:lnTo>
                        <a:pt x="241" y="717"/>
                      </a:lnTo>
                      <a:lnTo>
                        <a:pt x="231" y="709"/>
                      </a:lnTo>
                      <a:lnTo>
                        <a:pt x="221" y="701"/>
                      </a:lnTo>
                      <a:lnTo>
                        <a:pt x="212" y="692"/>
                      </a:lnTo>
                      <a:lnTo>
                        <a:pt x="203" y="682"/>
                      </a:lnTo>
                      <a:lnTo>
                        <a:pt x="193" y="671"/>
                      </a:lnTo>
                      <a:lnTo>
                        <a:pt x="185" y="660"/>
                      </a:lnTo>
                      <a:lnTo>
                        <a:pt x="177" y="648"/>
                      </a:lnTo>
                      <a:lnTo>
                        <a:pt x="168" y="634"/>
                      </a:lnTo>
                      <a:lnTo>
                        <a:pt x="161" y="620"/>
                      </a:lnTo>
                      <a:lnTo>
                        <a:pt x="153" y="605"/>
                      </a:lnTo>
                      <a:lnTo>
                        <a:pt x="153" y="605"/>
                      </a:lnTo>
                      <a:lnTo>
                        <a:pt x="123" y="590"/>
                      </a:lnTo>
                      <a:lnTo>
                        <a:pt x="109" y="581"/>
                      </a:lnTo>
                      <a:lnTo>
                        <a:pt x="96" y="573"/>
                      </a:lnTo>
                      <a:lnTo>
                        <a:pt x="84" y="564"/>
                      </a:lnTo>
                      <a:lnTo>
                        <a:pt x="72" y="556"/>
                      </a:lnTo>
                      <a:lnTo>
                        <a:pt x="62" y="546"/>
                      </a:lnTo>
                      <a:lnTo>
                        <a:pt x="52" y="537"/>
                      </a:lnTo>
                      <a:lnTo>
                        <a:pt x="43" y="528"/>
                      </a:lnTo>
                      <a:lnTo>
                        <a:pt x="35" y="517"/>
                      </a:lnTo>
                      <a:lnTo>
                        <a:pt x="28" y="507"/>
                      </a:lnTo>
                      <a:lnTo>
                        <a:pt x="22" y="497"/>
                      </a:lnTo>
                      <a:lnTo>
                        <a:pt x="15" y="485"/>
                      </a:lnTo>
                      <a:lnTo>
                        <a:pt x="11" y="475"/>
                      </a:lnTo>
                      <a:lnTo>
                        <a:pt x="7" y="463"/>
                      </a:lnTo>
                      <a:lnTo>
                        <a:pt x="4" y="452"/>
                      </a:lnTo>
                      <a:lnTo>
                        <a:pt x="4" y="452"/>
                      </a:lnTo>
                      <a:lnTo>
                        <a:pt x="1" y="440"/>
                      </a:lnTo>
                      <a:lnTo>
                        <a:pt x="0" y="427"/>
                      </a:lnTo>
                      <a:lnTo>
                        <a:pt x="0" y="414"/>
                      </a:lnTo>
                      <a:lnTo>
                        <a:pt x="0" y="401"/>
                      </a:lnTo>
                      <a:lnTo>
                        <a:pt x="1" y="388"/>
                      </a:lnTo>
                      <a:lnTo>
                        <a:pt x="4" y="374"/>
                      </a:lnTo>
                      <a:lnTo>
                        <a:pt x="7" y="362"/>
                      </a:lnTo>
                      <a:lnTo>
                        <a:pt x="11" y="349"/>
                      </a:lnTo>
                      <a:lnTo>
                        <a:pt x="16" y="334"/>
                      </a:lnTo>
                      <a:lnTo>
                        <a:pt x="23" y="321"/>
                      </a:lnTo>
                      <a:lnTo>
                        <a:pt x="30" y="307"/>
                      </a:lnTo>
                      <a:lnTo>
                        <a:pt x="38" y="293"/>
                      </a:lnTo>
                      <a:lnTo>
                        <a:pt x="47" y="279"/>
                      </a:lnTo>
                      <a:lnTo>
                        <a:pt x="57" y="265"/>
                      </a:lnTo>
                      <a:lnTo>
                        <a:pt x="68" y="250"/>
                      </a:lnTo>
                      <a:lnTo>
                        <a:pt x="79" y="236"/>
                      </a:lnTo>
                      <a:lnTo>
                        <a:pt x="79" y="236"/>
                      </a:lnTo>
                      <a:lnTo>
                        <a:pt x="79" y="236"/>
                      </a:lnTo>
                      <a:lnTo>
                        <a:pt x="91" y="223"/>
                      </a:lnTo>
                      <a:lnTo>
                        <a:pt x="103" y="211"/>
                      </a:lnTo>
                      <a:lnTo>
                        <a:pt x="116" y="200"/>
                      </a:lnTo>
                      <a:lnTo>
                        <a:pt x="129" y="190"/>
                      </a:lnTo>
                      <a:lnTo>
                        <a:pt x="143" y="181"/>
                      </a:lnTo>
                      <a:lnTo>
                        <a:pt x="156" y="173"/>
                      </a:lnTo>
                      <a:lnTo>
                        <a:pt x="171" y="164"/>
                      </a:lnTo>
                      <a:lnTo>
                        <a:pt x="185" y="157"/>
                      </a:lnTo>
                      <a:lnTo>
                        <a:pt x="215" y="145"/>
                      </a:lnTo>
                      <a:lnTo>
                        <a:pt x="246" y="133"/>
                      </a:lnTo>
                      <a:lnTo>
                        <a:pt x="278" y="123"/>
                      </a:lnTo>
                      <a:lnTo>
                        <a:pt x="310" y="113"/>
                      </a:lnTo>
                      <a:lnTo>
                        <a:pt x="310" y="113"/>
                      </a:lnTo>
                      <a:lnTo>
                        <a:pt x="367" y="95"/>
                      </a:lnTo>
                      <a:lnTo>
                        <a:pt x="396" y="85"/>
                      </a:lnTo>
                      <a:lnTo>
                        <a:pt x="425" y="73"/>
                      </a:lnTo>
                      <a:lnTo>
                        <a:pt x="453" y="61"/>
                      </a:lnTo>
                      <a:lnTo>
                        <a:pt x="481" y="45"/>
                      </a:lnTo>
                      <a:lnTo>
                        <a:pt x="494" y="37"/>
                      </a:lnTo>
                      <a:lnTo>
                        <a:pt x="508" y="28"/>
                      </a:lnTo>
                      <a:lnTo>
                        <a:pt x="521" y="19"/>
                      </a:lnTo>
                      <a:lnTo>
                        <a:pt x="534" y="8"/>
                      </a:lnTo>
                      <a:lnTo>
                        <a:pt x="534" y="8"/>
                      </a:lnTo>
                      <a:lnTo>
                        <a:pt x="540" y="4"/>
                      </a:lnTo>
                      <a:lnTo>
                        <a:pt x="547" y="1"/>
                      </a:lnTo>
                      <a:lnTo>
                        <a:pt x="554" y="0"/>
                      </a:lnTo>
                      <a:lnTo>
                        <a:pt x="562" y="1"/>
                      </a:lnTo>
                      <a:lnTo>
                        <a:pt x="562" y="1"/>
                      </a:lnTo>
                      <a:lnTo>
                        <a:pt x="569" y="3"/>
                      </a:lnTo>
                      <a:lnTo>
                        <a:pt x="575" y="6"/>
                      </a:lnTo>
                      <a:lnTo>
                        <a:pt x="580" y="11"/>
                      </a:lnTo>
                      <a:lnTo>
                        <a:pt x="584" y="17"/>
                      </a:lnTo>
                      <a:lnTo>
                        <a:pt x="584" y="17"/>
                      </a:lnTo>
                      <a:lnTo>
                        <a:pt x="593" y="34"/>
                      </a:lnTo>
                      <a:lnTo>
                        <a:pt x="600" y="52"/>
                      </a:lnTo>
                      <a:lnTo>
                        <a:pt x="607" y="69"/>
                      </a:lnTo>
                      <a:lnTo>
                        <a:pt x="612" y="88"/>
                      </a:lnTo>
                      <a:lnTo>
                        <a:pt x="618" y="107"/>
                      </a:lnTo>
                      <a:lnTo>
                        <a:pt x="623" y="127"/>
                      </a:lnTo>
                      <a:lnTo>
                        <a:pt x="626" y="147"/>
                      </a:lnTo>
                      <a:lnTo>
                        <a:pt x="629" y="168"/>
                      </a:lnTo>
                      <a:lnTo>
                        <a:pt x="631" y="189"/>
                      </a:lnTo>
                      <a:lnTo>
                        <a:pt x="633" y="210"/>
                      </a:lnTo>
                      <a:lnTo>
                        <a:pt x="634" y="232"/>
                      </a:lnTo>
                      <a:lnTo>
                        <a:pt x="635" y="253"/>
                      </a:lnTo>
                      <a:lnTo>
                        <a:pt x="634" y="297"/>
                      </a:lnTo>
                      <a:lnTo>
                        <a:pt x="631" y="339"/>
                      </a:lnTo>
                      <a:lnTo>
                        <a:pt x="625" y="383"/>
                      </a:lnTo>
                      <a:lnTo>
                        <a:pt x="618" y="424"/>
                      </a:lnTo>
                      <a:lnTo>
                        <a:pt x="607" y="463"/>
                      </a:lnTo>
                      <a:lnTo>
                        <a:pt x="596" y="502"/>
                      </a:lnTo>
                      <a:lnTo>
                        <a:pt x="590" y="519"/>
                      </a:lnTo>
                      <a:lnTo>
                        <a:pt x="582" y="537"/>
                      </a:lnTo>
                      <a:lnTo>
                        <a:pt x="575" y="552"/>
                      </a:lnTo>
                      <a:lnTo>
                        <a:pt x="568" y="568"/>
                      </a:lnTo>
                      <a:lnTo>
                        <a:pt x="560" y="583"/>
                      </a:lnTo>
                      <a:lnTo>
                        <a:pt x="551" y="597"/>
                      </a:lnTo>
                      <a:lnTo>
                        <a:pt x="542" y="609"/>
                      </a:lnTo>
                      <a:lnTo>
                        <a:pt x="534" y="621"/>
                      </a:lnTo>
                      <a:lnTo>
                        <a:pt x="534" y="621"/>
                      </a:lnTo>
                      <a:lnTo>
                        <a:pt x="520" y="635"/>
                      </a:lnTo>
                      <a:lnTo>
                        <a:pt x="508" y="650"/>
                      </a:lnTo>
                      <a:lnTo>
                        <a:pt x="494" y="662"/>
                      </a:lnTo>
                      <a:lnTo>
                        <a:pt x="482" y="673"/>
                      </a:lnTo>
                      <a:lnTo>
                        <a:pt x="469" y="685"/>
                      </a:lnTo>
                      <a:lnTo>
                        <a:pt x="456" y="695"/>
                      </a:lnTo>
                      <a:lnTo>
                        <a:pt x="443" y="703"/>
                      </a:lnTo>
                      <a:lnTo>
                        <a:pt x="429" y="712"/>
                      </a:lnTo>
                      <a:lnTo>
                        <a:pt x="417" y="719"/>
                      </a:lnTo>
                      <a:lnTo>
                        <a:pt x="403" y="726"/>
                      </a:lnTo>
                      <a:lnTo>
                        <a:pt x="391" y="731"/>
                      </a:lnTo>
                      <a:lnTo>
                        <a:pt x="378" y="736"/>
                      </a:lnTo>
                      <a:lnTo>
                        <a:pt x="365" y="739"/>
                      </a:lnTo>
                      <a:lnTo>
                        <a:pt x="352" y="742"/>
                      </a:lnTo>
                      <a:lnTo>
                        <a:pt x="339" y="743"/>
                      </a:lnTo>
                      <a:lnTo>
                        <a:pt x="327" y="744"/>
                      </a:lnTo>
                      <a:lnTo>
                        <a:pt x="327" y="744"/>
                      </a:lnTo>
                      <a:close/>
                      <a:moveTo>
                        <a:pt x="542" y="85"/>
                      </a:moveTo>
                      <a:lnTo>
                        <a:pt x="542" y="85"/>
                      </a:lnTo>
                      <a:lnTo>
                        <a:pt x="515" y="101"/>
                      </a:lnTo>
                      <a:lnTo>
                        <a:pt x="488" y="117"/>
                      </a:lnTo>
                      <a:lnTo>
                        <a:pt x="461" y="129"/>
                      </a:lnTo>
                      <a:lnTo>
                        <a:pt x="434" y="141"/>
                      </a:lnTo>
                      <a:lnTo>
                        <a:pt x="408" y="151"/>
                      </a:lnTo>
                      <a:lnTo>
                        <a:pt x="381" y="160"/>
                      </a:lnTo>
                      <a:lnTo>
                        <a:pt x="329" y="176"/>
                      </a:lnTo>
                      <a:lnTo>
                        <a:pt x="329" y="176"/>
                      </a:lnTo>
                      <a:lnTo>
                        <a:pt x="299" y="185"/>
                      </a:lnTo>
                      <a:lnTo>
                        <a:pt x="271" y="194"/>
                      </a:lnTo>
                      <a:lnTo>
                        <a:pt x="243" y="204"/>
                      </a:lnTo>
                      <a:lnTo>
                        <a:pt x="217" y="215"/>
                      </a:lnTo>
                      <a:lnTo>
                        <a:pt x="193" y="228"/>
                      </a:lnTo>
                      <a:lnTo>
                        <a:pt x="182" y="235"/>
                      </a:lnTo>
                      <a:lnTo>
                        <a:pt x="171" y="242"/>
                      </a:lnTo>
                      <a:lnTo>
                        <a:pt x="159" y="250"/>
                      </a:lnTo>
                      <a:lnTo>
                        <a:pt x="149" y="259"/>
                      </a:lnTo>
                      <a:lnTo>
                        <a:pt x="140" y="269"/>
                      </a:lnTo>
                      <a:lnTo>
                        <a:pt x="130" y="279"/>
                      </a:lnTo>
                      <a:lnTo>
                        <a:pt x="130" y="279"/>
                      </a:lnTo>
                      <a:lnTo>
                        <a:pt x="130" y="279"/>
                      </a:lnTo>
                      <a:lnTo>
                        <a:pt x="130" y="279"/>
                      </a:lnTo>
                      <a:lnTo>
                        <a:pt x="117" y="295"/>
                      </a:lnTo>
                      <a:lnTo>
                        <a:pt x="103" y="313"/>
                      </a:lnTo>
                      <a:lnTo>
                        <a:pt x="92" y="332"/>
                      </a:lnTo>
                      <a:lnTo>
                        <a:pt x="81" y="353"/>
                      </a:lnTo>
                      <a:lnTo>
                        <a:pt x="76" y="363"/>
                      </a:lnTo>
                      <a:lnTo>
                        <a:pt x="72" y="373"/>
                      </a:lnTo>
                      <a:lnTo>
                        <a:pt x="70" y="384"/>
                      </a:lnTo>
                      <a:lnTo>
                        <a:pt x="67" y="395"/>
                      </a:lnTo>
                      <a:lnTo>
                        <a:pt x="66" y="405"/>
                      </a:lnTo>
                      <a:lnTo>
                        <a:pt x="66" y="416"/>
                      </a:lnTo>
                      <a:lnTo>
                        <a:pt x="66" y="426"/>
                      </a:lnTo>
                      <a:lnTo>
                        <a:pt x="68" y="437"/>
                      </a:lnTo>
                      <a:lnTo>
                        <a:pt x="68" y="437"/>
                      </a:lnTo>
                      <a:lnTo>
                        <a:pt x="70" y="445"/>
                      </a:lnTo>
                      <a:lnTo>
                        <a:pt x="73" y="453"/>
                      </a:lnTo>
                      <a:lnTo>
                        <a:pt x="77" y="460"/>
                      </a:lnTo>
                      <a:lnTo>
                        <a:pt x="82" y="469"/>
                      </a:lnTo>
                      <a:lnTo>
                        <a:pt x="87" y="476"/>
                      </a:lnTo>
                      <a:lnTo>
                        <a:pt x="93" y="483"/>
                      </a:lnTo>
                      <a:lnTo>
                        <a:pt x="106" y="498"/>
                      </a:lnTo>
                      <a:lnTo>
                        <a:pt x="123" y="511"/>
                      </a:lnTo>
                      <a:lnTo>
                        <a:pt x="144" y="524"/>
                      </a:lnTo>
                      <a:lnTo>
                        <a:pt x="165" y="537"/>
                      </a:lnTo>
                      <a:lnTo>
                        <a:pt x="191" y="549"/>
                      </a:lnTo>
                      <a:lnTo>
                        <a:pt x="191" y="549"/>
                      </a:lnTo>
                      <a:lnTo>
                        <a:pt x="196" y="552"/>
                      </a:lnTo>
                      <a:lnTo>
                        <a:pt x="202" y="557"/>
                      </a:lnTo>
                      <a:lnTo>
                        <a:pt x="206" y="561"/>
                      </a:lnTo>
                      <a:lnTo>
                        <a:pt x="208" y="566"/>
                      </a:lnTo>
                      <a:lnTo>
                        <a:pt x="208" y="566"/>
                      </a:lnTo>
                      <a:lnTo>
                        <a:pt x="220" y="590"/>
                      </a:lnTo>
                      <a:lnTo>
                        <a:pt x="232" y="611"/>
                      </a:lnTo>
                      <a:lnTo>
                        <a:pt x="245" y="629"/>
                      </a:lnTo>
                      <a:lnTo>
                        <a:pt x="257" y="645"/>
                      </a:lnTo>
                      <a:lnTo>
                        <a:pt x="272" y="657"/>
                      </a:lnTo>
                      <a:lnTo>
                        <a:pt x="278" y="662"/>
                      </a:lnTo>
                      <a:lnTo>
                        <a:pt x="285" y="666"/>
                      </a:lnTo>
                      <a:lnTo>
                        <a:pt x="293" y="670"/>
                      </a:lnTo>
                      <a:lnTo>
                        <a:pt x="300" y="673"/>
                      </a:lnTo>
                      <a:lnTo>
                        <a:pt x="308" y="676"/>
                      </a:lnTo>
                      <a:lnTo>
                        <a:pt x="315" y="677"/>
                      </a:lnTo>
                      <a:lnTo>
                        <a:pt x="315" y="677"/>
                      </a:lnTo>
                      <a:lnTo>
                        <a:pt x="325" y="678"/>
                      </a:lnTo>
                      <a:lnTo>
                        <a:pt x="334" y="677"/>
                      </a:lnTo>
                      <a:lnTo>
                        <a:pt x="343" y="676"/>
                      </a:lnTo>
                      <a:lnTo>
                        <a:pt x="354" y="673"/>
                      </a:lnTo>
                      <a:lnTo>
                        <a:pt x="364" y="670"/>
                      </a:lnTo>
                      <a:lnTo>
                        <a:pt x="373" y="666"/>
                      </a:lnTo>
                      <a:lnTo>
                        <a:pt x="385" y="662"/>
                      </a:lnTo>
                      <a:lnTo>
                        <a:pt x="395" y="656"/>
                      </a:lnTo>
                      <a:lnTo>
                        <a:pt x="405" y="649"/>
                      </a:lnTo>
                      <a:lnTo>
                        <a:pt x="417" y="641"/>
                      </a:lnTo>
                      <a:lnTo>
                        <a:pt x="427" y="633"/>
                      </a:lnTo>
                      <a:lnTo>
                        <a:pt x="439" y="624"/>
                      </a:lnTo>
                      <a:lnTo>
                        <a:pt x="460" y="603"/>
                      </a:lnTo>
                      <a:lnTo>
                        <a:pt x="483" y="578"/>
                      </a:lnTo>
                      <a:lnTo>
                        <a:pt x="483" y="578"/>
                      </a:lnTo>
                      <a:lnTo>
                        <a:pt x="490" y="569"/>
                      </a:lnTo>
                      <a:lnTo>
                        <a:pt x="497" y="560"/>
                      </a:lnTo>
                      <a:lnTo>
                        <a:pt x="504" y="548"/>
                      </a:lnTo>
                      <a:lnTo>
                        <a:pt x="510" y="537"/>
                      </a:lnTo>
                      <a:lnTo>
                        <a:pt x="521" y="512"/>
                      </a:lnTo>
                      <a:lnTo>
                        <a:pt x="533" y="484"/>
                      </a:lnTo>
                      <a:lnTo>
                        <a:pt x="542" y="454"/>
                      </a:lnTo>
                      <a:lnTo>
                        <a:pt x="550" y="423"/>
                      </a:lnTo>
                      <a:lnTo>
                        <a:pt x="557" y="389"/>
                      </a:lnTo>
                      <a:lnTo>
                        <a:pt x="562" y="355"/>
                      </a:lnTo>
                      <a:lnTo>
                        <a:pt x="566" y="320"/>
                      </a:lnTo>
                      <a:lnTo>
                        <a:pt x="568" y="284"/>
                      </a:lnTo>
                      <a:lnTo>
                        <a:pt x="569" y="248"/>
                      </a:lnTo>
                      <a:lnTo>
                        <a:pt x="567" y="214"/>
                      </a:lnTo>
                      <a:lnTo>
                        <a:pt x="564" y="179"/>
                      </a:lnTo>
                      <a:lnTo>
                        <a:pt x="559" y="146"/>
                      </a:lnTo>
                      <a:lnTo>
                        <a:pt x="551" y="115"/>
                      </a:lnTo>
                      <a:lnTo>
                        <a:pt x="547" y="99"/>
                      </a:lnTo>
                      <a:lnTo>
                        <a:pt x="542" y="85"/>
                      </a:lnTo>
                      <a:lnTo>
                        <a:pt x="542" y="8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246" name="Freeform 199">
                  <a:extLst>
                    <a:ext uri="{FF2B5EF4-FFF2-40B4-BE49-F238E27FC236}">
                      <a16:creationId xmlns:a16="http://schemas.microsoft.com/office/drawing/2014/main" id="{ECD1B79F-F342-AAAF-09FA-7D50AD5EE0FF}"/>
                    </a:ext>
                  </a:extLst>
                </p:cNvPr>
                <p:cNvSpPr>
                  <a:spLocks/>
                </p:cNvSpPr>
                <p:nvPr/>
              </p:nvSpPr>
              <p:spPr bwMode="auto">
                <a:xfrm>
                  <a:off x="4742462" y="5167055"/>
                  <a:ext cx="129205" cy="200360"/>
                </a:xfrm>
                <a:custGeom>
                  <a:avLst/>
                  <a:gdLst>
                    <a:gd name="T0" fmla="*/ 33 w 480"/>
                    <a:gd name="T1" fmla="*/ 751 h 751"/>
                    <a:gd name="T2" fmla="*/ 26 w 480"/>
                    <a:gd name="T3" fmla="*/ 750 h 751"/>
                    <a:gd name="T4" fmla="*/ 14 w 480"/>
                    <a:gd name="T5" fmla="*/ 745 h 751"/>
                    <a:gd name="T6" fmla="*/ 5 w 480"/>
                    <a:gd name="T7" fmla="*/ 735 h 751"/>
                    <a:gd name="T8" fmla="*/ 1 w 480"/>
                    <a:gd name="T9" fmla="*/ 724 h 751"/>
                    <a:gd name="T10" fmla="*/ 1 w 480"/>
                    <a:gd name="T11" fmla="*/ 711 h 751"/>
                    <a:gd name="T12" fmla="*/ 6 w 480"/>
                    <a:gd name="T13" fmla="*/ 688 h 751"/>
                    <a:gd name="T14" fmla="*/ 22 w 480"/>
                    <a:gd name="T15" fmla="*/ 636 h 751"/>
                    <a:gd name="T16" fmla="*/ 49 w 480"/>
                    <a:gd name="T17" fmla="*/ 561 h 751"/>
                    <a:gd name="T18" fmla="*/ 89 w 480"/>
                    <a:gd name="T19" fmla="*/ 466 h 751"/>
                    <a:gd name="T20" fmla="*/ 129 w 480"/>
                    <a:gd name="T21" fmla="*/ 386 h 751"/>
                    <a:gd name="T22" fmla="*/ 161 w 480"/>
                    <a:gd name="T23" fmla="*/ 330 h 751"/>
                    <a:gd name="T24" fmla="*/ 198 w 480"/>
                    <a:gd name="T25" fmla="*/ 272 h 751"/>
                    <a:gd name="T26" fmla="*/ 239 w 480"/>
                    <a:gd name="T27" fmla="*/ 213 h 751"/>
                    <a:gd name="T28" fmla="*/ 286 w 480"/>
                    <a:gd name="T29" fmla="*/ 154 h 751"/>
                    <a:gd name="T30" fmla="*/ 337 w 480"/>
                    <a:gd name="T31" fmla="*/ 95 h 751"/>
                    <a:gd name="T32" fmla="*/ 394 w 480"/>
                    <a:gd name="T33" fmla="*/ 36 h 751"/>
                    <a:gd name="T34" fmla="*/ 425 w 480"/>
                    <a:gd name="T35" fmla="*/ 8 h 751"/>
                    <a:gd name="T36" fmla="*/ 437 w 480"/>
                    <a:gd name="T37" fmla="*/ 1 h 751"/>
                    <a:gd name="T38" fmla="*/ 449 w 480"/>
                    <a:gd name="T39" fmla="*/ 0 h 751"/>
                    <a:gd name="T40" fmla="*/ 461 w 480"/>
                    <a:gd name="T41" fmla="*/ 3 h 751"/>
                    <a:gd name="T42" fmla="*/ 472 w 480"/>
                    <a:gd name="T43" fmla="*/ 10 h 751"/>
                    <a:gd name="T44" fmla="*/ 476 w 480"/>
                    <a:gd name="T45" fmla="*/ 15 h 751"/>
                    <a:gd name="T46" fmla="*/ 480 w 480"/>
                    <a:gd name="T47" fmla="*/ 28 h 751"/>
                    <a:gd name="T48" fmla="*/ 479 w 480"/>
                    <a:gd name="T49" fmla="*/ 40 h 751"/>
                    <a:gd name="T50" fmla="*/ 474 w 480"/>
                    <a:gd name="T51" fmla="*/ 53 h 751"/>
                    <a:gd name="T52" fmla="*/ 470 w 480"/>
                    <a:gd name="T53" fmla="*/ 57 h 751"/>
                    <a:gd name="T54" fmla="*/ 412 w 480"/>
                    <a:gd name="T55" fmla="*/ 112 h 751"/>
                    <a:gd name="T56" fmla="*/ 360 w 480"/>
                    <a:gd name="T57" fmla="*/ 168 h 751"/>
                    <a:gd name="T58" fmla="*/ 313 w 480"/>
                    <a:gd name="T59" fmla="*/ 225 h 751"/>
                    <a:gd name="T60" fmla="*/ 272 w 480"/>
                    <a:gd name="T61" fmla="*/ 282 h 751"/>
                    <a:gd name="T62" fmla="*/ 235 w 480"/>
                    <a:gd name="T63" fmla="*/ 338 h 751"/>
                    <a:gd name="T64" fmla="*/ 202 w 480"/>
                    <a:gd name="T65" fmla="*/ 393 h 751"/>
                    <a:gd name="T66" fmla="*/ 173 w 480"/>
                    <a:gd name="T67" fmla="*/ 447 h 751"/>
                    <a:gd name="T68" fmla="*/ 127 w 480"/>
                    <a:gd name="T69" fmla="*/ 544 h 751"/>
                    <a:gd name="T70" fmla="*/ 95 w 480"/>
                    <a:gd name="T71" fmla="*/ 626 h 751"/>
                    <a:gd name="T72" fmla="*/ 75 w 480"/>
                    <a:gd name="T73" fmla="*/ 686 h 751"/>
                    <a:gd name="T74" fmla="*/ 65 w 480"/>
                    <a:gd name="T75" fmla="*/ 724 h 751"/>
                    <a:gd name="T76" fmla="*/ 64 w 480"/>
                    <a:gd name="T77" fmla="*/ 730 h 751"/>
                    <a:gd name="T78" fmla="*/ 58 w 480"/>
                    <a:gd name="T79" fmla="*/ 740 h 751"/>
                    <a:gd name="T80" fmla="*/ 49 w 480"/>
                    <a:gd name="T81" fmla="*/ 746 h 751"/>
                    <a:gd name="T82" fmla="*/ 38 w 480"/>
                    <a:gd name="T83" fmla="*/ 750 h 751"/>
                    <a:gd name="T84" fmla="*/ 33 w 480"/>
                    <a:gd name="T85" fmla="*/ 751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0" h="751">
                      <a:moveTo>
                        <a:pt x="33" y="751"/>
                      </a:moveTo>
                      <a:lnTo>
                        <a:pt x="33" y="751"/>
                      </a:lnTo>
                      <a:lnTo>
                        <a:pt x="26" y="750"/>
                      </a:lnTo>
                      <a:lnTo>
                        <a:pt x="26" y="750"/>
                      </a:lnTo>
                      <a:lnTo>
                        <a:pt x="20" y="748"/>
                      </a:lnTo>
                      <a:lnTo>
                        <a:pt x="14" y="745"/>
                      </a:lnTo>
                      <a:lnTo>
                        <a:pt x="9" y="741"/>
                      </a:lnTo>
                      <a:lnTo>
                        <a:pt x="5" y="735"/>
                      </a:lnTo>
                      <a:lnTo>
                        <a:pt x="2" y="729"/>
                      </a:lnTo>
                      <a:lnTo>
                        <a:pt x="1" y="724"/>
                      </a:lnTo>
                      <a:lnTo>
                        <a:pt x="0" y="717"/>
                      </a:lnTo>
                      <a:lnTo>
                        <a:pt x="1" y="711"/>
                      </a:lnTo>
                      <a:lnTo>
                        <a:pt x="1" y="711"/>
                      </a:lnTo>
                      <a:lnTo>
                        <a:pt x="6" y="688"/>
                      </a:lnTo>
                      <a:lnTo>
                        <a:pt x="12" y="665"/>
                      </a:lnTo>
                      <a:lnTo>
                        <a:pt x="22" y="636"/>
                      </a:lnTo>
                      <a:lnTo>
                        <a:pt x="33" y="601"/>
                      </a:lnTo>
                      <a:lnTo>
                        <a:pt x="49" y="561"/>
                      </a:lnTo>
                      <a:lnTo>
                        <a:pt x="66" y="515"/>
                      </a:lnTo>
                      <a:lnTo>
                        <a:pt x="89" y="466"/>
                      </a:lnTo>
                      <a:lnTo>
                        <a:pt x="115" y="414"/>
                      </a:lnTo>
                      <a:lnTo>
                        <a:pt x="129" y="386"/>
                      </a:lnTo>
                      <a:lnTo>
                        <a:pt x="145" y="358"/>
                      </a:lnTo>
                      <a:lnTo>
                        <a:pt x="161" y="330"/>
                      </a:lnTo>
                      <a:lnTo>
                        <a:pt x="179" y="301"/>
                      </a:lnTo>
                      <a:lnTo>
                        <a:pt x="198" y="272"/>
                      </a:lnTo>
                      <a:lnTo>
                        <a:pt x="218" y="243"/>
                      </a:lnTo>
                      <a:lnTo>
                        <a:pt x="239" y="213"/>
                      </a:lnTo>
                      <a:lnTo>
                        <a:pt x="262" y="183"/>
                      </a:lnTo>
                      <a:lnTo>
                        <a:pt x="286" y="154"/>
                      </a:lnTo>
                      <a:lnTo>
                        <a:pt x="310" y="124"/>
                      </a:lnTo>
                      <a:lnTo>
                        <a:pt x="337" y="95"/>
                      </a:lnTo>
                      <a:lnTo>
                        <a:pt x="365" y="65"/>
                      </a:lnTo>
                      <a:lnTo>
                        <a:pt x="394" y="36"/>
                      </a:lnTo>
                      <a:lnTo>
                        <a:pt x="425" y="8"/>
                      </a:lnTo>
                      <a:lnTo>
                        <a:pt x="425" y="8"/>
                      </a:lnTo>
                      <a:lnTo>
                        <a:pt x="430" y="4"/>
                      </a:lnTo>
                      <a:lnTo>
                        <a:pt x="437" y="1"/>
                      </a:lnTo>
                      <a:lnTo>
                        <a:pt x="443" y="0"/>
                      </a:lnTo>
                      <a:lnTo>
                        <a:pt x="449" y="0"/>
                      </a:lnTo>
                      <a:lnTo>
                        <a:pt x="455" y="1"/>
                      </a:lnTo>
                      <a:lnTo>
                        <a:pt x="461" y="3"/>
                      </a:lnTo>
                      <a:lnTo>
                        <a:pt x="467" y="6"/>
                      </a:lnTo>
                      <a:lnTo>
                        <a:pt x="472" y="10"/>
                      </a:lnTo>
                      <a:lnTo>
                        <a:pt x="472" y="10"/>
                      </a:lnTo>
                      <a:lnTo>
                        <a:pt x="476" y="15"/>
                      </a:lnTo>
                      <a:lnTo>
                        <a:pt x="478" y="22"/>
                      </a:lnTo>
                      <a:lnTo>
                        <a:pt x="480" y="28"/>
                      </a:lnTo>
                      <a:lnTo>
                        <a:pt x="480" y="34"/>
                      </a:lnTo>
                      <a:lnTo>
                        <a:pt x="479" y="40"/>
                      </a:lnTo>
                      <a:lnTo>
                        <a:pt x="477" y="46"/>
                      </a:lnTo>
                      <a:lnTo>
                        <a:pt x="474" y="53"/>
                      </a:lnTo>
                      <a:lnTo>
                        <a:pt x="470" y="57"/>
                      </a:lnTo>
                      <a:lnTo>
                        <a:pt x="470" y="57"/>
                      </a:lnTo>
                      <a:lnTo>
                        <a:pt x="440" y="85"/>
                      </a:lnTo>
                      <a:lnTo>
                        <a:pt x="412" y="112"/>
                      </a:lnTo>
                      <a:lnTo>
                        <a:pt x="386" y="139"/>
                      </a:lnTo>
                      <a:lnTo>
                        <a:pt x="360" y="168"/>
                      </a:lnTo>
                      <a:lnTo>
                        <a:pt x="336" y="196"/>
                      </a:lnTo>
                      <a:lnTo>
                        <a:pt x="313" y="225"/>
                      </a:lnTo>
                      <a:lnTo>
                        <a:pt x="292" y="253"/>
                      </a:lnTo>
                      <a:lnTo>
                        <a:pt x="272" y="282"/>
                      </a:lnTo>
                      <a:lnTo>
                        <a:pt x="252" y="310"/>
                      </a:lnTo>
                      <a:lnTo>
                        <a:pt x="235" y="338"/>
                      </a:lnTo>
                      <a:lnTo>
                        <a:pt x="217" y="366"/>
                      </a:lnTo>
                      <a:lnTo>
                        <a:pt x="202" y="393"/>
                      </a:lnTo>
                      <a:lnTo>
                        <a:pt x="186" y="420"/>
                      </a:lnTo>
                      <a:lnTo>
                        <a:pt x="173" y="447"/>
                      </a:lnTo>
                      <a:lnTo>
                        <a:pt x="148" y="496"/>
                      </a:lnTo>
                      <a:lnTo>
                        <a:pt x="127" y="544"/>
                      </a:lnTo>
                      <a:lnTo>
                        <a:pt x="110" y="588"/>
                      </a:lnTo>
                      <a:lnTo>
                        <a:pt x="95" y="626"/>
                      </a:lnTo>
                      <a:lnTo>
                        <a:pt x="84" y="659"/>
                      </a:lnTo>
                      <a:lnTo>
                        <a:pt x="75" y="686"/>
                      </a:lnTo>
                      <a:lnTo>
                        <a:pt x="70" y="707"/>
                      </a:lnTo>
                      <a:lnTo>
                        <a:pt x="65" y="724"/>
                      </a:lnTo>
                      <a:lnTo>
                        <a:pt x="65" y="724"/>
                      </a:lnTo>
                      <a:lnTo>
                        <a:pt x="64" y="730"/>
                      </a:lnTo>
                      <a:lnTo>
                        <a:pt x="61" y="735"/>
                      </a:lnTo>
                      <a:lnTo>
                        <a:pt x="58" y="740"/>
                      </a:lnTo>
                      <a:lnTo>
                        <a:pt x="54" y="744"/>
                      </a:lnTo>
                      <a:lnTo>
                        <a:pt x="49" y="746"/>
                      </a:lnTo>
                      <a:lnTo>
                        <a:pt x="44" y="749"/>
                      </a:lnTo>
                      <a:lnTo>
                        <a:pt x="38" y="750"/>
                      </a:lnTo>
                      <a:lnTo>
                        <a:pt x="33" y="751"/>
                      </a:lnTo>
                      <a:lnTo>
                        <a:pt x="33" y="75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247" name="Freeform 200">
                  <a:extLst>
                    <a:ext uri="{FF2B5EF4-FFF2-40B4-BE49-F238E27FC236}">
                      <a16:creationId xmlns:a16="http://schemas.microsoft.com/office/drawing/2014/main" id="{5CE83A52-D46A-4262-E28C-F3B40583EEFF}"/>
                    </a:ext>
                  </a:extLst>
                </p:cNvPr>
                <p:cNvSpPr>
                  <a:spLocks/>
                </p:cNvSpPr>
                <p:nvPr/>
              </p:nvSpPr>
              <p:spPr bwMode="auto">
                <a:xfrm>
                  <a:off x="4637601" y="5034106"/>
                  <a:ext cx="88009" cy="421318"/>
                </a:xfrm>
                <a:custGeom>
                  <a:avLst/>
                  <a:gdLst>
                    <a:gd name="T0" fmla="*/ 287 w 326"/>
                    <a:gd name="T1" fmla="*/ 1573 h 1573"/>
                    <a:gd name="T2" fmla="*/ 267 w 326"/>
                    <a:gd name="T3" fmla="*/ 1566 h 1573"/>
                    <a:gd name="T4" fmla="*/ 223 w 326"/>
                    <a:gd name="T5" fmla="*/ 1539 h 1573"/>
                    <a:gd name="T6" fmla="*/ 182 w 326"/>
                    <a:gd name="T7" fmla="*/ 1498 h 1573"/>
                    <a:gd name="T8" fmla="*/ 145 w 326"/>
                    <a:gd name="T9" fmla="*/ 1446 h 1573"/>
                    <a:gd name="T10" fmla="*/ 110 w 326"/>
                    <a:gd name="T11" fmla="*/ 1383 h 1573"/>
                    <a:gd name="T12" fmla="*/ 79 w 326"/>
                    <a:gd name="T13" fmla="*/ 1309 h 1573"/>
                    <a:gd name="T14" fmla="*/ 53 w 326"/>
                    <a:gd name="T15" fmla="*/ 1226 h 1573"/>
                    <a:gd name="T16" fmla="*/ 33 w 326"/>
                    <a:gd name="T17" fmla="*/ 1135 h 1573"/>
                    <a:gd name="T18" fmla="*/ 16 w 326"/>
                    <a:gd name="T19" fmla="*/ 1037 h 1573"/>
                    <a:gd name="T20" fmla="*/ 6 w 326"/>
                    <a:gd name="T21" fmla="*/ 934 h 1573"/>
                    <a:gd name="T22" fmla="*/ 1 w 326"/>
                    <a:gd name="T23" fmla="*/ 824 h 1573"/>
                    <a:gd name="T24" fmla="*/ 1 w 326"/>
                    <a:gd name="T25" fmla="*/ 749 h 1573"/>
                    <a:gd name="T26" fmla="*/ 6 w 326"/>
                    <a:gd name="T27" fmla="*/ 641 h 1573"/>
                    <a:gd name="T28" fmla="*/ 16 w 326"/>
                    <a:gd name="T29" fmla="*/ 536 h 1573"/>
                    <a:gd name="T30" fmla="*/ 33 w 326"/>
                    <a:gd name="T31" fmla="*/ 439 h 1573"/>
                    <a:gd name="T32" fmla="*/ 53 w 326"/>
                    <a:gd name="T33" fmla="*/ 348 h 1573"/>
                    <a:gd name="T34" fmla="*/ 79 w 326"/>
                    <a:gd name="T35" fmla="*/ 265 h 1573"/>
                    <a:gd name="T36" fmla="*/ 109 w 326"/>
                    <a:gd name="T37" fmla="*/ 192 h 1573"/>
                    <a:gd name="T38" fmla="*/ 143 w 326"/>
                    <a:gd name="T39" fmla="*/ 128 h 1573"/>
                    <a:gd name="T40" fmla="*/ 182 w 326"/>
                    <a:gd name="T41" fmla="*/ 76 h 1573"/>
                    <a:gd name="T42" fmla="*/ 222 w 326"/>
                    <a:gd name="T43" fmla="*/ 35 h 1573"/>
                    <a:gd name="T44" fmla="*/ 267 w 326"/>
                    <a:gd name="T45" fmla="*/ 7 h 1573"/>
                    <a:gd name="T46" fmla="*/ 288 w 326"/>
                    <a:gd name="T47" fmla="*/ 0 h 1573"/>
                    <a:gd name="T48" fmla="*/ 307 w 326"/>
                    <a:gd name="T49" fmla="*/ 3 h 1573"/>
                    <a:gd name="T50" fmla="*/ 320 w 326"/>
                    <a:gd name="T51" fmla="*/ 17 h 1573"/>
                    <a:gd name="T52" fmla="*/ 325 w 326"/>
                    <a:gd name="T53" fmla="*/ 29 h 1573"/>
                    <a:gd name="T54" fmla="*/ 321 w 326"/>
                    <a:gd name="T55" fmla="*/ 48 h 1573"/>
                    <a:gd name="T56" fmla="*/ 309 w 326"/>
                    <a:gd name="T57" fmla="*/ 61 h 1573"/>
                    <a:gd name="T58" fmla="*/ 291 w 326"/>
                    <a:gd name="T59" fmla="*/ 69 h 1573"/>
                    <a:gd name="T60" fmla="*/ 259 w 326"/>
                    <a:gd name="T61" fmla="*/ 90 h 1573"/>
                    <a:gd name="T62" fmla="*/ 227 w 326"/>
                    <a:gd name="T63" fmla="*/ 123 h 1573"/>
                    <a:gd name="T64" fmla="*/ 196 w 326"/>
                    <a:gd name="T65" fmla="*/ 169 h 1573"/>
                    <a:gd name="T66" fmla="*/ 167 w 326"/>
                    <a:gd name="T67" fmla="*/ 224 h 1573"/>
                    <a:gd name="T68" fmla="*/ 140 w 326"/>
                    <a:gd name="T69" fmla="*/ 290 h 1573"/>
                    <a:gd name="T70" fmla="*/ 118 w 326"/>
                    <a:gd name="T71" fmla="*/ 364 h 1573"/>
                    <a:gd name="T72" fmla="*/ 98 w 326"/>
                    <a:gd name="T73" fmla="*/ 449 h 1573"/>
                    <a:gd name="T74" fmla="*/ 82 w 326"/>
                    <a:gd name="T75" fmla="*/ 541 h 1573"/>
                    <a:gd name="T76" fmla="*/ 71 w 326"/>
                    <a:gd name="T77" fmla="*/ 642 h 1573"/>
                    <a:gd name="T78" fmla="*/ 67 w 326"/>
                    <a:gd name="T79" fmla="*/ 749 h 1573"/>
                    <a:gd name="T80" fmla="*/ 67 w 326"/>
                    <a:gd name="T81" fmla="*/ 824 h 1573"/>
                    <a:gd name="T82" fmla="*/ 71 w 326"/>
                    <a:gd name="T83" fmla="*/ 931 h 1573"/>
                    <a:gd name="T84" fmla="*/ 82 w 326"/>
                    <a:gd name="T85" fmla="*/ 1032 h 1573"/>
                    <a:gd name="T86" fmla="*/ 98 w 326"/>
                    <a:gd name="T87" fmla="*/ 1125 h 1573"/>
                    <a:gd name="T88" fmla="*/ 118 w 326"/>
                    <a:gd name="T89" fmla="*/ 1209 h 1573"/>
                    <a:gd name="T90" fmla="*/ 140 w 326"/>
                    <a:gd name="T91" fmla="*/ 1284 h 1573"/>
                    <a:gd name="T92" fmla="*/ 167 w 326"/>
                    <a:gd name="T93" fmla="*/ 1350 h 1573"/>
                    <a:gd name="T94" fmla="*/ 196 w 326"/>
                    <a:gd name="T95" fmla="*/ 1405 h 1573"/>
                    <a:gd name="T96" fmla="*/ 227 w 326"/>
                    <a:gd name="T97" fmla="*/ 1450 h 1573"/>
                    <a:gd name="T98" fmla="*/ 259 w 326"/>
                    <a:gd name="T99" fmla="*/ 1483 h 1573"/>
                    <a:gd name="T100" fmla="*/ 293 w 326"/>
                    <a:gd name="T101" fmla="*/ 1505 h 1573"/>
                    <a:gd name="T102" fmla="*/ 309 w 326"/>
                    <a:gd name="T103" fmla="*/ 1512 h 1573"/>
                    <a:gd name="T104" fmla="*/ 323 w 326"/>
                    <a:gd name="T105" fmla="*/ 1525 h 1573"/>
                    <a:gd name="T106" fmla="*/ 326 w 326"/>
                    <a:gd name="T107" fmla="*/ 1544 h 1573"/>
                    <a:gd name="T108" fmla="*/ 321 w 326"/>
                    <a:gd name="T109" fmla="*/ 1555 h 1573"/>
                    <a:gd name="T110" fmla="*/ 311 w 326"/>
                    <a:gd name="T111" fmla="*/ 1568 h 1573"/>
                    <a:gd name="T112" fmla="*/ 298 w 326"/>
                    <a:gd name="T113" fmla="*/ 1573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1573">
                      <a:moveTo>
                        <a:pt x="293" y="1573"/>
                      </a:moveTo>
                      <a:lnTo>
                        <a:pt x="293" y="1573"/>
                      </a:lnTo>
                      <a:lnTo>
                        <a:pt x="287" y="1573"/>
                      </a:lnTo>
                      <a:lnTo>
                        <a:pt x="282" y="1572"/>
                      </a:lnTo>
                      <a:lnTo>
                        <a:pt x="282" y="1572"/>
                      </a:lnTo>
                      <a:lnTo>
                        <a:pt x="267" y="1566"/>
                      </a:lnTo>
                      <a:lnTo>
                        <a:pt x="252" y="1559"/>
                      </a:lnTo>
                      <a:lnTo>
                        <a:pt x="238" y="1549"/>
                      </a:lnTo>
                      <a:lnTo>
                        <a:pt x="223" y="1539"/>
                      </a:lnTo>
                      <a:lnTo>
                        <a:pt x="209" y="1526"/>
                      </a:lnTo>
                      <a:lnTo>
                        <a:pt x="195" y="1513"/>
                      </a:lnTo>
                      <a:lnTo>
                        <a:pt x="182" y="1498"/>
                      </a:lnTo>
                      <a:lnTo>
                        <a:pt x="169" y="1482"/>
                      </a:lnTo>
                      <a:lnTo>
                        <a:pt x="156" y="1464"/>
                      </a:lnTo>
                      <a:lnTo>
                        <a:pt x="145" y="1446"/>
                      </a:lnTo>
                      <a:lnTo>
                        <a:pt x="132" y="1426"/>
                      </a:lnTo>
                      <a:lnTo>
                        <a:pt x="121" y="1404"/>
                      </a:lnTo>
                      <a:lnTo>
                        <a:pt x="110" y="1383"/>
                      </a:lnTo>
                      <a:lnTo>
                        <a:pt x="99" y="1359"/>
                      </a:lnTo>
                      <a:lnTo>
                        <a:pt x="90" y="1334"/>
                      </a:lnTo>
                      <a:lnTo>
                        <a:pt x="79" y="1309"/>
                      </a:lnTo>
                      <a:lnTo>
                        <a:pt x="70" y="1282"/>
                      </a:lnTo>
                      <a:lnTo>
                        <a:pt x="62" y="1254"/>
                      </a:lnTo>
                      <a:lnTo>
                        <a:pt x="53" y="1226"/>
                      </a:lnTo>
                      <a:lnTo>
                        <a:pt x="46" y="1196"/>
                      </a:lnTo>
                      <a:lnTo>
                        <a:pt x="39" y="1166"/>
                      </a:lnTo>
                      <a:lnTo>
                        <a:pt x="33" y="1135"/>
                      </a:lnTo>
                      <a:lnTo>
                        <a:pt x="27" y="1103"/>
                      </a:lnTo>
                      <a:lnTo>
                        <a:pt x="21" y="1070"/>
                      </a:lnTo>
                      <a:lnTo>
                        <a:pt x="16" y="1037"/>
                      </a:lnTo>
                      <a:lnTo>
                        <a:pt x="12" y="1003"/>
                      </a:lnTo>
                      <a:lnTo>
                        <a:pt x="8" y="969"/>
                      </a:lnTo>
                      <a:lnTo>
                        <a:pt x="6" y="934"/>
                      </a:lnTo>
                      <a:lnTo>
                        <a:pt x="3" y="897"/>
                      </a:lnTo>
                      <a:lnTo>
                        <a:pt x="2" y="861"/>
                      </a:lnTo>
                      <a:lnTo>
                        <a:pt x="1" y="824"/>
                      </a:lnTo>
                      <a:lnTo>
                        <a:pt x="0" y="787"/>
                      </a:lnTo>
                      <a:lnTo>
                        <a:pt x="0" y="787"/>
                      </a:lnTo>
                      <a:lnTo>
                        <a:pt x="1" y="749"/>
                      </a:lnTo>
                      <a:lnTo>
                        <a:pt x="2" y="713"/>
                      </a:lnTo>
                      <a:lnTo>
                        <a:pt x="3" y="676"/>
                      </a:lnTo>
                      <a:lnTo>
                        <a:pt x="6" y="641"/>
                      </a:lnTo>
                      <a:lnTo>
                        <a:pt x="8" y="606"/>
                      </a:lnTo>
                      <a:lnTo>
                        <a:pt x="12" y="570"/>
                      </a:lnTo>
                      <a:lnTo>
                        <a:pt x="16" y="536"/>
                      </a:lnTo>
                      <a:lnTo>
                        <a:pt x="21" y="503"/>
                      </a:lnTo>
                      <a:lnTo>
                        <a:pt x="27" y="471"/>
                      </a:lnTo>
                      <a:lnTo>
                        <a:pt x="33" y="439"/>
                      </a:lnTo>
                      <a:lnTo>
                        <a:pt x="39" y="408"/>
                      </a:lnTo>
                      <a:lnTo>
                        <a:pt x="46" y="377"/>
                      </a:lnTo>
                      <a:lnTo>
                        <a:pt x="53" y="348"/>
                      </a:lnTo>
                      <a:lnTo>
                        <a:pt x="62" y="319"/>
                      </a:lnTo>
                      <a:lnTo>
                        <a:pt x="70" y="292"/>
                      </a:lnTo>
                      <a:lnTo>
                        <a:pt x="79" y="265"/>
                      </a:lnTo>
                      <a:lnTo>
                        <a:pt x="89" y="239"/>
                      </a:lnTo>
                      <a:lnTo>
                        <a:pt x="99" y="215"/>
                      </a:lnTo>
                      <a:lnTo>
                        <a:pt x="109" y="192"/>
                      </a:lnTo>
                      <a:lnTo>
                        <a:pt x="121" y="169"/>
                      </a:lnTo>
                      <a:lnTo>
                        <a:pt x="132" y="148"/>
                      </a:lnTo>
                      <a:lnTo>
                        <a:pt x="143" y="128"/>
                      </a:lnTo>
                      <a:lnTo>
                        <a:pt x="156" y="109"/>
                      </a:lnTo>
                      <a:lnTo>
                        <a:pt x="168" y="91"/>
                      </a:lnTo>
                      <a:lnTo>
                        <a:pt x="182" y="76"/>
                      </a:lnTo>
                      <a:lnTo>
                        <a:pt x="195" y="60"/>
                      </a:lnTo>
                      <a:lnTo>
                        <a:pt x="209" y="47"/>
                      </a:lnTo>
                      <a:lnTo>
                        <a:pt x="222" y="35"/>
                      </a:lnTo>
                      <a:lnTo>
                        <a:pt x="237" y="24"/>
                      </a:lnTo>
                      <a:lnTo>
                        <a:pt x="251" y="16"/>
                      </a:lnTo>
                      <a:lnTo>
                        <a:pt x="267" y="7"/>
                      </a:lnTo>
                      <a:lnTo>
                        <a:pt x="281" y="2"/>
                      </a:lnTo>
                      <a:lnTo>
                        <a:pt x="281" y="2"/>
                      </a:lnTo>
                      <a:lnTo>
                        <a:pt x="288" y="0"/>
                      </a:lnTo>
                      <a:lnTo>
                        <a:pt x="295" y="0"/>
                      </a:lnTo>
                      <a:lnTo>
                        <a:pt x="301" y="1"/>
                      </a:lnTo>
                      <a:lnTo>
                        <a:pt x="307" y="3"/>
                      </a:lnTo>
                      <a:lnTo>
                        <a:pt x="312" y="6"/>
                      </a:lnTo>
                      <a:lnTo>
                        <a:pt x="317" y="12"/>
                      </a:lnTo>
                      <a:lnTo>
                        <a:pt x="320" y="17"/>
                      </a:lnTo>
                      <a:lnTo>
                        <a:pt x="324" y="23"/>
                      </a:lnTo>
                      <a:lnTo>
                        <a:pt x="324" y="23"/>
                      </a:lnTo>
                      <a:lnTo>
                        <a:pt x="325" y="29"/>
                      </a:lnTo>
                      <a:lnTo>
                        <a:pt x="325" y="35"/>
                      </a:lnTo>
                      <a:lnTo>
                        <a:pt x="324" y="42"/>
                      </a:lnTo>
                      <a:lnTo>
                        <a:pt x="321" y="48"/>
                      </a:lnTo>
                      <a:lnTo>
                        <a:pt x="318" y="53"/>
                      </a:lnTo>
                      <a:lnTo>
                        <a:pt x="314" y="58"/>
                      </a:lnTo>
                      <a:lnTo>
                        <a:pt x="309" y="61"/>
                      </a:lnTo>
                      <a:lnTo>
                        <a:pt x="303" y="64"/>
                      </a:lnTo>
                      <a:lnTo>
                        <a:pt x="303" y="64"/>
                      </a:lnTo>
                      <a:lnTo>
                        <a:pt x="291" y="69"/>
                      </a:lnTo>
                      <a:lnTo>
                        <a:pt x="281" y="75"/>
                      </a:lnTo>
                      <a:lnTo>
                        <a:pt x="270" y="82"/>
                      </a:lnTo>
                      <a:lnTo>
                        <a:pt x="259" y="90"/>
                      </a:lnTo>
                      <a:lnTo>
                        <a:pt x="248" y="101"/>
                      </a:lnTo>
                      <a:lnTo>
                        <a:pt x="238" y="111"/>
                      </a:lnTo>
                      <a:lnTo>
                        <a:pt x="227" y="123"/>
                      </a:lnTo>
                      <a:lnTo>
                        <a:pt x="217" y="138"/>
                      </a:lnTo>
                      <a:lnTo>
                        <a:pt x="207" y="152"/>
                      </a:lnTo>
                      <a:lnTo>
                        <a:pt x="196" y="169"/>
                      </a:lnTo>
                      <a:lnTo>
                        <a:pt x="186" y="185"/>
                      </a:lnTo>
                      <a:lnTo>
                        <a:pt x="177" y="204"/>
                      </a:lnTo>
                      <a:lnTo>
                        <a:pt x="167" y="224"/>
                      </a:lnTo>
                      <a:lnTo>
                        <a:pt x="158" y="244"/>
                      </a:lnTo>
                      <a:lnTo>
                        <a:pt x="150" y="266"/>
                      </a:lnTo>
                      <a:lnTo>
                        <a:pt x="140" y="290"/>
                      </a:lnTo>
                      <a:lnTo>
                        <a:pt x="132" y="314"/>
                      </a:lnTo>
                      <a:lnTo>
                        <a:pt x="125" y="339"/>
                      </a:lnTo>
                      <a:lnTo>
                        <a:pt x="118" y="364"/>
                      </a:lnTo>
                      <a:lnTo>
                        <a:pt x="110" y="392"/>
                      </a:lnTo>
                      <a:lnTo>
                        <a:pt x="104" y="420"/>
                      </a:lnTo>
                      <a:lnTo>
                        <a:pt x="98" y="449"/>
                      </a:lnTo>
                      <a:lnTo>
                        <a:pt x="92" y="479"/>
                      </a:lnTo>
                      <a:lnTo>
                        <a:pt x="87" y="509"/>
                      </a:lnTo>
                      <a:lnTo>
                        <a:pt x="82" y="541"/>
                      </a:lnTo>
                      <a:lnTo>
                        <a:pt x="78" y="575"/>
                      </a:lnTo>
                      <a:lnTo>
                        <a:pt x="74" y="608"/>
                      </a:lnTo>
                      <a:lnTo>
                        <a:pt x="71" y="642"/>
                      </a:lnTo>
                      <a:lnTo>
                        <a:pt x="69" y="677"/>
                      </a:lnTo>
                      <a:lnTo>
                        <a:pt x="68" y="713"/>
                      </a:lnTo>
                      <a:lnTo>
                        <a:pt x="67" y="749"/>
                      </a:lnTo>
                      <a:lnTo>
                        <a:pt x="66" y="787"/>
                      </a:lnTo>
                      <a:lnTo>
                        <a:pt x="66" y="787"/>
                      </a:lnTo>
                      <a:lnTo>
                        <a:pt x="67" y="824"/>
                      </a:lnTo>
                      <a:lnTo>
                        <a:pt x="68" y="861"/>
                      </a:lnTo>
                      <a:lnTo>
                        <a:pt x="69" y="896"/>
                      </a:lnTo>
                      <a:lnTo>
                        <a:pt x="71" y="931"/>
                      </a:lnTo>
                      <a:lnTo>
                        <a:pt x="74" y="966"/>
                      </a:lnTo>
                      <a:lnTo>
                        <a:pt x="78" y="1000"/>
                      </a:lnTo>
                      <a:lnTo>
                        <a:pt x="82" y="1032"/>
                      </a:lnTo>
                      <a:lnTo>
                        <a:pt x="87" y="1064"/>
                      </a:lnTo>
                      <a:lnTo>
                        <a:pt x="92" y="1095"/>
                      </a:lnTo>
                      <a:lnTo>
                        <a:pt x="98" y="1125"/>
                      </a:lnTo>
                      <a:lnTo>
                        <a:pt x="104" y="1154"/>
                      </a:lnTo>
                      <a:lnTo>
                        <a:pt x="110" y="1182"/>
                      </a:lnTo>
                      <a:lnTo>
                        <a:pt x="118" y="1209"/>
                      </a:lnTo>
                      <a:lnTo>
                        <a:pt x="125" y="1235"/>
                      </a:lnTo>
                      <a:lnTo>
                        <a:pt x="133" y="1261"/>
                      </a:lnTo>
                      <a:lnTo>
                        <a:pt x="140" y="1284"/>
                      </a:lnTo>
                      <a:lnTo>
                        <a:pt x="150" y="1307"/>
                      </a:lnTo>
                      <a:lnTo>
                        <a:pt x="158" y="1329"/>
                      </a:lnTo>
                      <a:lnTo>
                        <a:pt x="167" y="1350"/>
                      </a:lnTo>
                      <a:lnTo>
                        <a:pt x="177" y="1369"/>
                      </a:lnTo>
                      <a:lnTo>
                        <a:pt x="187" y="1388"/>
                      </a:lnTo>
                      <a:lnTo>
                        <a:pt x="196" y="1405"/>
                      </a:lnTo>
                      <a:lnTo>
                        <a:pt x="207" y="1421"/>
                      </a:lnTo>
                      <a:lnTo>
                        <a:pt x="217" y="1436"/>
                      </a:lnTo>
                      <a:lnTo>
                        <a:pt x="227" y="1450"/>
                      </a:lnTo>
                      <a:lnTo>
                        <a:pt x="238" y="1462"/>
                      </a:lnTo>
                      <a:lnTo>
                        <a:pt x="249" y="1474"/>
                      </a:lnTo>
                      <a:lnTo>
                        <a:pt x="259" y="1483"/>
                      </a:lnTo>
                      <a:lnTo>
                        <a:pt x="270" y="1491"/>
                      </a:lnTo>
                      <a:lnTo>
                        <a:pt x="281" y="1498"/>
                      </a:lnTo>
                      <a:lnTo>
                        <a:pt x="293" y="1505"/>
                      </a:lnTo>
                      <a:lnTo>
                        <a:pt x="303" y="1509"/>
                      </a:lnTo>
                      <a:lnTo>
                        <a:pt x="303" y="1509"/>
                      </a:lnTo>
                      <a:lnTo>
                        <a:pt x="309" y="1512"/>
                      </a:lnTo>
                      <a:lnTo>
                        <a:pt x="314" y="1516"/>
                      </a:lnTo>
                      <a:lnTo>
                        <a:pt x="318" y="1520"/>
                      </a:lnTo>
                      <a:lnTo>
                        <a:pt x="323" y="1525"/>
                      </a:lnTo>
                      <a:lnTo>
                        <a:pt x="325" y="1532"/>
                      </a:lnTo>
                      <a:lnTo>
                        <a:pt x="326" y="1538"/>
                      </a:lnTo>
                      <a:lnTo>
                        <a:pt x="326" y="1544"/>
                      </a:lnTo>
                      <a:lnTo>
                        <a:pt x="324" y="1551"/>
                      </a:lnTo>
                      <a:lnTo>
                        <a:pt x="324" y="1551"/>
                      </a:lnTo>
                      <a:lnTo>
                        <a:pt x="321" y="1555"/>
                      </a:lnTo>
                      <a:lnTo>
                        <a:pt x="318" y="1561"/>
                      </a:lnTo>
                      <a:lnTo>
                        <a:pt x="315" y="1564"/>
                      </a:lnTo>
                      <a:lnTo>
                        <a:pt x="311" y="1568"/>
                      </a:lnTo>
                      <a:lnTo>
                        <a:pt x="307" y="1570"/>
                      </a:lnTo>
                      <a:lnTo>
                        <a:pt x="303" y="1572"/>
                      </a:lnTo>
                      <a:lnTo>
                        <a:pt x="298" y="1573"/>
                      </a:lnTo>
                      <a:lnTo>
                        <a:pt x="293" y="1573"/>
                      </a:lnTo>
                      <a:lnTo>
                        <a:pt x="293" y="157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248" name="Freeform 201">
                  <a:extLst>
                    <a:ext uri="{FF2B5EF4-FFF2-40B4-BE49-F238E27FC236}">
                      <a16:creationId xmlns:a16="http://schemas.microsoft.com/office/drawing/2014/main" id="{D38629D7-8091-D005-423A-0D55520D6C7C}"/>
                    </a:ext>
                  </a:extLst>
                </p:cNvPr>
                <p:cNvSpPr>
                  <a:spLocks/>
                </p:cNvSpPr>
                <p:nvPr/>
              </p:nvSpPr>
              <p:spPr bwMode="auto">
                <a:xfrm>
                  <a:off x="4566445" y="5034106"/>
                  <a:ext cx="153547" cy="421318"/>
                </a:xfrm>
                <a:custGeom>
                  <a:avLst/>
                  <a:gdLst>
                    <a:gd name="T0" fmla="*/ 536 w 573"/>
                    <a:gd name="T1" fmla="*/ 1577 h 1577"/>
                    <a:gd name="T2" fmla="*/ 479 w 573"/>
                    <a:gd name="T3" fmla="*/ 1566 h 1577"/>
                    <a:gd name="T4" fmla="*/ 398 w 573"/>
                    <a:gd name="T5" fmla="*/ 1537 h 1577"/>
                    <a:gd name="T6" fmla="*/ 323 w 573"/>
                    <a:gd name="T7" fmla="*/ 1493 h 1577"/>
                    <a:gd name="T8" fmla="*/ 253 w 573"/>
                    <a:gd name="T9" fmla="*/ 1437 h 1577"/>
                    <a:gd name="T10" fmla="*/ 191 w 573"/>
                    <a:gd name="T11" fmla="*/ 1370 h 1577"/>
                    <a:gd name="T12" fmla="*/ 135 w 573"/>
                    <a:gd name="T13" fmla="*/ 1293 h 1577"/>
                    <a:gd name="T14" fmla="*/ 89 w 573"/>
                    <a:gd name="T15" fmla="*/ 1206 h 1577"/>
                    <a:gd name="T16" fmla="*/ 51 w 573"/>
                    <a:gd name="T17" fmla="*/ 1110 h 1577"/>
                    <a:gd name="T18" fmla="*/ 23 w 573"/>
                    <a:gd name="T19" fmla="*/ 1008 h 1577"/>
                    <a:gd name="T20" fmla="*/ 6 w 573"/>
                    <a:gd name="T21" fmla="*/ 900 h 1577"/>
                    <a:gd name="T22" fmla="*/ 0 w 573"/>
                    <a:gd name="T23" fmla="*/ 788 h 1577"/>
                    <a:gd name="T24" fmla="*/ 3 w 573"/>
                    <a:gd name="T25" fmla="*/ 714 h 1577"/>
                    <a:gd name="T26" fmla="*/ 15 w 573"/>
                    <a:gd name="T27" fmla="*/ 607 h 1577"/>
                    <a:gd name="T28" fmla="*/ 39 w 573"/>
                    <a:gd name="T29" fmla="*/ 504 h 1577"/>
                    <a:gd name="T30" fmla="*/ 73 w 573"/>
                    <a:gd name="T31" fmla="*/ 408 h 1577"/>
                    <a:gd name="T32" fmla="*/ 116 w 573"/>
                    <a:gd name="T33" fmla="*/ 319 h 1577"/>
                    <a:gd name="T34" fmla="*/ 166 w 573"/>
                    <a:gd name="T35" fmla="*/ 238 h 1577"/>
                    <a:gd name="T36" fmla="*/ 225 w 573"/>
                    <a:gd name="T37" fmla="*/ 168 h 1577"/>
                    <a:gd name="T38" fmla="*/ 290 w 573"/>
                    <a:gd name="T39" fmla="*/ 107 h 1577"/>
                    <a:gd name="T40" fmla="*/ 362 w 573"/>
                    <a:gd name="T41" fmla="*/ 58 h 1577"/>
                    <a:gd name="T42" fmla="*/ 438 w 573"/>
                    <a:gd name="T43" fmla="*/ 23 h 1577"/>
                    <a:gd name="T44" fmla="*/ 520 w 573"/>
                    <a:gd name="T45" fmla="*/ 1 h 1577"/>
                    <a:gd name="T46" fmla="*/ 534 w 573"/>
                    <a:gd name="T47" fmla="*/ 1 h 1577"/>
                    <a:gd name="T48" fmla="*/ 550 w 573"/>
                    <a:gd name="T49" fmla="*/ 11 h 1577"/>
                    <a:gd name="T50" fmla="*/ 559 w 573"/>
                    <a:gd name="T51" fmla="*/ 28 h 1577"/>
                    <a:gd name="T52" fmla="*/ 559 w 573"/>
                    <a:gd name="T53" fmla="*/ 42 h 1577"/>
                    <a:gd name="T54" fmla="*/ 549 w 573"/>
                    <a:gd name="T55" fmla="*/ 57 h 1577"/>
                    <a:gd name="T56" fmla="*/ 532 w 573"/>
                    <a:gd name="T57" fmla="*/ 66 h 1577"/>
                    <a:gd name="T58" fmla="*/ 483 w 573"/>
                    <a:gd name="T59" fmla="*/ 78 h 1577"/>
                    <a:gd name="T60" fmla="*/ 413 w 573"/>
                    <a:gd name="T61" fmla="*/ 106 h 1577"/>
                    <a:gd name="T62" fmla="*/ 346 w 573"/>
                    <a:gd name="T63" fmla="*/ 146 h 1577"/>
                    <a:gd name="T64" fmla="*/ 286 w 573"/>
                    <a:gd name="T65" fmla="*/ 198 h 1577"/>
                    <a:gd name="T66" fmla="*/ 231 w 573"/>
                    <a:gd name="T67" fmla="*/ 260 h 1577"/>
                    <a:gd name="T68" fmla="*/ 184 w 573"/>
                    <a:gd name="T69" fmla="*/ 331 h 1577"/>
                    <a:gd name="T70" fmla="*/ 144 w 573"/>
                    <a:gd name="T71" fmla="*/ 411 h 1577"/>
                    <a:gd name="T72" fmla="*/ 110 w 573"/>
                    <a:gd name="T73" fmla="*/ 497 h 1577"/>
                    <a:gd name="T74" fmla="*/ 86 w 573"/>
                    <a:gd name="T75" fmla="*/ 589 h 1577"/>
                    <a:gd name="T76" fmla="*/ 71 w 573"/>
                    <a:gd name="T77" fmla="*/ 686 h 1577"/>
                    <a:gd name="T78" fmla="*/ 66 w 573"/>
                    <a:gd name="T79" fmla="*/ 788 h 1577"/>
                    <a:gd name="T80" fmla="*/ 68 w 573"/>
                    <a:gd name="T81" fmla="*/ 857 h 1577"/>
                    <a:gd name="T82" fmla="*/ 80 w 573"/>
                    <a:gd name="T83" fmla="*/ 958 h 1577"/>
                    <a:gd name="T84" fmla="*/ 102 w 573"/>
                    <a:gd name="T85" fmla="*/ 1054 h 1577"/>
                    <a:gd name="T86" fmla="*/ 133 w 573"/>
                    <a:gd name="T87" fmla="*/ 1144 h 1577"/>
                    <a:gd name="T88" fmla="*/ 173 w 573"/>
                    <a:gd name="T89" fmla="*/ 1225 h 1577"/>
                    <a:gd name="T90" fmla="*/ 219 w 573"/>
                    <a:gd name="T91" fmla="*/ 1300 h 1577"/>
                    <a:gd name="T92" fmla="*/ 273 w 573"/>
                    <a:gd name="T93" fmla="*/ 1365 h 1577"/>
                    <a:gd name="T94" fmla="*/ 333 w 573"/>
                    <a:gd name="T95" fmla="*/ 1420 h 1577"/>
                    <a:gd name="T96" fmla="*/ 399 w 573"/>
                    <a:gd name="T97" fmla="*/ 1463 h 1577"/>
                    <a:gd name="T98" fmla="*/ 470 w 573"/>
                    <a:gd name="T99" fmla="*/ 1493 h 1577"/>
                    <a:gd name="T100" fmla="*/ 545 w 573"/>
                    <a:gd name="T101" fmla="*/ 1511 h 1577"/>
                    <a:gd name="T102" fmla="*/ 557 w 573"/>
                    <a:gd name="T103" fmla="*/ 1516 h 1577"/>
                    <a:gd name="T104" fmla="*/ 570 w 573"/>
                    <a:gd name="T105" fmla="*/ 1530 h 1577"/>
                    <a:gd name="T106" fmla="*/ 573 w 573"/>
                    <a:gd name="T107" fmla="*/ 1548 h 1577"/>
                    <a:gd name="T108" fmla="*/ 569 w 573"/>
                    <a:gd name="T109" fmla="*/ 1560 h 1577"/>
                    <a:gd name="T110" fmla="*/ 557 w 573"/>
                    <a:gd name="T111" fmla="*/ 1572 h 1577"/>
                    <a:gd name="T112" fmla="*/ 540 w 573"/>
                    <a:gd name="T113" fmla="*/ 1577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3" h="1577">
                      <a:moveTo>
                        <a:pt x="540" y="1577"/>
                      </a:moveTo>
                      <a:lnTo>
                        <a:pt x="540" y="1577"/>
                      </a:lnTo>
                      <a:lnTo>
                        <a:pt x="536" y="1577"/>
                      </a:lnTo>
                      <a:lnTo>
                        <a:pt x="536" y="1577"/>
                      </a:lnTo>
                      <a:lnTo>
                        <a:pt x="507" y="1572"/>
                      </a:lnTo>
                      <a:lnTo>
                        <a:pt x="479" y="1566"/>
                      </a:lnTo>
                      <a:lnTo>
                        <a:pt x="452" y="1557"/>
                      </a:lnTo>
                      <a:lnTo>
                        <a:pt x="425" y="1547"/>
                      </a:lnTo>
                      <a:lnTo>
                        <a:pt x="398" y="1537"/>
                      </a:lnTo>
                      <a:lnTo>
                        <a:pt x="372" y="1523"/>
                      </a:lnTo>
                      <a:lnTo>
                        <a:pt x="347" y="1509"/>
                      </a:lnTo>
                      <a:lnTo>
                        <a:pt x="323" y="1493"/>
                      </a:lnTo>
                      <a:lnTo>
                        <a:pt x="299" y="1476"/>
                      </a:lnTo>
                      <a:lnTo>
                        <a:pt x="276" y="1457"/>
                      </a:lnTo>
                      <a:lnTo>
                        <a:pt x="253" y="1437"/>
                      </a:lnTo>
                      <a:lnTo>
                        <a:pt x="231" y="1417"/>
                      </a:lnTo>
                      <a:lnTo>
                        <a:pt x="211" y="1394"/>
                      </a:lnTo>
                      <a:lnTo>
                        <a:pt x="191" y="1370"/>
                      </a:lnTo>
                      <a:lnTo>
                        <a:pt x="171" y="1345"/>
                      </a:lnTo>
                      <a:lnTo>
                        <a:pt x="153" y="1319"/>
                      </a:lnTo>
                      <a:lnTo>
                        <a:pt x="135" y="1293"/>
                      </a:lnTo>
                      <a:lnTo>
                        <a:pt x="119" y="1265"/>
                      </a:lnTo>
                      <a:lnTo>
                        <a:pt x="103" y="1236"/>
                      </a:lnTo>
                      <a:lnTo>
                        <a:pt x="89" y="1206"/>
                      </a:lnTo>
                      <a:lnTo>
                        <a:pt x="75" y="1175"/>
                      </a:lnTo>
                      <a:lnTo>
                        <a:pt x="63" y="1144"/>
                      </a:lnTo>
                      <a:lnTo>
                        <a:pt x="51" y="1110"/>
                      </a:lnTo>
                      <a:lnTo>
                        <a:pt x="40" y="1077"/>
                      </a:lnTo>
                      <a:lnTo>
                        <a:pt x="31" y="1043"/>
                      </a:lnTo>
                      <a:lnTo>
                        <a:pt x="23" y="1008"/>
                      </a:lnTo>
                      <a:lnTo>
                        <a:pt x="16" y="973"/>
                      </a:lnTo>
                      <a:lnTo>
                        <a:pt x="10" y="937"/>
                      </a:lnTo>
                      <a:lnTo>
                        <a:pt x="6" y="900"/>
                      </a:lnTo>
                      <a:lnTo>
                        <a:pt x="3" y="863"/>
                      </a:lnTo>
                      <a:lnTo>
                        <a:pt x="1" y="826"/>
                      </a:lnTo>
                      <a:lnTo>
                        <a:pt x="0" y="788"/>
                      </a:lnTo>
                      <a:lnTo>
                        <a:pt x="0" y="788"/>
                      </a:lnTo>
                      <a:lnTo>
                        <a:pt x="1" y="750"/>
                      </a:lnTo>
                      <a:lnTo>
                        <a:pt x="3" y="714"/>
                      </a:lnTo>
                      <a:lnTo>
                        <a:pt x="6" y="678"/>
                      </a:lnTo>
                      <a:lnTo>
                        <a:pt x="10" y="642"/>
                      </a:lnTo>
                      <a:lnTo>
                        <a:pt x="15" y="607"/>
                      </a:lnTo>
                      <a:lnTo>
                        <a:pt x="22" y="571"/>
                      </a:lnTo>
                      <a:lnTo>
                        <a:pt x="31" y="537"/>
                      </a:lnTo>
                      <a:lnTo>
                        <a:pt x="39" y="504"/>
                      </a:lnTo>
                      <a:lnTo>
                        <a:pt x="49" y="471"/>
                      </a:lnTo>
                      <a:lnTo>
                        <a:pt x="61" y="439"/>
                      </a:lnTo>
                      <a:lnTo>
                        <a:pt x="73" y="408"/>
                      </a:lnTo>
                      <a:lnTo>
                        <a:pt x="87" y="378"/>
                      </a:lnTo>
                      <a:lnTo>
                        <a:pt x="100" y="348"/>
                      </a:lnTo>
                      <a:lnTo>
                        <a:pt x="116" y="319"/>
                      </a:lnTo>
                      <a:lnTo>
                        <a:pt x="132" y="291"/>
                      </a:lnTo>
                      <a:lnTo>
                        <a:pt x="149" y="264"/>
                      </a:lnTo>
                      <a:lnTo>
                        <a:pt x="166" y="238"/>
                      </a:lnTo>
                      <a:lnTo>
                        <a:pt x="185" y="213"/>
                      </a:lnTo>
                      <a:lnTo>
                        <a:pt x="205" y="190"/>
                      </a:lnTo>
                      <a:lnTo>
                        <a:pt x="225" y="168"/>
                      </a:lnTo>
                      <a:lnTo>
                        <a:pt x="246" y="146"/>
                      </a:lnTo>
                      <a:lnTo>
                        <a:pt x="268" y="125"/>
                      </a:lnTo>
                      <a:lnTo>
                        <a:pt x="290" y="107"/>
                      </a:lnTo>
                      <a:lnTo>
                        <a:pt x="314" y="89"/>
                      </a:lnTo>
                      <a:lnTo>
                        <a:pt x="338" y="74"/>
                      </a:lnTo>
                      <a:lnTo>
                        <a:pt x="362" y="58"/>
                      </a:lnTo>
                      <a:lnTo>
                        <a:pt x="387" y="45"/>
                      </a:lnTo>
                      <a:lnTo>
                        <a:pt x="413" y="33"/>
                      </a:lnTo>
                      <a:lnTo>
                        <a:pt x="438" y="23"/>
                      </a:lnTo>
                      <a:lnTo>
                        <a:pt x="465" y="14"/>
                      </a:lnTo>
                      <a:lnTo>
                        <a:pt x="492" y="6"/>
                      </a:lnTo>
                      <a:lnTo>
                        <a:pt x="520" y="1"/>
                      </a:lnTo>
                      <a:lnTo>
                        <a:pt x="520" y="1"/>
                      </a:lnTo>
                      <a:lnTo>
                        <a:pt x="527" y="0"/>
                      </a:lnTo>
                      <a:lnTo>
                        <a:pt x="534" y="1"/>
                      </a:lnTo>
                      <a:lnTo>
                        <a:pt x="540" y="3"/>
                      </a:lnTo>
                      <a:lnTo>
                        <a:pt x="545" y="6"/>
                      </a:lnTo>
                      <a:lnTo>
                        <a:pt x="550" y="11"/>
                      </a:lnTo>
                      <a:lnTo>
                        <a:pt x="553" y="16"/>
                      </a:lnTo>
                      <a:lnTo>
                        <a:pt x="556" y="22"/>
                      </a:lnTo>
                      <a:lnTo>
                        <a:pt x="559" y="28"/>
                      </a:lnTo>
                      <a:lnTo>
                        <a:pt x="559" y="28"/>
                      </a:lnTo>
                      <a:lnTo>
                        <a:pt x="559" y="34"/>
                      </a:lnTo>
                      <a:lnTo>
                        <a:pt x="559" y="42"/>
                      </a:lnTo>
                      <a:lnTo>
                        <a:pt x="556" y="47"/>
                      </a:lnTo>
                      <a:lnTo>
                        <a:pt x="553" y="53"/>
                      </a:lnTo>
                      <a:lnTo>
                        <a:pt x="549" y="57"/>
                      </a:lnTo>
                      <a:lnTo>
                        <a:pt x="544" y="61"/>
                      </a:lnTo>
                      <a:lnTo>
                        <a:pt x="538" y="64"/>
                      </a:lnTo>
                      <a:lnTo>
                        <a:pt x="532" y="66"/>
                      </a:lnTo>
                      <a:lnTo>
                        <a:pt x="532" y="66"/>
                      </a:lnTo>
                      <a:lnTo>
                        <a:pt x="507" y="72"/>
                      </a:lnTo>
                      <a:lnTo>
                        <a:pt x="483" y="78"/>
                      </a:lnTo>
                      <a:lnTo>
                        <a:pt x="458" y="86"/>
                      </a:lnTo>
                      <a:lnTo>
                        <a:pt x="435" y="95"/>
                      </a:lnTo>
                      <a:lnTo>
                        <a:pt x="413" y="106"/>
                      </a:lnTo>
                      <a:lnTo>
                        <a:pt x="390" y="118"/>
                      </a:lnTo>
                      <a:lnTo>
                        <a:pt x="368" y="132"/>
                      </a:lnTo>
                      <a:lnTo>
                        <a:pt x="346" y="146"/>
                      </a:lnTo>
                      <a:lnTo>
                        <a:pt x="326" y="163"/>
                      </a:lnTo>
                      <a:lnTo>
                        <a:pt x="306" y="180"/>
                      </a:lnTo>
                      <a:lnTo>
                        <a:pt x="286" y="198"/>
                      </a:lnTo>
                      <a:lnTo>
                        <a:pt x="268" y="217"/>
                      </a:lnTo>
                      <a:lnTo>
                        <a:pt x="249" y="238"/>
                      </a:lnTo>
                      <a:lnTo>
                        <a:pt x="231" y="260"/>
                      </a:lnTo>
                      <a:lnTo>
                        <a:pt x="215" y="283"/>
                      </a:lnTo>
                      <a:lnTo>
                        <a:pt x="199" y="306"/>
                      </a:lnTo>
                      <a:lnTo>
                        <a:pt x="184" y="331"/>
                      </a:lnTo>
                      <a:lnTo>
                        <a:pt x="169" y="357"/>
                      </a:lnTo>
                      <a:lnTo>
                        <a:pt x="156" y="383"/>
                      </a:lnTo>
                      <a:lnTo>
                        <a:pt x="144" y="411"/>
                      </a:lnTo>
                      <a:lnTo>
                        <a:pt x="131" y="439"/>
                      </a:lnTo>
                      <a:lnTo>
                        <a:pt x="121" y="467"/>
                      </a:lnTo>
                      <a:lnTo>
                        <a:pt x="110" y="497"/>
                      </a:lnTo>
                      <a:lnTo>
                        <a:pt x="101" y="527"/>
                      </a:lnTo>
                      <a:lnTo>
                        <a:pt x="93" y="558"/>
                      </a:lnTo>
                      <a:lnTo>
                        <a:pt x="86" y="589"/>
                      </a:lnTo>
                      <a:lnTo>
                        <a:pt x="80" y="621"/>
                      </a:lnTo>
                      <a:lnTo>
                        <a:pt x="75" y="653"/>
                      </a:lnTo>
                      <a:lnTo>
                        <a:pt x="71" y="686"/>
                      </a:lnTo>
                      <a:lnTo>
                        <a:pt x="68" y="719"/>
                      </a:lnTo>
                      <a:lnTo>
                        <a:pt x="67" y="753"/>
                      </a:lnTo>
                      <a:lnTo>
                        <a:pt x="66" y="788"/>
                      </a:lnTo>
                      <a:lnTo>
                        <a:pt x="66" y="788"/>
                      </a:lnTo>
                      <a:lnTo>
                        <a:pt x="67" y="823"/>
                      </a:lnTo>
                      <a:lnTo>
                        <a:pt x="68" y="857"/>
                      </a:lnTo>
                      <a:lnTo>
                        <a:pt x="71" y="891"/>
                      </a:lnTo>
                      <a:lnTo>
                        <a:pt x="75" y="925"/>
                      </a:lnTo>
                      <a:lnTo>
                        <a:pt x="80" y="958"/>
                      </a:lnTo>
                      <a:lnTo>
                        <a:pt x="87" y="990"/>
                      </a:lnTo>
                      <a:lnTo>
                        <a:pt x="94" y="1022"/>
                      </a:lnTo>
                      <a:lnTo>
                        <a:pt x="102" y="1054"/>
                      </a:lnTo>
                      <a:lnTo>
                        <a:pt x="111" y="1085"/>
                      </a:lnTo>
                      <a:lnTo>
                        <a:pt x="122" y="1115"/>
                      </a:lnTo>
                      <a:lnTo>
                        <a:pt x="133" y="1144"/>
                      </a:lnTo>
                      <a:lnTo>
                        <a:pt x="146" y="1171"/>
                      </a:lnTo>
                      <a:lnTo>
                        <a:pt x="158" y="1199"/>
                      </a:lnTo>
                      <a:lnTo>
                        <a:pt x="173" y="1225"/>
                      </a:lnTo>
                      <a:lnTo>
                        <a:pt x="187" y="1251"/>
                      </a:lnTo>
                      <a:lnTo>
                        <a:pt x="203" y="1276"/>
                      </a:lnTo>
                      <a:lnTo>
                        <a:pt x="219" y="1300"/>
                      </a:lnTo>
                      <a:lnTo>
                        <a:pt x="237" y="1323"/>
                      </a:lnTo>
                      <a:lnTo>
                        <a:pt x="254" y="1344"/>
                      </a:lnTo>
                      <a:lnTo>
                        <a:pt x="273" y="1365"/>
                      </a:lnTo>
                      <a:lnTo>
                        <a:pt x="293" y="1385"/>
                      </a:lnTo>
                      <a:lnTo>
                        <a:pt x="312" y="1402"/>
                      </a:lnTo>
                      <a:lnTo>
                        <a:pt x="333" y="1420"/>
                      </a:lnTo>
                      <a:lnTo>
                        <a:pt x="355" y="1435"/>
                      </a:lnTo>
                      <a:lnTo>
                        <a:pt x="376" y="1450"/>
                      </a:lnTo>
                      <a:lnTo>
                        <a:pt x="399" y="1463"/>
                      </a:lnTo>
                      <a:lnTo>
                        <a:pt x="422" y="1475"/>
                      </a:lnTo>
                      <a:lnTo>
                        <a:pt x="446" y="1485"/>
                      </a:lnTo>
                      <a:lnTo>
                        <a:pt x="470" y="1493"/>
                      </a:lnTo>
                      <a:lnTo>
                        <a:pt x="494" y="1502"/>
                      </a:lnTo>
                      <a:lnTo>
                        <a:pt x="519" y="1507"/>
                      </a:lnTo>
                      <a:lnTo>
                        <a:pt x="545" y="1511"/>
                      </a:lnTo>
                      <a:lnTo>
                        <a:pt x="545" y="1511"/>
                      </a:lnTo>
                      <a:lnTo>
                        <a:pt x="551" y="1513"/>
                      </a:lnTo>
                      <a:lnTo>
                        <a:pt x="557" y="1516"/>
                      </a:lnTo>
                      <a:lnTo>
                        <a:pt x="563" y="1519"/>
                      </a:lnTo>
                      <a:lnTo>
                        <a:pt x="567" y="1524"/>
                      </a:lnTo>
                      <a:lnTo>
                        <a:pt x="570" y="1530"/>
                      </a:lnTo>
                      <a:lnTo>
                        <a:pt x="572" y="1536"/>
                      </a:lnTo>
                      <a:lnTo>
                        <a:pt x="573" y="1542"/>
                      </a:lnTo>
                      <a:lnTo>
                        <a:pt x="573" y="1548"/>
                      </a:lnTo>
                      <a:lnTo>
                        <a:pt x="573" y="1548"/>
                      </a:lnTo>
                      <a:lnTo>
                        <a:pt x="572" y="1554"/>
                      </a:lnTo>
                      <a:lnTo>
                        <a:pt x="569" y="1560"/>
                      </a:lnTo>
                      <a:lnTo>
                        <a:pt x="566" y="1565"/>
                      </a:lnTo>
                      <a:lnTo>
                        <a:pt x="562" y="1569"/>
                      </a:lnTo>
                      <a:lnTo>
                        <a:pt x="557" y="1572"/>
                      </a:lnTo>
                      <a:lnTo>
                        <a:pt x="552" y="1575"/>
                      </a:lnTo>
                      <a:lnTo>
                        <a:pt x="546" y="1576"/>
                      </a:lnTo>
                      <a:lnTo>
                        <a:pt x="540" y="1577"/>
                      </a:lnTo>
                      <a:lnTo>
                        <a:pt x="540" y="15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249" name="Freeform 202">
                  <a:extLst>
                    <a:ext uri="{FF2B5EF4-FFF2-40B4-BE49-F238E27FC236}">
                      <a16:creationId xmlns:a16="http://schemas.microsoft.com/office/drawing/2014/main" id="{DBA6788D-7D37-0EB8-31A1-E09D7E1CADA0}"/>
                    </a:ext>
                  </a:extLst>
                </p:cNvPr>
                <p:cNvSpPr>
                  <a:spLocks/>
                </p:cNvSpPr>
                <p:nvPr/>
              </p:nvSpPr>
              <p:spPr bwMode="auto">
                <a:xfrm>
                  <a:off x="4530867" y="5138967"/>
                  <a:ext cx="194742" cy="16853"/>
                </a:xfrm>
                <a:custGeom>
                  <a:avLst/>
                  <a:gdLst>
                    <a:gd name="T0" fmla="*/ 695 w 728"/>
                    <a:gd name="T1" fmla="*/ 67 h 67"/>
                    <a:gd name="T2" fmla="*/ 33 w 728"/>
                    <a:gd name="T3" fmla="*/ 67 h 67"/>
                    <a:gd name="T4" fmla="*/ 33 w 728"/>
                    <a:gd name="T5" fmla="*/ 67 h 67"/>
                    <a:gd name="T6" fmla="*/ 27 w 728"/>
                    <a:gd name="T7" fmla="*/ 66 h 67"/>
                    <a:gd name="T8" fmla="*/ 21 w 728"/>
                    <a:gd name="T9" fmla="*/ 63 h 67"/>
                    <a:gd name="T10" fmla="*/ 15 w 728"/>
                    <a:gd name="T11" fmla="*/ 60 h 67"/>
                    <a:gd name="T12" fmla="*/ 10 w 728"/>
                    <a:gd name="T13" fmla="*/ 56 h 67"/>
                    <a:gd name="T14" fmla="*/ 6 w 728"/>
                    <a:gd name="T15" fmla="*/ 52 h 67"/>
                    <a:gd name="T16" fmla="*/ 3 w 728"/>
                    <a:gd name="T17" fmla="*/ 46 h 67"/>
                    <a:gd name="T18" fmla="*/ 1 w 728"/>
                    <a:gd name="T19" fmla="*/ 40 h 67"/>
                    <a:gd name="T20" fmla="*/ 0 w 728"/>
                    <a:gd name="T21" fmla="*/ 33 h 67"/>
                    <a:gd name="T22" fmla="*/ 0 w 728"/>
                    <a:gd name="T23" fmla="*/ 33 h 67"/>
                    <a:gd name="T24" fmla="*/ 1 w 728"/>
                    <a:gd name="T25" fmla="*/ 26 h 67"/>
                    <a:gd name="T26" fmla="*/ 3 w 728"/>
                    <a:gd name="T27" fmla="*/ 20 h 67"/>
                    <a:gd name="T28" fmla="*/ 6 w 728"/>
                    <a:gd name="T29" fmla="*/ 15 h 67"/>
                    <a:gd name="T30" fmla="*/ 10 w 728"/>
                    <a:gd name="T31" fmla="*/ 10 h 67"/>
                    <a:gd name="T32" fmla="*/ 15 w 728"/>
                    <a:gd name="T33" fmla="*/ 6 h 67"/>
                    <a:gd name="T34" fmla="*/ 21 w 728"/>
                    <a:gd name="T35" fmla="*/ 2 h 67"/>
                    <a:gd name="T36" fmla="*/ 27 w 728"/>
                    <a:gd name="T37" fmla="*/ 0 h 67"/>
                    <a:gd name="T38" fmla="*/ 33 w 728"/>
                    <a:gd name="T39" fmla="*/ 0 h 67"/>
                    <a:gd name="T40" fmla="*/ 695 w 728"/>
                    <a:gd name="T41" fmla="*/ 0 h 67"/>
                    <a:gd name="T42" fmla="*/ 695 w 728"/>
                    <a:gd name="T43" fmla="*/ 0 h 67"/>
                    <a:gd name="T44" fmla="*/ 701 w 728"/>
                    <a:gd name="T45" fmla="*/ 0 h 67"/>
                    <a:gd name="T46" fmla="*/ 707 w 728"/>
                    <a:gd name="T47" fmla="*/ 2 h 67"/>
                    <a:gd name="T48" fmla="*/ 713 w 728"/>
                    <a:gd name="T49" fmla="*/ 6 h 67"/>
                    <a:gd name="T50" fmla="*/ 718 w 728"/>
                    <a:gd name="T51" fmla="*/ 10 h 67"/>
                    <a:gd name="T52" fmla="*/ 721 w 728"/>
                    <a:gd name="T53" fmla="*/ 15 h 67"/>
                    <a:gd name="T54" fmla="*/ 725 w 728"/>
                    <a:gd name="T55" fmla="*/ 20 h 67"/>
                    <a:gd name="T56" fmla="*/ 727 w 728"/>
                    <a:gd name="T57" fmla="*/ 26 h 67"/>
                    <a:gd name="T58" fmla="*/ 728 w 728"/>
                    <a:gd name="T59" fmla="*/ 33 h 67"/>
                    <a:gd name="T60" fmla="*/ 728 w 728"/>
                    <a:gd name="T61" fmla="*/ 33 h 67"/>
                    <a:gd name="T62" fmla="*/ 727 w 728"/>
                    <a:gd name="T63" fmla="*/ 40 h 67"/>
                    <a:gd name="T64" fmla="*/ 725 w 728"/>
                    <a:gd name="T65" fmla="*/ 46 h 67"/>
                    <a:gd name="T66" fmla="*/ 721 w 728"/>
                    <a:gd name="T67" fmla="*/ 52 h 67"/>
                    <a:gd name="T68" fmla="*/ 718 w 728"/>
                    <a:gd name="T69" fmla="*/ 56 h 67"/>
                    <a:gd name="T70" fmla="*/ 713 w 728"/>
                    <a:gd name="T71" fmla="*/ 60 h 67"/>
                    <a:gd name="T72" fmla="*/ 707 w 728"/>
                    <a:gd name="T73" fmla="*/ 63 h 67"/>
                    <a:gd name="T74" fmla="*/ 701 w 728"/>
                    <a:gd name="T75" fmla="*/ 66 h 67"/>
                    <a:gd name="T76" fmla="*/ 695 w 728"/>
                    <a:gd name="T77" fmla="*/ 67 h 67"/>
                    <a:gd name="T78" fmla="*/ 695 w 728"/>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8" h="67">
                      <a:moveTo>
                        <a:pt x="695" y="67"/>
                      </a:moveTo>
                      <a:lnTo>
                        <a:pt x="33" y="67"/>
                      </a:lnTo>
                      <a:lnTo>
                        <a:pt x="33" y="67"/>
                      </a:lnTo>
                      <a:lnTo>
                        <a:pt x="27" y="66"/>
                      </a:lnTo>
                      <a:lnTo>
                        <a:pt x="21" y="63"/>
                      </a:lnTo>
                      <a:lnTo>
                        <a:pt x="15" y="60"/>
                      </a:lnTo>
                      <a:lnTo>
                        <a:pt x="10" y="56"/>
                      </a:lnTo>
                      <a:lnTo>
                        <a:pt x="6" y="52"/>
                      </a:lnTo>
                      <a:lnTo>
                        <a:pt x="3" y="46"/>
                      </a:lnTo>
                      <a:lnTo>
                        <a:pt x="1" y="40"/>
                      </a:lnTo>
                      <a:lnTo>
                        <a:pt x="0" y="33"/>
                      </a:lnTo>
                      <a:lnTo>
                        <a:pt x="0" y="33"/>
                      </a:lnTo>
                      <a:lnTo>
                        <a:pt x="1" y="26"/>
                      </a:lnTo>
                      <a:lnTo>
                        <a:pt x="3" y="20"/>
                      </a:lnTo>
                      <a:lnTo>
                        <a:pt x="6" y="15"/>
                      </a:lnTo>
                      <a:lnTo>
                        <a:pt x="10" y="10"/>
                      </a:lnTo>
                      <a:lnTo>
                        <a:pt x="15" y="6"/>
                      </a:lnTo>
                      <a:lnTo>
                        <a:pt x="21" y="2"/>
                      </a:lnTo>
                      <a:lnTo>
                        <a:pt x="27" y="0"/>
                      </a:lnTo>
                      <a:lnTo>
                        <a:pt x="33" y="0"/>
                      </a:lnTo>
                      <a:lnTo>
                        <a:pt x="695" y="0"/>
                      </a:lnTo>
                      <a:lnTo>
                        <a:pt x="695" y="0"/>
                      </a:lnTo>
                      <a:lnTo>
                        <a:pt x="701" y="0"/>
                      </a:lnTo>
                      <a:lnTo>
                        <a:pt x="707" y="2"/>
                      </a:lnTo>
                      <a:lnTo>
                        <a:pt x="713" y="6"/>
                      </a:lnTo>
                      <a:lnTo>
                        <a:pt x="718" y="10"/>
                      </a:lnTo>
                      <a:lnTo>
                        <a:pt x="721" y="15"/>
                      </a:lnTo>
                      <a:lnTo>
                        <a:pt x="725" y="20"/>
                      </a:lnTo>
                      <a:lnTo>
                        <a:pt x="727" y="26"/>
                      </a:lnTo>
                      <a:lnTo>
                        <a:pt x="728" y="33"/>
                      </a:lnTo>
                      <a:lnTo>
                        <a:pt x="728" y="33"/>
                      </a:lnTo>
                      <a:lnTo>
                        <a:pt x="727" y="40"/>
                      </a:lnTo>
                      <a:lnTo>
                        <a:pt x="725" y="46"/>
                      </a:lnTo>
                      <a:lnTo>
                        <a:pt x="721" y="52"/>
                      </a:lnTo>
                      <a:lnTo>
                        <a:pt x="718" y="56"/>
                      </a:lnTo>
                      <a:lnTo>
                        <a:pt x="713" y="60"/>
                      </a:lnTo>
                      <a:lnTo>
                        <a:pt x="707" y="63"/>
                      </a:lnTo>
                      <a:lnTo>
                        <a:pt x="701" y="66"/>
                      </a:lnTo>
                      <a:lnTo>
                        <a:pt x="695" y="67"/>
                      </a:lnTo>
                      <a:lnTo>
                        <a:pt x="695"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250" name="Freeform 203">
                  <a:extLst>
                    <a:ext uri="{FF2B5EF4-FFF2-40B4-BE49-F238E27FC236}">
                      <a16:creationId xmlns:a16="http://schemas.microsoft.com/office/drawing/2014/main" id="{3F744F89-E003-D4A9-2608-CFDF1BCDF0E3}"/>
                    </a:ext>
                  </a:extLst>
                </p:cNvPr>
                <p:cNvSpPr>
                  <a:spLocks/>
                </p:cNvSpPr>
                <p:nvPr/>
              </p:nvSpPr>
              <p:spPr bwMode="auto">
                <a:xfrm>
                  <a:off x="4504652" y="5226975"/>
                  <a:ext cx="220958" cy="16853"/>
                </a:xfrm>
                <a:custGeom>
                  <a:avLst/>
                  <a:gdLst>
                    <a:gd name="T0" fmla="*/ 792 w 825"/>
                    <a:gd name="T1" fmla="*/ 67 h 67"/>
                    <a:gd name="T2" fmla="*/ 33 w 825"/>
                    <a:gd name="T3" fmla="*/ 67 h 67"/>
                    <a:gd name="T4" fmla="*/ 33 w 825"/>
                    <a:gd name="T5" fmla="*/ 67 h 67"/>
                    <a:gd name="T6" fmla="*/ 27 w 825"/>
                    <a:gd name="T7" fmla="*/ 66 h 67"/>
                    <a:gd name="T8" fmla="*/ 21 w 825"/>
                    <a:gd name="T9" fmla="*/ 65 h 67"/>
                    <a:gd name="T10" fmla="*/ 15 w 825"/>
                    <a:gd name="T11" fmla="*/ 61 h 67"/>
                    <a:gd name="T12" fmla="*/ 10 w 825"/>
                    <a:gd name="T13" fmla="*/ 57 h 67"/>
                    <a:gd name="T14" fmla="*/ 6 w 825"/>
                    <a:gd name="T15" fmla="*/ 52 h 67"/>
                    <a:gd name="T16" fmla="*/ 3 w 825"/>
                    <a:gd name="T17" fmla="*/ 47 h 67"/>
                    <a:gd name="T18" fmla="*/ 1 w 825"/>
                    <a:gd name="T19" fmla="*/ 41 h 67"/>
                    <a:gd name="T20" fmla="*/ 0 w 825"/>
                    <a:gd name="T21" fmla="*/ 34 h 67"/>
                    <a:gd name="T22" fmla="*/ 0 w 825"/>
                    <a:gd name="T23" fmla="*/ 34 h 67"/>
                    <a:gd name="T24" fmla="*/ 1 w 825"/>
                    <a:gd name="T25" fmla="*/ 27 h 67"/>
                    <a:gd name="T26" fmla="*/ 3 w 825"/>
                    <a:gd name="T27" fmla="*/ 21 h 67"/>
                    <a:gd name="T28" fmla="*/ 6 w 825"/>
                    <a:gd name="T29" fmla="*/ 15 h 67"/>
                    <a:gd name="T30" fmla="*/ 10 w 825"/>
                    <a:gd name="T31" fmla="*/ 11 h 67"/>
                    <a:gd name="T32" fmla="*/ 15 w 825"/>
                    <a:gd name="T33" fmla="*/ 7 h 67"/>
                    <a:gd name="T34" fmla="*/ 21 w 825"/>
                    <a:gd name="T35" fmla="*/ 4 h 67"/>
                    <a:gd name="T36" fmla="*/ 27 w 825"/>
                    <a:gd name="T37" fmla="*/ 1 h 67"/>
                    <a:gd name="T38" fmla="*/ 33 w 825"/>
                    <a:gd name="T39" fmla="*/ 0 h 67"/>
                    <a:gd name="T40" fmla="*/ 792 w 825"/>
                    <a:gd name="T41" fmla="*/ 0 h 67"/>
                    <a:gd name="T42" fmla="*/ 792 w 825"/>
                    <a:gd name="T43" fmla="*/ 0 h 67"/>
                    <a:gd name="T44" fmla="*/ 798 w 825"/>
                    <a:gd name="T45" fmla="*/ 1 h 67"/>
                    <a:gd name="T46" fmla="*/ 804 w 825"/>
                    <a:gd name="T47" fmla="*/ 4 h 67"/>
                    <a:gd name="T48" fmla="*/ 810 w 825"/>
                    <a:gd name="T49" fmla="*/ 7 h 67"/>
                    <a:gd name="T50" fmla="*/ 815 w 825"/>
                    <a:gd name="T51" fmla="*/ 11 h 67"/>
                    <a:gd name="T52" fmla="*/ 818 w 825"/>
                    <a:gd name="T53" fmla="*/ 15 h 67"/>
                    <a:gd name="T54" fmla="*/ 822 w 825"/>
                    <a:gd name="T55" fmla="*/ 21 h 67"/>
                    <a:gd name="T56" fmla="*/ 824 w 825"/>
                    <a:gd name="T57" fmla="*/ 27 h 67"/>
                    <a:gd name="T58" fmla="*/ 825 w 825"/>
                    <a:gd name="T59" fmla="*/ 34 h 67"/>
                    <a:gd name="T60" fmla="*/ 825 w 825"/>
                    <a:gd name="T61" fmla="*/ 34 h 67"/>
                    <a:gd name="T62" fmla="*/ 824 w 825"/>
                    <a:gd name="T63" fmla="*/ 41 h 67"/>
                    <a:gd name="T64" fmla="*/ 822 w 825"/>
                    <a:gd name="T65" fmla="*/ 47 h 67"/>
                    <a:gd name="T66" fmla="*/ 818 w 825"/>
                    <a:gd name="T67" fmla="*/ 52 h 67"/>
                    <a:gd name="T68" fmla="*/ 815 w 825"/>
                    <a:gd name="T69" fmla="*/ 57 h 67"/>
                    <a:gd name="T70" fmla="*/ 810 w 825"/>
                    <a:gd name="T71" fmla="*/ 61 h 67"/>
                    <a:gd name="T72" fmla="*/ 804 w 825"/>
                    <a:gd name="T73" fmla="*/ 65 h 67"/>
                    <a:gd name="T74" fmla="*/ 798 w 825"/>
                    <a:gd name="T75" fmla="*/ 66 h 67"/>
                    <a:gd name="T76" fmla="*/ 792 w 825"/>
                    <a:gd name="T77" fmla="*/ 67 h 67"/>
                    <a:gd name="T78" fmla="*/ 792 w 825"/>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5" h="67">
                      <a:moveTo>
                        <a:pt x="792" y="67"/>
                      </a:moveTo>
                      <a:lnTo>
                        <a:pt x="33" y="67"/>
                      </a:lnTo>
                      <a:lnTo>
                        <a:pt x="33" y="67"/>
                      </a:lnTo>
                      <a:lnTo>
                        <a:pt x="27" y="66"/>
                      </a:lnTo>
                      <a:lnTo>
                        <a:pt x="21" y="65"/>
                      </a:lnTo>
                      <a:lnTo>
                        <a:pt x="15" y="61"/>
                      </a:lnTo>
                      <a:lnTo>
                        <a:pt x="10" y="57"/>
                      </a:lnTo>
                      <a:lnTo>
                        <a:pt x="6" y="52"/>
                      </a:lnTo>
                      <a:lnTo>
                        <a:pt x="3" y="47"/>
                      </a:lnTo>
                      <a:lnTo>
                        <a:pt x="1" y="41"/>
                      </a:lnTo>
                      <a:lnTo>
                        <a:pt x="0" y="34"/>
                      </a:lnTo>
                      <a:lnTo>
                        <a:pt x="0" y="34"/>
                      </a:lnTo>
                      <a:lnTo>
                        <a:pt x="1" y="27"/>
                      </a:lnTo>
                      <a:lnTo>
                        <a:pt x="3" y="21"/>
                      </a:lnTo>
                      <a:lnTo>
                        <a:pt x="6" y="15"/>
                      </a:lnTo>
                      <a:lnTo>
                        <a:pt x="10" y="11"/>
                      </a:lnTo>
                      <a:lnTo>
                        <a:pt x="15" y="7"/>
                      </a:lnTo>
                      <a:lnTo>
                        <a:pt x="21" y="4"/>
                      </a:lnTo>
                      <a:lnTo>
                        <a:pt x="27" y="1"/>
                      </a:lnTo>
                      <a:lnTo>
                        <a:pt x="33" y="0"/>
                      </a:lnTo>
                      <a:lnTo>
                        <a:pt x="792" y="0"/>
                      </a:lnTo>
                      <a:lnTo>
                        <a:pt x="792" y="0"/>
                      </a:lnTo>
                      <a:lnTo>
                        <a:pt x="798" y="1"/>
                      </a:lnTo>
                      <a:lnTo>
                        <a:pt x="804" y="4"/>
                      </a:lnTo>
                      <a:lnTo>
                        <a:pt x="810" y="7"/>
                      </a:lnTo>
                      <a:lnTo>
                        <a:pt x="815" y="11"/>
                      </a:lnTo>
                      <a:lnTo>
                        <a:pt x="818" y="15"/>
                      </a:lnTo>
                      <a:lnTo>
                        <a:pt x="822" y="21"/>
                      </a:lnTo>
                      <a:lnTo>
                        <a:pt x="824" y="27"/>
                      </a:lnTo>
                      <a:lnTo>
                        <a:pt x="825" y="34"/>
                      </a:lnTo>
                      <a:lnTo>
                        <a:pt x="825" y="34"/>
                      </a:lnTo>
                      <a:lnTo>
                        <a:pt x="824" y="41"/>
                      </a:lnTo>
                      <a:lnTo>
                        <a:pt x="822" y="47"/>
                      </a:lnTo>
                      <a:lnTo>
                        <a:pt x="818" y="52"/>
                      </a:lnTo>
                      <a:lnTo>
                        <a:pt x="815" y="57"/>
                      </a:lnTo>
                      <a:lnTo>
                        <a:pt x="810" y="61"/>
                      </a:lnTo>
                      <a:lnTo>
                        <a:pt x="804" y="65"/>
                      </a:lnTo>
                      <a:lnTo>
                        <a:pt x="798" y="66"/>
                      </a:lnTo>
                      <a:lnTo>
                        <a:pt x="792" y="67"/>
                      </a:lnTo>
                      <a:lnTo>
                        <a:pt x="792"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251" name="Freeform 204">
                  <a:extLst>
                    <a:ext uri="{FF2B5EF4-FFF2-40B4-BE49-F238E27FC236}">
                      <a16:creationId xmlns:a16="http://schemas.microsoft.com/office/drawing/2014/main" id="{DC05A1A7-8E36-1199-D826-0E97557B2197}"/>
                    </a:ext>
                  </a:extLst>
                </p:cNvPr>
                <p:cNvSpPr>
                  <a:spLocks/>
                </p:cNvSpPr>
                <p:nvPr/>
              </p:nvSpPr>
              <p:spPr bwMode="auto">
                <a:xfrm>
                  <a:off x="4521504" y="5314984"/>
                  <a:ext cx="204106" cy="18725"/>
                </a:xfrm>
                <a:custGeom>
                  <a:avLst/>
                  <a:gdLst>
                    <a:gd name="T0" fmla="*/ 726 w 759"/>
                    <a:gd name="T1" fmla="*/ 66 h 66"/>
                    <a:gd name="T2" fmla="*/ 33 w 759"/>
                    <a:gd name="T3" fmla="*/ 66 h 66"/>
                    <a:gd name="T4" fmla="*/ 33 w 759"/>
                    <a:gd name="T5" fmla="*/ 66 h 66"/>
                    <a:gd name="T6" fmla="*/ 27 w 759"/>
                    <a:gd name="T7" fmla="*/ 65 h 66"/>
                    <a:gd name="T8" fmla="*/ 21 w 759"/>
                    <a:gd name="T9" fmla="*/ 63 h 66"/>
                    <a:gd name="T10" fmla="*/ 15 w 759"/>
                    <a:gd name="T11" fmla="*/ 60 h 66"/>
                    <a:gd name="T12" fmla="*/ 10 w 759"/>
                    <a:gd name="T13" fmla="*/ 55 h 66"/>
                    <a:gd name="T14" fmla="*/ 6 w 759"/>
                    <a:gd name="T15" fmla="*/ 50 h 66"/>
                    <a:gd name="T16" fmla="*/ 3 w 759"/>
                    <a:gd name="T17" fmla="*/ 45 h 66"/>
                    <a:gd name="T18" fmla="*/ 1 w 759"/>
                    <a:gd name="T19" fmla="*/ 39 h 66"/>
                    <a:gd name="T20" fmla="*/ 0 w 759"/>
                    <a:gd name="T21" fmla="*/ 33 h 66"/>
                    <a:gd name="T22" fmla="*/ 0 w 759"/>
                    <a:gd name="T23" fmla="*/ 33 h 66"/>
                    <a:gd name="T24" fmla="*/ 1 w 759"/>
                    <a:gd name="T25" fmla="*/ 25 h 66"/>
                    <a:gd name="T26" fmla="*/ 3 w 759"/>
                    <a:gd name="T27" fmla="*/ 19 h 66"/>
                    <a:gd name="T28" fmla="*/ 6 w 759"/>
                    <a:gd name="T29" fmla="*/ 14 h 66"/>
                    <a:gd name="T30" fmla="*/ 10 w 759"/>
                    <a:gd name="T31" fmla="*/ 9 h 66"/>
                    <a:gd name="T32" fmla="*/ 15 w 759"/>
                    <a:gd name="T33" fmla="*/ 5 h 66"/>
                    <a:gd name="T34" fmla="*/ 21 w 759"/>
                    <a:gd name="T35" fmla="*/ 2 h 66"/>
                    <a:gd name="T36" fmla="*/ 27 w 759"/>
                    <a:gd name="T37" fmla="*/ 0 h 66"/>
                    <a:gd name="T38" fmla="*/ 33 w 759"/>
                    <a:gd name="T39" fmla="*/ 0 h 66"/>
                    <a:gd name="T40" fmla="*/ 726 w 759"/>
                    <a:gd name="T41" fmla="*/ 0 h 66"/>
                    <a:gd name="T42" fmla="*/ 726 w 759"/>
                    <a:gd name="T43" fmla="*/ 0 h 66"/>
                    <a:gd name="T44" fmla="*/ 732 w 759"/>
                    <a:gd name="T45" fmla="*/ 0 h 66"/>
                    <a:gd name="T46" fmla="*/ 738 w 759"/>
                    <a:gd name="T47" fmla="*/ 2 h 66"/>
                    <a:gd name="T48" fmla="*/ 744 w 759"/>
                    <a:gd name="T49" fmla="*/ 5 h 66"/>
                    <a:gd name="T50" fmla="*/ 749 w 759"/>
                    <a:gd name="T51" fmla="*/ 9 h 66"/>
                    <a:gd name="T52" fmla="*/ 752 w 759"/>
                    <a:gd name="T53" fmla="*/ 14 h 66"/>
                    <a:gd name="T54" fmla="*/ 756 w 759"/>
                    <a:gd name="T55" fmla="*/ 19 h 66"/>
                    <a:gd name="T56" fmla="*/ 758 w 759"/>
                    <a:gd name="T57" fmla="*/ 25 h 66"/>
                    <a:gd name="T58" fmla="*/ 759 w 759"/>
                    <a:gd name="T59" fmla="*/ 33 h 66"/>
                    <a:gd name="T60" fmla="*/ 759 w 759"/>
                    <a:gd name="T61" fmla="*/ 33 h 66"/>
                    <a:gd name="T62" fmla="*/ 758 w 759"/>
                    <a:gd name="T63" fmla="*/ 39 h 66"/>
                    <a:gd name="T64" fmla="*/ 756 w 759"/>
                    <a:gd name="T65" fmla="*/ 45 h 66"/>
                    <a:gd name="T66" fmla="*/ 752 w 759"/>
                    <a:gd name="T67" fmla="*/ 50 h 66"/>
                    <a:gd name="T68" fmla="*/ 749 w 759"/>
                    <a:gd name="T69" fmla="*/ 55 h 66"/>
                    <a:gd name="T70" fmla="*/ 744 w 759"/>
                    <a:gd name="T71" fmla="*/ 60 h 66"/>
                    <a:gd name="T72" fmla="*/ 738 w 759"/>
                    <a:gd name="T73" fmla="*/ 63 h 66"/>
                    <a:gd name="T74" fmla="*/ 732 w 759"/>
                    <a:gd name="T75" fmla="*/ 65 h 66"/>
                    <a:gd name="T76" fmla="*/ 726 w 759"/>
                    <a:gd name="T77" fmla="*/ 66 h 66"/>
                    <a:gd name="T78" fmla="*/ 726 w 759"/>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9" h="66">
                      <a:moveTo>
                        <a:pt x="726" y="66"/>
                      </a:moveTo>
                      <a:lnTo>
                        <a:pt x="33" y="66"/>
                      </a:lnTo>
                      <a:lnTo>
                        <a:pt x="33" y="66"/>
                      </a:lnTo>
                      <a:lnTo>
                        <a:pt x="27" y="65"/>
                      </a:lnTo>
                      <a:lnTo>
                        <a:pt x="21" y="63"/>
                      </a:lnTo>
                      <a:lnTo>
                        <a:pt x="15" y="60"/>
                      </a:lnTo>
                      <a:lnTo>
                        <a:pt x="10" y="55"/>
                      </a:lnTo>
                      <a:lnTo>
                        <a:pt x="6" y="50"/>
                      </a:lnTo>
                      <a:lnTo>
                        <a:pt x="3" y="45"/>
                      </a:lnTo>
                      <a:lnTo>
                        <a:pt x="1" y="39"/>
                      </a:lnTo>
                      <a:lnTo>
                        <a:pt x="0" y="33"/>
                      </a:lnTo>
                      <a:lnTo>
                        <a:pt x="0" y="33"/>
                      </a:lnTo>
                      <a:lnTo>
                        <a:pt x="1" y="25"/>
                      </a:lnTo>
                      <a:lnTo>
                        <a:pt x="3" y="19"/>
                      </a:lnTo>
                      <a:lnTo>
                        <a:pt x="6" y="14"/>
                      </a:lnTo>
                      <a:lnTo>
                        <a:pt x="10" y="9"/>
                      </a:lnTo>
                      <a:lnTo>
                        <a:pt x="15" y="5"/>
                      </a:lnTo>
                      <a:lnTo>
                        <a:pt x="21" y="2"/>
                      </a:lnTo>
                      <a:lnTo>
                        <a:pt x="27" y="0"/>
                      </a:lnTo>
                      <a:lnTo>
                        <a:pt x="33" y="0"/>
                      </a:lnTo>
                      <a:lnTo>
                        <a:pt x="726" y="0"/>
                      </a:lnTo>
                      <a:lnTo>
                        <a:pt x="726" y="0"/>
                      </a:lnTo>
                      <a:lnTo>
                        <a:pt x="732" y="0"/>
                      </a:lnTo>
                      <a:lnTo>
                        <a:pt x="738" y="2"/>
                      </a:lnTo>
                      <a:lnTo>
                        <a:pt x="744" y="5"/>
                      </a:lnTo>
                      <a:lnTo>
                        <a:pt x="749" y="9"/>
                      </a:lnTo>
                      <a:lnTo>
                        <a:pt x="752" y="14"/>
                      </a:lnTo>
                      <a:lnTo>
                        <a:pt x="756" y="19"/>
                      </a:lnTo>
                      <a:lnTo>
                        <a:pt x="758" y="25"/>
                      </a:lnTo>
                      <a:lnTo>
                        <a:pt x="759" y="33"/>
                      </a:lnTo>
                      <a:lnTo>
                        <a:pt x="759" y="33"/>
                      </a:lnTo>
                      <a:lnTo>
                        <a:pt x="758" y="39"/>
                      </a:lnTo>
                      <a:lnTo>
                        <a:pt x="756" y="45"/>
                      </a:lnTo>
                      <a:lnTo>
                        <a:pt x="752" y="50"/>
                      </a:lnTo>
                      <a:lnTo>
                        <a:pt x="749" y="55"/>
                      </a:lnTo>
                      <a:lnTo>
                        <a:pt x="744" y="60"/>
                      </a:lnTo>
                      <a:lnTo>
                        <a:pt x="738" y="63"/>
                      </a:lnTo>
                      <a:lnTo>
                        <a:pt x="732" y="65"/>
                      </a:lnTo>
                      <a:lnTo>
                        <a:pt x="726" y="66"/>
                      </a:lnTo>
                      <a:lnTo>
                        <a:pt x="726"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grpSp>
          <p:sp>
            <p:nvSpPr>
              <p:cNvPr id="292" name="TextBox 291">
                <a:extLst>
                  <a:ext uri="{FF2B5EF4-FFF2-40B4-BE49-F238E27FC236}">
                    <a16:creationId xmlns:a16="http://schemas.microsoft.com/office/drawing/2014/main" id="{8AB9CD54-28B9-AB59-BE7C-09ACEE6A0C30}"/>
                  </a:ext>
                </a:extLst>
              </p:cNvPr>
              <p:cNvSpPr txBox="1"/>
              <p:nvPr/>
            </p:nvSpPr>
            <p:spPr>
              <a:xfrm>
                <a:off x="1881890" y="4602254"/>
                <a:ext cx="2285666"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oboto"/>
                    <a:ea typeface="+mn-ea"/>
                    <a:cs typeface="+mn-cs"/>
                  </a:rPr>
                  <a:t>Ecosystems &amp; biodiversity</a:t>
                </a:r>
              </a:p>
            </p:txBody>
          </p:sp>
        </p:grpSp>
        <p:grpSp>
          <p:nvGrpSpPr>
            <p:cNvPr id="281" name="Group 280">
              <a:extLst>
                <a:ext uri="{FF2B5EF4-FFF2-40B4-BE49-F238E27FC236}">
                  <a16:creationId xmlns:a16="http://schemas.microsoft.com/office/drawing/2014/main" id="{172DFF61-ACBC-EBDF-7DA2-46F9F90068A8}"/>
                </a:ext>
              </a:extLst>
            </p:cNvPr>
            <p:cNvGrpSpPr/>
            <p:nvPr/>
          </p:nvGrpSpPr>
          <p:grpSpPr>
            <a:xfrm>
              <a:off x="4493131" y="2806564"/>
              <a:ext cx="3477009" cy="442150"/>
              <a:chOff x="4061656" y="2942532"/>
              <a:chExt cx="3477009" cy="442150"/>
            </a:xfrm>
          </p:grpSpPr>
          <p:grpSp>
            <p:nvGrpSpPr>
              <p:cNvPr id="185" name="Group 184">
                <a:extLst>
                  <a:ext uri="{FF2B5EF4-FFF2-40B4-BE49-F238E27FC236}">
                    <a16:creationId xmlns:a16="http://schemas.microsoft.com/office/drawing/2014/main" id="{11CDEDD3-183A-59BD-B469-EEC88028A8B2}"/>
                  </a:ext>
                </a:extLst>
              </p:cNvPr>
              <p:cNvGrpSpPr/>
              <p:nvPr/>
            </p:nvGrpSpPr>
            <p:grpSpPr>
              <a:xfrm>
                <a:off x="4061656" y="2942532"/>
                <a:ext cx="442151" cy="442150"/>
                <a:chOff x="7854618" y="2535447"/>
                <a:chExt cx="614681" cy="614680"/>
              </a:xfrm>
            </p:grpSpPr>
            <p:sp>
              <p:nvSpPr>
                <p:cNvPr id="186" name="Flowchart: Connector 185">
                  <a:extLst>
                    <a:ext uri="{FF2B5EF4-FFF2-40B4-BE49-F238E27FC236}">
                      <a16:creationId xmlns:a16="http://schemas.microsoft.com/office/drawing/2014/main" id="{0435A4AB-59D7-37B9-D9AB-B04A5A6AD525}"/>
                    </a:ext>
                  </a:extLst>
                </p:cNvPr>
                <p:cNvSpPr/>
                <p:nvPr/>
              </p:nvSpPr>
              <p:spPr>
                <a:xfrm flipH="1">
                  <a:off x="7854618" y="2535447"/>
                  <a:ext cx="614681" cy="61468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200" b="1" i="0" u="none" strike="noStrike" kern="1200" cap="none" spc="0" normalizeH="0" baseline="0" noProof="0" dirty="0">
                    <a:ln>
                      <a:noFill/>
                    </a:ln>
                    <a:solidFill>
                      <a:prstClr val="white"/>
                    </a:solidFill>
                    <a:effectLst/>
                    <a:uLnTx/>
                    <a:uFillTx/>
                    <a:latin typeface="Roboto"/>
                    <a:ea typeface="+mn-ea"/>
                    <a:cs typeface="+mn-cs"/>
                  </a:endParaRPr>
                </a:p>
              </p:txBody>
            </p:sp>
            <p:grpSp>
              <p:nvGrpSpPr>
                <p:cNvPr id="187" name="Group 186">
                  <a:extLst>
                    <a:ext uri="{FF2B5EF4-FFF2-40B4-BE49-F238E27FC236}">
                      <a16:creationId xmlns:a16="http://schemas.microsoft.com/office/drawing/2014/main" id="{F831656F-3D60-4AA0-196A-B1B9B8D7E90F}"/>
                    </a:ext>
                  </a:extLst>
                </p:cNvPr>
                <p:cNvGrpSpPr/>
                <p:nvPr/>
              </p:nvGrpSpPr>
              <p:grpSpPr>
                <a:xfrm>
                  <a:off x="7969331" y="2629826"/>
                  <a:ext cx="386053" cy="386053"/>
                  <a:chOff x="4116388" y="2528889"/>
                  <a:chExt cx="360363" cy="360363"/>
                </a:xfrm>
                <a:solidFill>
                  <a:schemeClr val="bg1"/>
                </a:solidFill>
              </p:grpSpPr>
              <p:sp>
                <p:nvSpPr>
                  <p:cNvPr id="188" name="Freeform 57">
                    <a:extLst>
                      <a:ext uri="{FF2B5EF4-FFF2-40B4-BE49-F238E27FC236}">
                        <a16:creationId xmlns:a16="http://schemas.microsoft.com/office/drawing/2014/main" id="{36D3AF95-37C1-7F0D-E8CC-9C36792362A4}"/>
                      </a:ext>
                    </a:extLst>
                  </p:cNvPr>
                  <p:cNvSpPr>
                    <a:spLocks/>
                  </p:cNvSpPr>
                  <p:nvPr/>
                </p:nvSpPr>
                <p:spPr bwMode="auto">
                  <a:xfrm>
                    <a:off x="4116388" y="2874964"/>
                    <a:ext cx="360363" cy="14288"/>
                  </a:xfrm>
                  <a:custGeom>
                    <a:avLst/>
                    <a:gdLst>
                      <a:gd name="T0" fmla="*/ 1553 w 1586"/>
                      <a:gd name="T1" fmla="*/ 66 h 66"/>
                      <a:gd name="T2" fmla="*/ 33 w 1586"/>
                      <a:gd name="T3" fmla="*/ 66 h 66"/>
                      <a:gd name="T4" fmla="*/ 33 w 1586"/>
                      <a:gd name="T5" fmla="*/ 66 h 66"/>
                      <a:gd name="T6" fmla="*/ 26 w 1586"/>
                      <a:gd name="T7" fmla="*/ 65 h 66"/>
                      <a:gd name="T8" fmla="*/ 20 w 1586"/>
                      <a:gd name="T9" fmla="*/ 63 h 66"/>
                      <a:gd name="T10" fmla="*/ 14 w 1586"/>
                      <a:gd name="T11" fmla="*/ 60 h 66"/>
                      <a:gd name="T12" fmla="*/ 9 w 1586"/>
                      <a:gd name="T13" fmla="*/ 56 h 66"/>
                      <a:gd name="T14" fmla="*/ 5 w 1586"/>
                      <a:gd name="T15" fmla="*/ 51 h 66"/>
                      <a:gd name="T16" fmla="*/ 2 w 1586"/>
                      <a:gd name="T17" fmla="*/ 45 h 66"/>
                      <a:gd name="T18" fmla="*/ 0 w 1586"/>
                      <a:gd name="T19" fmla="*/ 39 h 66"/>
                      <a:gd name="T20" fmla="*/ 0 w 1586"/>
                      <a:gd name="T21" fmla="*/ 33 h 66"/>
                      <a:gd name="T22" fmla="*/ 0 w 1586"/>
                      <a:gd name="T23" fmla="*/ 33 h 66"/>
                      <a:gd name="T24" fmla="*/ 0 w 1586"/>
                      <a:gd name="T25" fmla="*/ 26 h 66"/>
                      <a:gd name="T26" fmla="*/ 2 w 1586"/>
                      <a:gd name="T27" fmla="*/ 20 h 66"/>
                      <a:gd name="T28" fmla="*/ 5 w 1586"/>
                      <a:gd name="T29" fmla="*/ 14 h 66"/>
                      <a:gd name="T30" fmla="*/ 9 w 1586"/>
                      <a:gd name="T31" fmla="*/ 9 h 66"/>
                      <a:gd name="T32" fmla="*/ 14 w 1586"/>
                      <a:gd name="T33" fmla="*/ 5 h 66"/>
                      <a:gd name="T34" fmla="*/ 20 w 1586"/>
                      <a:gd name="T35" fmla="*/ 3 h 66"/>
                      <a:gd name="T36" fmla="*/ 26 w 1586"/>
                      <a:gd name="T37" fmla="*/ 1 h 66"/>
                      <a:gd name="T38" fmla="*/ 33 w 1586"/>
                      <a:gd name="T39" fmla="*/ 0 h 66"/>
                      <a:gd name="T40" fmla="*/ 1553 w 1586"/>
                      <a:gd name="T41" fmla="*/ 0 h 66"/>
                      <a:gd name="T42" fmla="*/ 1553 w 1586"/>
                      <a:gd name="T43" fmla="*/ 0 h 66"/>
                      <a:gd name="T44" fmla="*/ 1560 w 1586"/>
                      <a:gd name="T45" fmla="*/ 1 h 66"/>
                      <a:gd name="T46" fmla="*/ 1567 w 1586"/>
                      <a:gd name="T47" fmla="*/ 3 h 66"/>
                      <a:gd name="T48" fmla="*/ 1572 w 1586"/>
                      <a:gd name="T49" fmla="*/ 5 h 66"/>
                      <a:gd name="T50" fmla="*/ 1577 w 1586"/>
                      <a:gd name="T51" fmla="*/ 9 h 66"/>
                      <a:gd name="T52" fmla="*/ 1581 w 1586"/>
                      <a:gd name="T53" fmla="*/ 14 h 66"/>
                      <a:gd name="T54" fmla="*/ 1584 w 1586"/>
                      <a:gd name="T55" fmla="*/ 20 h 66"/>
                      <a:gd name="T56" fmla="*/ 1586 w 1586"/>
                      <a:gd name="T57" fmla="*/ 26 h 66"/>
                      <a:gd name="T58" fmla="*/ 1586 w 1586"/>
                      <a:gd name="T59" fmla="*/ 33 h 66"/>
                      <a:gd name="T60" fmla="*/ 1586 w 1586"/>
                      <a:gd name="T61" fmla="*/ 33 h 66"/>
                      <a:gd name="T62" fmla="*/ 1586 w 1586"/>
                      <a:gd name="T63" fmla="*/ 39 h 66"/>
                      <a:gd name="T64" fmla="*/ 1584 w 1586"/>
                      <a:gd name="T65" fmla="*/ 45 h 66"/>
                      <a:gd name="T66" fmla="*/ 1581 w 1586"/>
                      <a:gd name="T67" fmla="*/ 51 h 66"/>
                      <a:gd name="T68" fmla="*/ 1577 w 1586"/>
                      <a:gd name="T69" fmla="*/ 56 h 66"/>
                      <a:gd name="T70" fmla="*/ 1572 w 1586"/>
                      <a:gd name="T71" fmla="*/ 60 h 66"/>
                      <a:gd name="T72" fmla="*/ 1567 w 1586"/>
                      <a:gd name="T73" fmla="*/ 63 h 66"/>
                      <a:gd name="T74" fmla="*/ 1560 w 1586"/>
                      <a:gd name="T75" fmla="*/ 65 h 66"/>
                      <a:gd name="T76" fmla="*/ 1553 w 1586"/>
                      <a:gd name="T77" fmla="*/ 66 h 66"/>
                      <a:gd name="T78" fmla="*/ 1553 w 158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86" h="66">
                        <a:moveTo>
                          <a:pt x="1553" y="66"/>
                        </a:moveTo>
                        <a:lnTo>
                          <a:pt x="33" y="66"/>
                        </a:lnTo>
                        <a:lnTo>
                          <a:pt x="33" y="66"/>
                        </a:lnTo>
                        <a:lnTo>
                          <a:pt x="26" y="65"/>
                        </a:lnTo>
                        <a:lnTo>
                          <a:pt x="20" y="63"/>
                        </a:lnTo>
                        <a:lnTo>
                          <a:pt x="14" y="60"/>
                        </a:lnTo>
                        <a:lnTo>
                          <a:pt x="9" y="56"/>
                        </a:lnTo>
                        <a:lnTo>
                          <a:pt x="5" y="51"/>
                        </a:lnTo>
                        <a:lnTo>
                          <a:pt x="2" y="45"/>
                        </a:lnTo>
                        <a:lnTo>
                          <a:pt x="0" y="39"/>
                        </a:lnTo>
                        <a:lnTo>
                          <a:pt x="0" y="33"/>
                        </a:lnTo>
                        <a:lnTo>
                          <a:pt x="0" y="33"/>
                        </a:lnTo>
                        <a:lnTo>
                          <a:pt x="0" y="26"/>
                        </a:lnTo>
                        <a:lnTo>
                          <a:pt x="2" y="20"/>
                        </a:lnTo>
                        <a:lnTo>
                          <a:pt x="5" y="14"/>
                        </a:lnTo>
                        <a:lnTo>
                          <a:pt x="9" y="9"/>
                        </a:lnTo>
                        <a:lnTo>
                          <a:pt x="14" y="5"/>
                        </a:lnTo>
                        <a:lnTo>
                          <a:pt x="20" y="3"/>
                        </a:lnTo>
                        <a:lnTo>
                          <a:pt x="26" y="1"/>
                        </a:lnTo>
                        <a:lnTo>
                          <a:pt x="33" y="0"/>
                        </a:lnTo>
                        <a:lnTo>
                          <a:pt x="1553" y="0"/>
                        </a:lnTo>
                        <a:lnTo>
                          <a:pt x="1553" y="0"/>
                        </a:lnTo>
                        <a:lnTo>
                          <a:pt x="1560" y="1"/>
                        </a:lnTo>
                        <a:lnTo>
                          <a:pt x="1567" y="3"/>
                        </a:lnTo>
                        <a:lnTo>
                          <a:pt x="1572" y="5"/>
                        </a:lnTo>
                        <a:lnTo>
                          <a:pt x="1577" y="9"/>
                        </a:lnTo>
                        <a:lnTo>
                          <a:pt x="1581" y="14"/>
                        </a:lnTo>
                        <a:lnTo>
                          <a:pt x="1584" y="20"/>
                        </a:lnTo>
                        <a:lnTo>
                          <a:pt x="1586" y="26"/>
                        </a:lnTo>
                        <a:lnTo>
                          <a:pt x="1586" y="33"/>
                        </a:lnTo>
                        <a:lnTo>
                          <a:pt x="1586" y="33"/>
                        </a:lnTo>
                        <a:lnTo>
                          <a:pt x="1586" y="39"/>
                        </a:lnTo>
                        <a:lnTo>
                          <a:pt x="1584" y="45"/>
                        </a:lnTo>
                        <a:lnTo>
                          <a:pt x="1581" y="51"/>
                        </a:lnTo>
                        <a:lnTo>
                          <a:pt x="1577" y="56"/>
                        </a:lnTo>
                        <a:lnTo>
                          <a:pt x="1572" y="60"/>
                        </a:lnTo>
                        <a:lnTo>
                          <a:pt x="1567" y="63"/>
                        </a:lnTo>
                        <a:lnTo>
                          <a:pt x="1560" y="65"/>
                        </a:lnTo>
                        <a:lnTo>
                          <a:pt x="1553" y="66"/>
                        </a:lnTo>
                        <a:lnTo>
                          <a:pt x="155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89" name="Freeform 58">
                    <a:extLst>
                      <a:ext uri="{FF2B5EF4-FFF2-40B4-BE49-F238E27FC236}">
                        <a16:creationId xmlns:a16="http://schemas.microsoft.com/office/drawing/2014/main" id="{D11AE4B3-9656-8926-4FD5-B3826F01B5F1}"/>
                      </a:ext>
                    </a:extLst>
                  </p:cNvPr>
                  <p:cNvSpPr>
                    <a:spLocks noEditPoints="1"/>
                  </p:cNvSpPr>
                  <p:nvPr/>
                </p:nvSpPr>
                <p:spPr bwMode="auto">
                  <a:xfrm>
                    <a:off x="4221163" y="2589214"/>
                    <a:ext cx="150813" cy="300038"/>
                  </a:xfrm>
                  <a:custGeom>
                    <a:avLst/>
                    <a:gdLst>
                      <a:gd name="T0" fmla="*/ 629 w 662"/>
                      <a:gd name="T1" fmla="*/ 1323 h 1323"/>
                      <a:gd name="T2" fmla="*/ 34 w 662"/>
                      <a:gd name="T3" fmla="*/ 1323 h 1323"/>
                      <a:gd name="T4" fmla="*/ 34 w 662"/>
                      <a:gd name="T5" fmla="*/ 1323 h 1323"/>
                      <a:gd name="T6" fmla="*/ 26 w 662"/>
                      <a:gd name="T7" fmla="*/ 1322 h 1323"/>
                      <a:gd name="T8" fmla="*/ 20 w 662"/>
                      <a:gd name="T9" fmla="*/ 1320 h 1323"/>
                      <a:gd name="T10" fmla="*/ 15 w 662"/>
                      <a:gd name="T11" fmla="*/ 1317 h 1323"/>
                      <a:gd name="T12" fmla="*/ 10 w 662"/>
                      <a:gd name="T13" fmla="*/ 1313 h 1323"/>
                      <a:gd name="T14" fmla="*/ 6 w 662"/>
                      <a:gd name="T15" fmla="*/ 1308 h 1323"/>
                      <a:gd name="T16" fmla="*/ 3 w 662"/>
                      <a:gd name="T17" fmla="*/ 1302 h 1323"/>
                      <a:gd name="T18" fmla="*/ 2 w 662"/>
                      <a:gd name="T19" fmla="*/ 1296 h 1323"/>
                      <a:gd name="T20" fmla="*/ 0 w 662"/>
                      <a:gd name="T21" fmla="*/ 1290 h 1323"/>
                      <a:gd name="T22" fmla="*/ 0 w 662"/>
                      <a:gd name="T23" fmla="*/ 33 h 1323"/>
                      <a:gd name="T24" fmla="*/ 0 w 662"/>
                      <a:gd name="T25" fmla="*/ 33 h 1323"/>
                      <a:gd name="T26" fmla="*/ 2 w 662"/>
                      <a:gd name="T27" fmla="*/ 26 h 1323"/>
                      <a:gd name="T28" fmla="*/ 3 w 662"/>
                      <a:gd name="T29" fmla="*/ 20 h 1323"/>
                      <a:gd name="T30" fmla="*/ 6 w 662"/>
                      <a:gd name="T31" fmla="*/ 14 h 1323"/>
                      <a:gd name="T32" fmla="*/ 10 w 662"/>
                      <a:gd name="T33" fmla="*/ 9 h 1323"/>
                      <a:gd name="T34" fmla="*/ 15 w 662"/>
                      <a:gd name="T35" fmla="*/ 5 h 1323"/>
                      <a:gd name="T36" fmla="*/ 20 w 662"/>
                      <a:gd name="T37" fmla="*/ 2 h 1323"/>
                      <a:gd name="T38" fmla="*/ 26 w 662"/>
                      <a:gd name="T39" fmla="*/ 0 h 1323"/>
                      <a:gd name="T40" fmla="*/ 34 w 662"/>
                      <a:gd name="T41" fmla="*/ 0 h 1323"/>
                      <a:gd name="T42" fmla="*/ 629 w 662"/>
                      <a:gd name="T43" fmla="*/ 0 h 1323"/>
                      <a:gd name="T44" fmla="*/ 629 w 662"/>
                      <a:gd name="T45" fmla="*/ 0 h 1323"/>
                      <a:gd name="T46" fmla="*/ 635 w 662"/>
                      <a:gd name="T47" fmla="*/ 0 h 1323"/>
                      <a:gd name="T48" fmla="*/ 641 w 662"/>
                      <a:gd name="T49" fmla="*/ 2 h 1323"/>
                      <a:gd name="T50" fmla="*/ 647 w 662"/>
                      <a:gd name="T51" fmla="*/ 5 h 1323"/>
                      <a:gd name="T52" fmla="*/ 652 w 662"/>
                      <a:gd name="T53" fmla="*/ 9 h 1323"/>
                      <a:gd name="T54" fmla="*/ 657 w 662"/>
                      <a:gd name="T55" fmla="*/ 14 h 1323"/>
                      <a:gd name="T56" fmla="*/ 659 w 662"/>
                      <a:gd name="T57" fmla="*/ 20 h 1323"/>
                      <a:gd name="T58" fmla="*/ 661 w 662"/>
                      <a:gd name="T59" fmla="*/ 26 h 1323"/>
                      <a:gd name="T60" fmla="*/ 662 w 662"/>
                      <a:gd name="T61" fmla="*/ 33 h 1323"/>
                      <a:gd name="T62" fmla="*/ 662 w 662"/>
                      <a:gd name="T63" fmla="*/ 1290 h 1323"/>
                      <a:gd name="T64" fmla="*/ 662 w 662"/>
                      <a:gd name="T65" fmla="*/ 1290 h 1323"/>
                      <a:gd name="T66" fmla="*/ 661 w 662"/>
                      <a:gd name="T67" fmla="*/ 1296 h 1323"/>
                      <a:gd name="T68" fmla="*/ 659 w 662"/>
                      <a:gd name="T69" fmla="*/ 1302 h 1323"/>
                      <a:gd name="T70" fmla="*/ 657 w 662"/>
                      <a:gd name="T71" fmla="*/ 1308 h 1323"/>
                      <a:gd name="T72" fmla="*/ 652 w 662"/>
                      <a:gd name="T73" fmla="*/ 1313 h 1323"/>
                      <a:gd name="T74" fmla="*/ 647 w 662"/>
                      <a:gd name="T75" fmla="*/ 1317 h 1323"/>
                      <a:gd name="T76" fmla="*/ 641 w 662"/>
                      <a:gd name="T77" fmla="*/ 1320 h 1323"/>
                      <a:gd name="T78" fmla="*/ 635 w 662"/>
                      <a:gd name="T79" fmla="*/ 1322 h 1323"/>
                      <a:gd name="T80" fmla="*/ 629 w 662"/>
                      <a:gd name="T81" fmla="*/ 1323 h 1323"/>
                      <a:gd name="T82" fmla="*/ 629 w 662"/>
                      <a:gd name="T83" fmla="*/ 1323 h 1323"/>
                      <a:gd name="T84" fmla="*/ 67 w 662"/>
                      <a:gd name="T85" fmla="*/ 1257 h 1323"/>
                      <a:gd name="T86" fmla="*/ 596 w 662"/>
                      <a:gd name="T87" fmla="*/ 1257 h 1323"/>
                      <a:gd name="T88" fmla="*/ 596 w 662"/>
                      <a:gd name="T89" fmla="*/ 66 h 1323"/>
                      <a:gd name="T90" fmla="*/ 67 w 662"/>
                      <a:gd name="T91" fmla="*/ 66 h 1323"/>
                      <a:gd name="T92" fmla="*/ 67 w 662"/>
                      <a:gd name="T93" fmla="*/ 1257 h 1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2" h="1323">
                        <a:moveTo>
                          <a:pt x="629" y="1323"/>
                        </a:moveTo>
                        <a:lnTo>
                          <a:pt x="34" y="1323"/>
                        </a:lnTo>
                        <a:lnTo>
                          <a:pt x="34" y="1323"/>
                        </a:lnTo>
                        <a:lnTo>
                          <a:pt x="26" y="1322"/>
                        </a:lnTo>
                        <a:lnTo>
                          <a:pt x="20" y="1320"/>
                        </a:lnTo>
                        <a:lnTo>
                          <a:pt x="15" y="1317"/>
                        </a:lnTo>
                        <a:lnTo>
                          <a:pt x="10" y="1313"/>
                        </a:lnTo>
                        <a:lnTo>
                          <a:pt x="6" y="1308"/>
                        </a:lnTo>
                        <a:lnTo>
                          <a:pt x="3" y="1302"/>
                        </a:lnTo>
                        <a:lnTo>
                          <a:pt x="2" y="1296"/>
                        </a:lnTo>
                        <a:lnTo>
                          <a:pt x="0" y="1290"/>
                        </a:lnTo>
                        <a:lnTo>
                          <a:pt x="0" y="33"/>
                        </a:lnTo>
                        <a:lnTo>
                          <a:pt x="0" y="33"/>
                        </a:lnTo>
                        <a:lnTo>
                          <a:pt x="2" y="26"/>
                        </a:lnTo>
                        <a:lnTo>
                          <a:pt x="3" y="20"/>
                        </a:lnTo>
                        <a:lnTo>
                          <a:pt x="6" y="14"/>
                        </a:lnTo>
                        <a:lnTo>
                          <a:pt x="10" y="9"/>
                        </a:lnTo>
                        <a:lnTo>
                          <a:pt x="15" y="5"/>
                        </a:lnTo>
                        <a:lnTo>
                          <a:pt x="20" y="2"/>
                        </a:lnTo>
                        <a:lnTo>
                          <a:pt x="26" y="0"/>
                        </a:lnTo>
                        <a:lnTo>
                          <a:pt x="34" y="0"/>
                        </a:lnTo>
                        <a:lnTo>
                          <a:pt x="629" y="0"/>
                        </a:lnTo>
                        <a:lnTo>
                          <a:pt x="629" y="0"/>
                        </a:lnTo>
                        <a:lnTo>
                          <a:pt x="635" y="0"/>
                        </a:lnTo>
                        <a:lnTo>
                          <a:pt x="641" y="2"/>
                        </a:lnTo>
                        <a:lnTo>
                          <a:pt x="647" y="5"/>
                        </a:lnTo>
                        <a:lnTo>
                          <a:pt x="652" y="9"/>
                        </a:lnTo>
                        <a:lnTo>
                          <a:pt x="657" y="14"/>
                        </a:lnTo>
                        <a:lnTo>
                          <a:pt x="659" y="20"/>
                        </a:lnTo>
                        <a:lnTo>
                          <a:pt x="661" y="26"/>
                        </a:lnTo>
                        <a:lnTo>
                          <a:pt x="662" y="33"/>
                        </a:lnTo>
                        <a:lnTo>
                          <a:pt x="662" y="1290"/>
                        </a:lnTo>
                        <a:lnTo>
                          <a:pt x="662" y="1290"/>
                        </a:lnTo>
                        <a:lnTo>
                          <a:pt x="661" y="1296"/>
                        </a:lnTo>
                        <a:lnTo>
                          <a:pt x="659" y="1302"/>
                        </a:lnTo>
                        <a:lnTo>
                          <a:pt x="657" y="1308"/>
                        </a:lnTo>
                        <a:lnTo>
                          <a:pt x="652" y="1313"/>
                        </a:lnTo>
                        <a:lnTo>
                          <a:pt x="647" y="1317"/>
                        </a:lnTo>
                        <a:lnTo>
                          <a:pt x="641" y="1320"/>
                        </a:lnTo>
                        <a:lnTo>
                          <a:pt x="635" y="1322"/>
                        </a:lnTo>
                        <a:lnTo>
                          <a:pt x="629" y="1323"/>
                        </a:lnTo>
                        <a:lnTo>
                          <a:pt x="629" y="1323"/>
                        </a:lnTo>
                        <a:close/>
                        <a:moveTo>
                          <a:pt x="67" y="1257"/>
                        </a:moveTo>
                        <a:lnTo>
                          <a:pt x="596" y="1257"/>
                        </a:lnTo>
                        <a:lnTo>
                          <a:pt x="596" y="66"/>
                        </a:lnTo>
                        <a:lnTo>
                          <a:pt x="67" y="66"/>
                        </a:lnTo>
                        <a:lnTo>
                          <a:pt x="67" y="1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90" name="Freeform 59">
                    <a:extLst>
                      <a:ext uri="{FF2B5EF4-FFF2-40B4-BE49-F238E27FC236}">
                        <a16:creationId xmlns:a16="http://schemas.microsoft.com/office/drawing/2014/main" id="{ADB50028-AA81-7B86-2B4D-9301451A378C}"/>
                      </a:ext>
                    </a:extLst>
                  </p:cNvPr>
                  <p:cNvSpPr>
                    <a:spLocks noEditPoints="1"/>
                  </p:cNvSpPr>
                  <p:nvPr/>
                </p:nvSpPr>
                <p:spPr bwMode="auto">
                  <a:xfrm>
                    <a:off x="4386263" y="2724151"/>
                    <a:ext cx="74613" cy="165100"/>
                  </a:xfrm>
                  <a:custGeom>
                    <a:avLst/>
                    <a:gdLst>
                      <a:gd name="T0" fmla="*/ 297 w 330"/>
                      <a:gd name="T1" fmla="*/ 728 h 728"/>
                      <a:gd name="T2" fmla="*/ 33 w 330"/>
                      <a:gd name="T3" fmla="*/ 728 h 728"/>
                      <a:gd name="T4" fmla="*/ 33 w 330"/>
                      <a:gd name="T5" fmla="*/ 728 h 728"/>
                      <a:gd name="T6" fmla="*/ 26 w 330"/>
                      <a:gd name="T7" fmla="*/ 727 h 728"/>
                      <a:gd name="T8" fmla="*/ 20 w 330"/>
                      <a:gd name="T9" fmla="*/ 725 h 728"/>
                      <a:gd name="T10" fmla="*/ 14 w 330"/>
                      <a:gd name="T11" fmla="*/ 722 h 728"/>
                      <a:gd name="T12" fmla="*/ 9 w 330"/>
                      <a:gd name="T13" fmla="*/ 718 h 728"/>
                      <a:gd name="T14" fmla="*/ 5 w 330"/>
                      <a:gd name="T15" fmla="*/ 713 h 728"/>
                      <a:gd name="T16" fmla="*/ 2 w 330"/>
                      <a:gd name="T17" fmla="*/ 707 h 728"/>
                      <a:gd name="T18" fmla="*/ 1 w 330"/>
                      <a:gd name="T19" fmla="*/ 701 h 728"/>
                      <a:gd name="T20" fmla="*/ 0 w 330"/>
                      <a:gd name="T21" fmla="*/ 695 h 728"/>
                      <a:gd name="T22" fmla="*/ 0 w 330"/>
                      <a:gd name="T23" fmla="*/ 33 h 728"/>
                      <a:gd name="T24" fmla="*/ 0 w 330"/>
                      <a:gd name="T25" fmla="*/ 33 h 728"/>
                      <a:gd name="T26" fmla="*/ 1 w 330"/>
                      <a:gd name="T27" fmla="*/ 26 h 728"/>
                      <a:gd name="T28" fmla="*/ 2 w 330"/>
                      <a:gd name="T29" fmla="*/ 20 h 728"/>
                      <a:gd name="T30" fmla="*/ 5 w 330"/>
                      <a:gd name="T31" fmla="*/ 15 h 728"/>
                      <a:gd name="T32" fmla="*/ 9 w 330"/>
                      <a:gd name="T33" fmla="*/ 9 h 728"/>
                      <a:gd name="T34" fmla="*/ 14 w 330"/>
                      <a:gd name="T35" fmla="*/ 5 h 728"/>
                      <a:gd name="T36" fmla="*/ 20 w 330"/>
                      <a:gd name="T37" fmla="*/ 2 h 728"/>
                      <a:gd name="T38" fmla="*/ 26 w 330"/>
                      <a:gd name="T39" fmla="*/ 1 h 728"/>
                      <a:gd name="T40" fmla="*/ 33 w 330"/>
                      <a:gd name="T41" fmla="*/ 0 h 728"/>
                      <a:gd name="T42" fmla="*/ 297 w 330"/>
                      <a:gd name="T43" fmla="*/ 0 h 728"/>
                      <a:gd name="T44" fmla="*/ 297 w 330"/>
                      <a:gd name="T45" fmla="*/ 0 h 728"/>
                      <a:gd name="T46" fmla="*/ 304 w 330"/>
                      <a:gd name="T47" fmla="*/ 1 h 728"/>
                      <a:gd name="T48" fmla="*/ 310 w 330"/>
                      <a:gd name="T49" fmla="*/ 2 h 728"/>
                      <a:gd name="T50" fmla="*/ 316 w 330"/>
                      <a:gd name="T51" fmla="*/ 5 h 728"/>
                      <a:gd name="T52" fmla="*/ 321 w 330"/>
                      <a:gd name="T53" fmla="*/ 9 h 728"/>
                      <a:gd name="T54" fmla="*/ 325 w 330"/>
                      <a:gd name="T55" fmla="*/ 15 h 728"/>
                      <a:gd name="T56" fmla="*/ 328 w 330"/>
                      <a:gd name="T57" fmla="*/ 20 h 728"/>
                      <a:gd name="T58" fmla="*/ 330 w 330"/>
                      <a:gd name="T59" fmla="*/ 26 h 728"/>
                      <a:gd name="T60" fmla="*/ 330 w 330"/>
                      <a:gd name="T61" fmla="*/ 33 h 728"/>
                      <a:gd name="T62" fmla="*/ 330 w 330"/>
                      <a:gd name="T63" fmla="*/ 695 h 728"/>
                      <a:gd name="T64" fmla="*/ 330 w 330"/>
                      <a:gd name="T65" fmla="*/ 695 h 728"/>
                      <a:gd name="T66" fmla="*/ 330 w 330"/>
                      <a:gd name="T67" fmla="*/ 701 h 728"/>
                      <a:gd name="T68" fmla="*/ 328 w 330"/>
                      <a:gd name="T69" fmla="*/ 707 h 728"/>
                      <a:gd name="T70" fmla="*/ 325 w 330"/>
                      <a:gd name="T71" fmla="*/ 713 h 728"/>
                      <a:gd name="T72" fmla="*/ 321 w 330"/>
                      <a:gd name="T73" fmla="*/ 718 h 728"/>
                      <a:gd name="T74" fmla="*/ 316 w 330"/>
                      <a:gd name="T75" fmla="*/ 722 h 728"/>
                      <a:gd name="T76" fmla="*/ 310 w 330"/>
                      <a:gd name="T77" fmla="*/ 725 h 728"/>
                      <a:gd name="T78" fmla="*/ 304 w 330"/>
                      <a:gd name="T79" fmla="*/ 727 h 728"/>
                      <a:gd name="T80" fmla="*/ 297 w 330"/>
                      <a:gd name="T81" fmla="*/ 728 h 728"/>
                      <a:gd name="T82" fmla="*/ 297 w 330"/>
                      <a:gd name="T83" fmla="*/ 728 h 728"/>
                      <a:gd name="T84" fmla="*/ 66 w 330"/>
                      <a:gd name="T85" fmla="*/ 662 h 728"/>
                      <a:gd name="T86" fmla="*/ 264 w 330"/>
                      <a:gd name="T87" fmla="*/ 662 h 728"/>
                      <a:gd name="T88" fmla="*/ 264 w 330"/>
                      <a:gd name="T89" fmla="*/ 66 h 728"/>
                      <a:gd name="T90" fmla="*/ 66 w 330"/>
                      <a:gd name="T91" fmla="*/ 66 h 728"/>
                      <a:gd name="T92" fmla="*/ 66 w 330"/>
                      <a:gd name="T93" fmla="*/ 66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728">
                        <a:moveTo>
                          <a:pt x="297" y="728"/>
                        </a:moveTo>
                        <a:lnTo>
                          <a:pt x="33" y="728"/>
                        </a:lnTo>
                        <a:lnTo>
                          <a:pt x="33" y="728"/>
                        </a:lnTo>
                        <a:lnTo>
                          <a:pt x="26" y="727"/>
                        </a:lnTo>
                        <a:lnTo>
                          <a:pt x="20" y="725"/>
                        </a:lnTo>
                        <a:lnTo>
                          <a:pt x="14" y="722"/>
                        </a:lnTo>
                        <a:lnTo>
                          <a:pt x="9" y="718"/>
                        </a:lnTo>
                        <a:lnTo>
                          <a:pt x="5" y="713"/>
                        </a:lnTo>
                        <a:lnTo>
                          <a:pt x="2" y="707"/>
                        </a:lnTo>
                        <a:lnTo>
                          <a:pt x="1" y="701"/>
                        </a:lnTo>
                        <a:lnTo>
                          <a:pt x="0" y="695"/>
                        </a:lnTo>
                        <a:lnTo>
                          <a:pt x="0" y="33"/>
                        </a:lnTo>
                        <a:lnTo>
                          <a:pt x="0" y="33"/>
                        </a:lnTo>
                        <a:lnTo>
                          <a:pt x="1" y="26"/>
                        </a:lnTo>
                        <a:lnTo>
                          <a:pt x="2" y="20"/>
                        </a:lnTo>
                        <a:lnTo>
                          <a:pt x="5" y="15"/>
                        </a:lnTo>
                        <a:lnTo>
                          <a:pt x="9" y="9"/>
                        </a:lnTo>
                        <a:lnTo>
                          <a:pt x="14" y="5"/>
                        </a:lnTo>
                        <a:lnTo>
                          <a:pt x="20" y="2"/>
                        </a:lnTo>
                        <a:lnTo>
                          <a:pt x="26" y="1"/>
                        </a:lnTo>
                        <a:lnTo>
                          <a:pt x="33" y="0"/>
                        </a:lnTo>
                        <a:lnTo>
                          <a:pt x="297" y="0"/>
                        </a:lnTo>
                        <a:lnTo>
                          <a:pt x="297" y="0"/>
                        </a:lnTo>
                        <a:lnTo>
                          <a:pt x="304" y="1"/>
                        </a:lnTo>
                        <a:lnTo>
                          <a:pt x="310" y="2"/>
                        </a:lnTo>
                        <a:lnTo>
                          <a:pt x="316" y="5"/>
                        </a:lnTo>
                        <a:lnTo>
                          <a:pt x="321" y="9"/>
                        </a:lnTo>
                        <a:lnTo>
                          <a:pt x="325" y="15"/>
                        </a:lnTo>
                        <a:lnTo>
                          <a:pt x="328" y="20"/>
                        </a:lnTo>
                        <a:lnTo>
                          <a:pt x="330" y="26"/>
                        </a:lnTo>
                        <a:lnTo>
                          <a:pt x="330" y="33"/>
                        </a:lnTo>
                        <a:lnTo>
                          <a:pt x="330" y="695"/>
                        </a:lnTo>
                        <a:lnTo>
                          <a:pt x="330" y="695"/>
                        </a:lnTo>
                        <a:lnTo>
                          <a:pt x="330" y="701"/>
                        </a:lnTo>
                        <a:lnTo>
                          <a:pt x="328" y="707"/>
                        </a:lnTo>
                        <a:lnTo>
                          <a:pt x="325" y="713"/>
                        </a:lnTo>
                        <a:lnTo>
                          <a:pt x="321" y="718"/>
                        </a:lnTo>
                        <a:lnTo>
                          <a:pt x="316" y="722"/>
                        </a:lnTo>
                        <a:lnTo>
                          <a:pt x="310" y="725"/>
                        </a:lnTo>
                        <a:lnTo>
                          <a:pt x="304" y="727"/>
                        </a:lnTo>
                        <a:lnTo>
                          <a:pt x="297" y="728"/>
                        </a:lnTo>
                        <a:lnTo>
                          <a:pt x="297" y="728"/>
                        </a:lnTo>
                        <a:close/>
                        <a:moveTo>
                          <a:pt x="66" y="662"/>
                        </a:moveTo>
                        <a:lnTo>
                          <a:pt x="264" y="662"/>
                        </a:lnTo>
                        <a:lnTo>
                          <a:pt x="264" y="66"/>
                        </a:lnTo>
                        <a:lnTo>
                          <a:pt x="66" y="66"/>
                        </a:lnTo>
                        <a:lnTo>
                          <a:pt x="66" y="6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91" name="Freeform 60">
                    <a:extLst>
                      <a:ext uri="{FF2B5EF4-FFF2-40B4-BE49-F238E27FC236}">
                        <a16:creationId xmlns:a16="http://schemas.microsoft.com/office/drawing/2014/main" id="{8F417562-7E27-AF4A-C4B7-45675CE517AC}"/>
                      </a:ext>
                    </a:extLst>
                  </p:cNvPr>
                  <p:cNvSpPr>
                    <a:spLocks noEditPoints="1"/>
                  </p:cNvSpPr>
                  <p:nvPr/>
                </p:nvSpPr>
                <p:spPr bwMode="auto">
                  <a:xfrm>
                    <a:off x="4130675" y="2724151"/>
                    <a:ext cx="76200" cy="165100"/>
                  </a:xfrm>
                  <a:custGeom>
                    <a:avLst/>
                    <a:gdLst>
                      <a:gd name="T0" fmla="*/ 297 w 330"/>
                      <a:gd name="T1" fmla="*/ 728 h 728"/>
                      <a:gd name="T2" fmla="*/ 32 w 330"/>
                      <a:gd name="T3" fmla="*/ 728 h 728"/>
                      <a:gd name="T4" fmla="*/ 32 w 330"/>
                      <a:gd name="T5" fmla="*/ 728 h 728"/>
                      <a:gd name="T6" fmla="*/ 26 w 330"/>
                      <a:gd name="T7" fmla="*/ 727 h 728"/>
                      <a:gd name="T8" fmla="*/ 20 w 330"/>
                      <a:gd name="T9" fmla="*/ 725 h 728"/>
                      <a:gd name="T10" fmla="*/ 15 w 330"/>
                      <a:gd name="T11" fmla="*/ 722 h 728"/>
                      <a:gd name="T12" fmla="*/ 9 w 330"/>
                      <a:gd name="T13" fmla="*/ 718 h 728"/>
                      <a:gd name="T14" fmla="*/ 5 w 330"/>
                      <a:gd name="T15" fmla="*/ 713 h 728"/>
                      <a:gd name="T16" fmla="*/ 2 w 330"/>
                      <a:gd name="T17" fmla="*/ 707 h 728"/>
                      <a:gd name="T18" fmla="*/ 0 w 330"/>
                      <a:gd name="T19" fmla="*/ 701 h 728"/>
                      <a:gd name="T20" fmla="*/ 0 w 330"/>
                      <a:gd name="T21" fmla="*/ 695 h 728"/>
                      <a:gd name="T22" fmla="*/ 0 w 330"/>
                      <a:gd name="T23" fmla="*/ 33 h 728"/>
                      <a:gd name="T24" fmla="*/ 0 w 330"/>
                      <a:gd name="T25" fmla="*/ 33 h 728"/>
                      <a:gd name="T26" fmla="*/ 0 w 330"/>
                      <a:gd name="T27" fmla="*/ 26 h 728"/>
                      <a:gd name="T28" fmla="*/ 2 w 330"/>
                      <a:gd name="T29" fmla="*/ 20 h 728"/>
                      <a:gd name="T30" fmla="*/ 5 w 330"/>
                      <a:gd name="T31" fmla="*/ 15 h 728"/>
                      <a:gd name="T32" fmla="*/ 9 w 330"/>
                      <a:gd name="T33" fmla="*/ 9 h 728"/>
                      <a:gd name="T34" fmla="*/ 15 w 330"/>
                      <a:gd name="T35" fmla="*/ 5 h 728"/>
                      <a:gd name="T36" fmla="*/ 20 w 330"/>
                      <a:gd name="T37" fmla="*/ 2 h 728"/>
                      <a:gd name="T38" fmla="*/ 26 w 330"/>
                      <a:gd name="T39" fmla="*/ 1 h 728"/>
                      <a:gd name="T40" fmla="*/ 32 w 330"/>
                      <a:gd name="T41" fmla="*/ 0 h 728"/>
                      <a:gd name="T42" fmla="*/ 297 w 330"/>
                      <a:gd name="T43" fmla="*/ 0 h 728"/>
                      <a:gd name="T44" fmla="*/ 297 w 330"/>
                      <a:gd name="T45" fmla="*/ 0 h 728"/>
                      <a:gd name="T46" fmla="*/ 304 w 330"/>
                      <a:gd name="T47" fmla="*/ 1 h 728"/>
                      <a:gd name="T48" fmla="*/ 311 w 330"/>
                      <a:gd name="T49" fmla="*/ 2 h 728"/>
                      <a:gd name="T50" fmla="*/ 316 w 330"/>
                      <a:gd name="T51" fmla="*/ 5 h 728"/>
                      <a:gd name="T52" fmla="*/ 321 w 330"/>
                      <a:gd name="T53" fmla="*/ 9 h 728"/>
                      <a:gd name="T54" fmla="*/ 325 w 330"/>
                      <a:gd name="T55" fmla="*/ 15 h 728"/>
                      <a:gd name="T56" fmla="*/ 328 w 330"/>
                      <a:gd name="T57" fmla="*/ 20 h 728"/>
                      <a:gd name="T58" fmla="*/ 329 w 330"/>
                      <a:gd name="T59" fmla="*/ 26 h 728"/>
                      <a:gd name="T60" fmla="*/ 330 w 330"/>
                      <a:gd name="T61" fmla="*/ 33 h 728"/>
                      <a:gd name="T62" fmla="*/ 330 w 330"/>
                      <a:gd name="T63" fmla="*/ 695 h 728"/>
                      <a:gd name="T64" fmla="*/ 330 w 330"/>
                      <a:gd name="T65" fmla="*/ 695 h 728"/>
                      <a:gd name="T66" fmla="*/ 329 w 330"/>
                      <a:gd name="T67" fmla="*/ 701 h 728"/>
                      <a:gd name="T68" fmla="*/ 328 w 330"/>
                      <a:gd name="T69" fmla="*/ 707 h 728"/>
                      <a:gd name="T70" fmla="*/ 325 w 330"/>
                      <a:gd name="T71" fmla="*/ 713 h 728"/>
                      <a:gd name="T72" fmla="*/ 321 w 330"/>
                      <a:gd name="T73" fmla="*/ 718 h 728"/>
                      <a:gd name="T74" fmla="*/ 316 w 330"/>
                      <a:gd name="T75" fmla="*/ 722 h 728"/>
                      <a:gd name="T76" fmla="*/ 311 w 330"/>
                      <a:gd name="T77" fmla="*/ 725 h 728"/>
                      <a:gd name="T78" fmla="*/ 304 w 330"/>
                      <a:gd name="T79" fmla="*/ 727 h 728"/>
                      <a:gd name="T80" fmla="*/ 297 w 330"/>
                      <a:gd name="T81" fmla="*/ 728 h 728"/>
                      <a:gd name="T82" fmla="*/ 297 w 330"/>
                      <a:gd name="T83" fmla="*/ 728 h 728"/>
                      <a:gd name="T84" fmla="*/ 65 w 330"/>
                      <a:gd name="T85" fmla="*/ 662 h 728"/>
                      <a:gd name="T86" fmla="*/ 264 w 330"/>
                      <a:gd name="T87" fmla="*/ 662 h 728"/>
                      <a:gd name="T88" fmla="*/ 264 w 330"/>
                      <a:gd name="T89" fmla="*/ 66 h 728"/>
                      <a:gd name="T90" fmla="*/ 65 w 330"/>
                      <a:gd name="T91" fmla="*/ 66 h 728"/>
                      <a:gd name="T92" fmla="*/ 65 w 330"/>
                      <a:gd name="T93" fmla="*/ 66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728">
                        <a:moveTo>
                          <a:pt x="297" y="728"/>
                        </a:moveTo>
                        <a:lnTo>
                          <a:pt x="32" y="728"/>
                        </a:lnTo>
                        <a:lnTo>
                          <a:pt x="32" y="728"/>
                        </a:lnTo>
                        <a:lnTo>
                          <a:pt x="26" y="727"/>
                        </a:lnTo>
                        <a:lnTo>
                          <a:pt x="20" y="725"/>
                        </a:lnTo>
                        <a:lnTo>
                          <a:pt x="15" y="722"/>
                        </a:lnTo>
                        <a:lnTo>
                          <a:pt x="9" y="718"/>
                        </a:lnTo>
                        <a:lnTo>
                          <a:pt x="5" y="713"/>
                        </a:lnTo>
                        <a:lnTo>
                          <a:pt x="2" y="707"/>
                        </a:lnTo>
                        <a:lnTo>
                          <a:pt x="0" y="701"/>
                        </a:lnTo>
                        <a:lnTo>
                          <a:pt x="0" y="695"/>
                        </a:lnTo>
                        <a:lnTo>
                          <a:pt x="0" y="33"/>
                        </a:lnTo>
                        <a:lnTo>
                          <a:pt x="0" y="33"/>
                        </a:lnTo>
                        <a:lnTo>
                          <a:pt x="0" y="26"/>
                        </a:lnTo>
                        <a:lnTo>
                          <a:pt x="2" y="20"/>
                        </a:lnTo>
                        <a:lnTo>
                          <a:pt x="5" y="15"/>
                        </a:lnTo>
                        <a:lnTo>
                          <a:pt x="9" y="9"/>
                        </a:lnTo>
                        <a:lnTo>
                          <a:pt x="15" y="5"/>
                        </a:lnTo>
                        <a:lnTo>
                          <a:pt x="20" y="2"/>
                        </a:lnTo>
                        <a:lnTo>
                          <a:pt x="26" y="1"/>
                        </a:lnTo>
                        <a:lnTo>
                          <a:pt x="32" y="0"/>
                        </a:lnTo>
                        <a:lnTo>
                          <a:pt x="297" y="0"/>
                        </a:lnTo>
                        <a:lnTo>
                          <a:pt x="297" y="0"/>
                        </a:lnTo>
                        <a:lnTo>
                          <a:pt x="304" y="1"/>
                        </a:lnTo>
                        <a:lnTo>
                          <a:pt x="311" y="2"/>
                        </a:lnTo>
                        <a:lnTo>
                          <a:pt x="316" y="5"/>
                        </a:lnTo>
                        <a:lnTo>
                          <a:pt x="321" y="9"/>
                        </a:lnTo>
                        <a:lnTo>
                          <a:pt x="325" y="15"/>
                        </a:lnTo>
                        <a:lnTo>
                          <a:pt x="328" y="20"/>
                        </a:lnTo>
                        <a:lnTo>
                          <a:pt x="329" y="26"/>
                        </a:lnTo>
                        <a:lnTo>
                          <a:pt x="330" y="33"/>
                        </a:lnTo>
                        <a:lnTo>
                          <a:pt x="330" y="695"/>
                        </a:lnTo>
                        <a:lnTo>
                          <a:pt x="330" y="695"/>
                        </a:lnTo>
                        <a:lnTo>
                          <a:pt x="329" y="701"/>
                        </a:lnTo>
                        <a:lnTo>
                          <a:pt x="328" y="707"/>
                        </a:lnTo>
                        <a:lnTo>
                          <a:pt x="325" y="713"/>
                        </a:lnTo>
                        <a:lnTo>
                          <a:pt x="321" y="718"/>
                        </a:lnTo>
                        <a:lnTo>
                          <a:pt x="316" y="722"/>
                        </a:lnTo>
                        <a:lnTo>
                          <a:pt x="311" y="725"/>
                        </a:lnTo>
                        <a:lnTo>
                          <a:pt x="304" y="727"/>
                        </a:lnTo>
                        <a:lnTo>
                          <a:pt x="297" y="728"/>
                        </a:lnTo>
                        <a:lnTo>
                          <a:pt x="297" y="728"/>
                        </a:lnTo>
                        <a:close/>
                        <a:moveTo>
                          <a:pt x="65" y="662"/>
                        </a:moveTo>
                        <a:lnTo>
                          <a:pt x="264" y="662"/>
                        </a:lnTo>
                        <a:lnTo>
                          <a:pt x="264" y="66"/>
                        </a:lnTo>
                        <a:lnTo>
                          <a:pt x="65" y="66"/>
                        </a:lnTo>
                        <a:lnTo>
                          <a:pt x="65" y="6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92" name="Freeform 61">
                    <a:extLst>
                      <a:ext uri="{FF2B5EF4-FFF2-40B4-BE49-F238E27FC236}">
                        <a16:creationId xmlns:a16="http://schemas.microsoft.com/office/drawing/2014/main" id="{3B3F2262-05E8-96D9-6DCE-DB9430E8109F}"/>
                      </a:ext>
                    </a:extLst>
                  </p:cNvPr>
                  <p:cNvSpPr>
                    <a:spLocks/>
                  </p:cNvSpPr>
                  <p:nvPr/>
                </p:nvSpPr>
                <p:spPr bwMode="auto">
                  <a:xfrm>
                    <a:off x="4176713" y="2709864"/>
                    <a:ext cx="14288" cy="30163"/>
                  </a:xfrm>
                  <a:custGeom>
                    <a:avLst/>
                    <a:gdLst>
                      <a:gd name="T0" fmla="*/ 33 w 66"/>
                      <a:gd name="T1" fmla="*/ 132 h 132"/>
                      <a:gd name="T2" fmla="*/ 33 w 66"/>
                      <a:gd name="T3" fmla="*/ 132 h 132"/>
                      <a:gd name="T4" fmla="*/ 27 w 66"/>
                      <a:gd name="T5" fmla="*/ 131 h 132"/>
                      <a:gd name="T6" fmla="*/ 20 w 66"/>
                      <a:gd name="T7" fmla="*/ 129 h 132"/>
                      <a:gd name="T8" fmla="*/ 14 w 66"/>
                      <a:gd name="T9" fmla="*/ 126 h 132"/>
                      <a:gd name="T10" fmla="*/ 10 w 66"/>
                      <a:gd name="T11" fmla="*/ 123 h 132"/>
                      <a:gd name="T12" fmla="*/ 6 w 66"/>
                      <a:gd name="T13" fmla="*/ 118 h 132"/>
                      <a:gd name="T14" fmla="*/ 3 w 66"/>
                      <a:gd name="T15" fmla="*/ 112 h 132"/>
                      <a:gd name="T16" fmla="*/ 1 w 66"/>
                      <a:gd name="T17" fmla="*/ 105 h 132"/>
                      <a:gd name="T18" fmla="*/ 0 w 66"/>
                      <a:gd name="T19" fmla="*/ 99 h 132"/>
                      <a:gd name="T20" fmla="*/ 0 w 66"/>
                      <a:gd name="T21" fmla="*/ 33 h 132"/>
                      <a:gd name="T22" fmla="*/ 0 w 66"/>
                      <a:gd name="T23" fmla="*/ 33 h 132"/>
                      <a:gd name="T24" fmla="*/ 1 w 66"/>
                      <a:gd name="T25" fmla="*/ 27 h 132"/>
                      <a:gd name="T26" fmla="*/ 3 w 66"/>
                      <a:gd name="T27" fmla="*/ 21 h 132"/>
                      <a:gd name="T28" fmla="*/ 6 w 66"/>
                      <a:gd name="T29" fmla="*/ 14 h 132"/>
                      <a:gd name="T30" fmla="*/ 10 w 66"/>
                      <a:gd name="T31" fmla="*/ 9 h 132"/>
                      <a:gd name="T32" fmla="*/ 14 w 66"/>
                      <a:gd name="T33" fmla="*/ 6 h 132"/>
                      <a:gd name="T34" fmla="*/ 20 w 66"/>
                      <a:gd name="T35" fmla="*/ 3 h 132"/>
                      <a:gd name="T36" fmla="*/ 27 w 66"/>
                      <a:gd name="T37" fmla="*/ 1 h 132"/>
                      <a:gd name="T38" fmla="*/ 33 w 66"/>
                      <a:gd name="T39" fmla="*/ 0 h 132"/>
                      <a:gd name="T40" fmla="*/ 33 w 66"/>
                      <a:gd name="T41" fmla="*/ 0 h 132"/>
                      <a:gd name="T42" fmla="*/ 40 w 66"/>
                      <a:gd name="T43" fmla="*/ 1 h 132"/>
                      <a:gd name="T44" fmla="*/ 46 w 66"/>
                      <a:gd name="T45" fmla="*/ 3 h 132"/>
                      <a:gd name="T46" fmla="*/ 52 w 66"/>
                      <a:gd name="T47" fmla="*/ 6 h 132"/>
                      <a:gd name="T48" fmla="*/ 57 w 66"/>
                      <a:gd name="T49" fmla="*/ 9 h 132"/>
                      <a:gd name="T50" fmla="*/ 61 w 66"/>
                      <a:gd name="T51" fmla="*/ 14 h 132"/>
                      <a:gd name="T52" fmla="*/ 64 w 66"/>
                      <a:gd name="T53" fmla="*/ 21 h 132"/>
                      <a:gd name="T54" fmla="*/ 65 w 66"/>
                      <a:gd name="T55" fmla="*/ 27 h 132"/>
                      <a:gd name="T56" fmla="*/ 66 w 66"/>
                      <a:gd name="T57" fmla="*/ 33 h 132"/>
                      <a:gd name="T58" fmla="*/ 66 w 66"/>
                      <a:gd name="T59" fmla="*/ 99 h 132"/>
                      <a:gd name="T60" fmla="*/ 66 w 66"/>
                      <a:gd name="T61" fmla="*/ 99 h 132"/>
                      <a:gd name="T62" fmla="*/ 65 w 66"/>
                      <a:gd name="T63" fmla="*/ 105 h 132"/>
                      <a:gd name="T64" fmla="*/ 64 w 66"/>
                      <a:gd name="T65" fmla="*/ 112 h 132"/>
                      <a:gd name="T66" fmla="*/ 61 w 66"/>
                      <a:gd name="T67" fmla="*/ 118 h 132"/>
                      <a:gd name="T68" fmla="*/ 57 w 66"/>
                      <a:gd name="T69" fmla="*/ 123 h 132"/>
                      <a:gd name="T70" fmla="*/ 52 w 66"/>
                      <a:gd name="T71" fmla="*/ 126 h 132"/>
                      <a:gd name="T72" fmla="*/ 46 w 66"/>
                      <a:gd name="T73" fmla="*/ 129 h 132"/>
                      <a:gd name="T74" fmla="*/ 40 w 66"/>
                      <a:gd name="T75" fmla="*/ 131 h 132"/>
                      <a:gd name="T76" fmla="*/ 33 w 66"/>
                      <a:gd name="T77" fmla="*/ 132 h 132"/>
                      <a:gd name="T78" fmla="*/ 33 w 66"/>
                      <a:gd name="T7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32">
                        <a:moveTo>
                          <a:pt x="33" y="132"/>
                        </a:moveTo>
                        <a:lnTo>
                          <a:pt x="33" y="132"/>
                        </a:lnTo>
                        <a:lnTo>
                          <a:pt x="27" y="131"/>
                        </a:lnTo>
                        <a:lnTo>
                          <a:pt x="20" y="129"/>
                        </a:lnTo>
                        <a:lnTo>
                          <a:pt x="14" y="126"/>
                        </a:lnTo>
                        <a:lnTo>
                          <a:pt x="10" y="123"/>
                        </a:lnTo>
                        <a:lnTo>
                          <a:pt x="6" y="118"/>
                        </a:lnTo>
                        <a:lnTo>
                          <a:pt x="3" y="112"/>
                        </a:lnTo>
                        <a:lnTo>
                          <a:pt x="1" y="105"/>
                        </a:lnTo>
                        <a:lnTo>
                          <a:pt x="0" y="99"/>
                        </a:lnTo>
                        <a:lnTo>
                          <a:pt x="0" y="33"/>
                        </a:lnTo>
                        <a:lnTo>
                          <a:pt x="0" y="33"/>
                        </a:lnTo>
                        <a:lnTo>
                          <a:pt x="1" y="27"/>
                        </a:lnTo>
                        <a:lnTo>
                          <a:pt x="3" y="21"/>
                        </a:lnTo>
                        <a:lnTo>
                          <a:pt x="6" y="14"/>
                        </a:lnTo>
                        <a:lnTo>
                          <a:pt x="10" y="9"/>
                        </a:lnTo>
                        <a:lnTo>
                          <a:pt x="14" y="6"/>
                        </a:lnTo>
                        <a:lnTo>
                          <a:pt x="20" y="3"/>
                        </a:lnTo>
                        <a:lnTo>
                          <a:pt x="27" y="1"/>
                        </a:lnTo>
                        <a:lnTo>
                          <a:pt x="33" y="0"/>
                        </a:lnTo>
                        <a:lnTo>
                          <a:pt x="33" y="0"/>
                        </a:lnTo>
                        <a:lnTo>
                          <a:pt x="40" y="1"/>
                        </a:lnTo>
                        <a:lnTo>
                          <a:pt x="46" y="3"/>
                        </a:lnTo>
                        <a:lnTo>
                          <a:pt x="52" y="6"/>
                        </a:lnTo>
                        <a:lnTo>
                          <a:pt x="57" y="9"/>
                        </a:lnTo>
                        <a:lnTo>
                          <a:pt x="61" y="14"/>
                        </a:lnTo>
                        <a:lnTo>
                          <a:pt x="64" y="21"/>
                        </a:lnTo>
                        <a:lnTo>
                          <a:pt x="65" y="27"/>
                        </a:lnTo>
                        <a:lnTo>
                          <a:pt x="66" y="33"/>
                        </a:lnTo>
                        <a:lnTo>
                          <a:pt x="66" y="99"/>
                        </a:lnTo>
                        <a:lnTo>
                          <a:pt x="66" y="99"/>
                        </a:lnTo>
                        <a:lnTo>
                          <a:pt x="65" y="105"/>
                        </a:lnTo>
                        <a:lnTo>
                          <a:pt x="64" y="112"/>
                        </a:lnTo>
                        <a:lnTo>
                          <a:pt x="61" y="118"/>
                        </a:lnTo>
                        <a:lnTo>
                          <a:pt x="57" y="123"/>
                        </a:lnTo>
                        <a:lnTo>
                          <a:pt x="52" y="126"/>
                        </a:lnTo>
                        <a:lnTo>
                          <a:pt x="46" y="129"/>
                        </a:lnTo>
                        <a:lnTo>
                          <a:pt x="40" y="131"/>
                        </a:lnTo>
                        <a:lnTo>
                          <a:pt x="33" y="132"/>
                        </a:lnTo>
                        <a:lnTo>
                          <a:pt x="33"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93" name="Freeform 62">
                    <a:extLst>
                      <a:ext uri="{FF2B5EF4-FFF2-40B4-BE49-F238E27FC236}">
                        <a16:creationId xmlns:a16="http://schemas.microsoft.com/office/drawing/2014/main" id="{1464C0B0-2296-3E52-A52E-90986D093615}"/>
                      </a:ext>
                    </a:extLst>
                  </p:cNvPr>
                  <p:cNvSpPr>
                    <a:spLocks/>
                  </p:cNvSpPr>
                  <p:nvPr/>
                </p:nvSpPr>
                <p:spPr bwMode="auto">
                  <a:xfrm>
                    <a:off x="4400550" y="2709864"/>
                    <a:ext cx="15875" cy="30163"/>
                  </a:xfrm>
                  <a:custGeom>
                    <a:avLst/>
                    <a:gdLst>
                      <a:gd name="T0" fmla="*/ 33 w 66"/>
                      <a:gd name="T1" fmla="*/ 132 h 132"/>
                      <a:gd name="T2" fmla="*/ 33 w 66"/>
                      <a:gd name="T3" fmla="*/ 132 h 132"/>
                      <a:gd name="T4" fmla="*/ 26 w 66"/>
                      <a:gd name="T5" fmla="*/ 131 h 132"/>
                      <a:gd name="T6" fmla="*/ 20 w 66"/>
                      <a:gd name="T7" fmla="*/ 129 h 132"/>
                      <a:gd name="T8" fmla="*/ 15 w 66"/>
                      <a:gd name="T9" fmla="*/ 126 h 132"/>
                      <a:gd name="T10" fmla="*/ 10 w 66"/>
                      <a:gd name="T11" fmla="*/ 123 h 132"/>
                      <a:gd name="T12" fmla="*/ 5 w 66"/>
                      <a:gd name="T13" fmla="*/ 118 h 132"/>
                      <a:gd name="T14" fmla="*/ 2 w 66"/>
                      <a:gd name="T15" fmla="*/ 112 h 132"/>
                      <a:gd name="T16" fmla="*/ 0 w 66"/>
                      <a:gd name="T17" fmla="*/ 105 h 132"/>
                      <a:gd name="T18" fmla="*/ 0 w 66"/>
                      <a:gd name="T19" fmla="*/ 99 h 132"/>
                      <a:gd name="T20" fmla="*/ 0 w 66"/>
                      <a:gd name="T21" fmla="*/ 33 h 132"/>
                      <a:gd name="T22" fmla="*/ 0 w 66"/>
                      <a:gd name="T23" fmla="*/ 33 h 132"/>
                      <a:gd name="T24" fmla="*/ 0 w 66"/>
                      <a:gd name="T25" fmla="*/ 27 h 132"/>
                      <a:gd name="T26" fmla="*/ 2 w 66"/>
                      <a:gd name="T27" fmla="*/ 21 h 132"/>
                      <a:gd name="T28" fmla="*/ 5 w 66"/>
                      <a:gd name="T29" fmla="*/ 14 h 132"/>
                      <a:gd name="T30" fmla="*/ 10 w 66"/>
                      <a:gd name="T31" fmla="*/ 9 h 132"/>
                      <a:gd name="T32" fmla="*/ 15 w 66"/>
                      <a:gd name="T33" fmla="*/ 6 h 132"/>
                      <a:gd name="T34" fmla="*/ 20 w 66"/>
                      <a:gd name="T35" fmla="*/ 3 h 132"/>
                      <a:gd name="T36" fmla="*/ 26 w 66"/>
                      <a:gd name="T37" fmla="*/ 1 h 132"/>
                      <a:gd name="T38" fmla="*/ 33 w 66"/>
                      <a:gd name="T39" fmla="*/ 0 h 132"/>
                      <a:gd name="T40" fmla="*/ 33 w 66"/>
                      <a:gd name="T41" fmla="*/ 0 h 132"/>
                      <a:gd name="T42" fmla="*/ 40 w 66"/>
                      <a:gd name="T43" fmla="*/ 1 h 132"/>
                      <a:gd name="T44" fmla="*/ 46 w 66"/>
                      <a:gd name="T45" fmla="*/ 3 h 132"/>
                      <a:gd name="T46" fmla="*/ 52 w 66"/>
                      <a:gd name="T47" fmla="*/ 6 h 132"/>
                      <a:gd name="T48" fmla="*/ 56 w 66"/>
                      <a:gd name="T49" fmla="*/ 9 h 132"/>
                      <a:gd name="T50" fmla="*/ 60 w 66"/>
                      <a:gd name="T51" fmla="*/ 14 h 132"/>
                      <a:gd name="T52" fmla="*/ 63 w 66"/>
                      <a:gd name="T53" fmla="*/ 21 h 132"/>
                      <a:gd name="T54" fmla="*/ 65 w 66"/>
                      <a:gd name="T55" fmla="*/ 27 h 132"/>
                      <a:gd name="T56" fmla="*/ 66 w 66"/>
                      <a:gd name="T57" fmla="*/ 33 h 132"/>
                      <a:gd name="T58" fmla="*/ 66 w 66"/>
                      <a:gd name="T59" fmla="*/ 99 h 132"/>
                      <a:gd name="T60" fmla="*/ 66 w 66"/>
                      <a:gd name="T61" fmla="*/ 99 h 132"/>
                      <a:gd name="T62" fmla="*/ 65 w 66"/>
                      <a:gd name="T63" fmla="*/ 105 h 132"/>
                      <a:gd name="T64" fmla="*/ 63 w 66"/>
                      <a:gd name="T65" fmla="*/ 112 h 132"/>
                      <a:gd name="T66" fmla="*/ 60 w 66"/>
                      <a:gd name="T67" fmla="*/ 118 h 132"/>
                      <a:gd name="T68" fmla="*/ 56 w 66"/>
                      <a:gd name="T69" fmla="*/ 123 h 132"/>
                      <a:gd name="T70" fmla="*/ 52 w 66"/>
                      <a:gd name="T71" fmla="*/ 126 h 132"/>
                      <a:gd name="T72" fmla="*/ 46 w 66"/>
                      <a:gd name="T73" fmla="*/ 129 h 132"/>
                      <a:gd name="T74" fmla="*/ 40 w 66"/>
                      <a:gd name="T75" fmla="*/ 131 h 132"/>
                      <a:gd name="T76" fmla="*/ 33 w 66"/>
                      <a:gd name="T77" fmla="*/ 132 h 132"/>
                      <a:gd name="T78" fmla="*/ 33 w 66"/>
                      <a:gd name="T7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32">
                        <a:moveTo>
                          <a:pt x="33" y="132"/>
                        </a:moveTo>
                        <a:lnTo>
                          <a:pt x="33" y="132"/>
                        </a:lnTo>
                        <a:lnTo>
                          <a:pt x="26" y="131"/>
                        </a:lnTo>
                        <a:lnTo>
                          <a:pt x="20" y="129"/>
                        </a:lnTo>
                        <a:lnTo>
                          <a:pt x="15" y="126"/>
                        </a:lnTo>
                        <a:lnTo>
                          <a:pt x="10" y="123"/>
                        </a:lnTo>
                        <a:lnTo>
                          <a:pt x="5" y="118"/>
                        </a:lnTo>
                        <a:lnTo>
                          <a:pt x="2" y="112"/>
                        </a:lnTo>
                        <a:lnTo>
                          <a:pt x="0" y="105"/>
                        </a:lnTo>
                        <a:lnTo>
                          <a:pt x="0" y="99"/>
                        </a:lnTo>
                        <a:lnTo>
                          <a:pt x="0" y="33"/>
                        </a:lnTo>
                        <a:lnTo>
                          <a:pt x="0" y="33"/>
                        </a:lnTo>
                        <a:lnTo>
                          <a:pt x="0" y="27"/>
                        </a:lnTo>
                        <a:lnTo>
                          <a:pt x="2" y="21"/>
                        </a:lnTo>
                        <a:lnTo>
                          <a:pt x="5" y="14"/>
                        </a:lnTo>
                        <a:lnTo>
                          <a:pt x="10" y="9"/>
                        </a:lnTo>
                        <a:lnTo>
                          <a:pt x="15" y="6"/>
                        </a:lnTo>
                        <a:lnTo>
                          <a:pt x="20" y="3"/>
                        </a:lnTo>
                        <a:lnTo>
                          <a:pt x="26" y="1"/>
                        </a:lnTo>
                        <a:lnTo>
                          <a:pt x="33" y="0"/>
                        </a:lnTo>
                        <a:lnTo>
                          <a:pt x="33" y="0"/>
                        </a:lnTo>
                        <a:lnTo>
                          <a:pt x="40" y="1"/>
                        </a:lnTo>
                        <a:lnTo>
                          <a:pt x="46" y="3"/>
                        </a:lnTo>
                        <a:lnTo>
                          <a:pt x="52" y="6"/>
                        </a:lnTo>
                        <a:lnTo>
                          <a:pt x="56" y="9"/>
                        </a:lnTo>
                        <a:lnTo>
                          <a:pt x="60" y="14"/>
                        </a:lnTo>
                        <a:lnTo>
                          <a:pt x="63" y="21"/>
                        </a:lnTo>
                        <a:lnTo>
                          <a:pt x="65" y="27"/>
                        </a:lnTo>
                        <a:lnTo>
                          <a:pt x="66" y="33"/>
                        </a:lnTo>
                        <a:lnTo>
                          <a:pt x="66" y="99"/>
                        </a:lnTo>
                        <a:lnTo>
                          <a:pt x="66" y="99"/>
                        </a:lnTo>
                        <a:lnTo>
                          <a:pt x="65" y="105"/>
                        </a:lnTo>
                        <a:lnTo>
                          <a:pt x="63" y="112"/>
                        </a:lnTo>
                        <a:lnTo>
                          <a:pt x="60" y="118"/>
                        </a:lnTo>
                        <a:lnTo>
                          <a:pt x="56" y="123"/>
                        </a:lnTo>
                        <a:lnTo>
                          <a:pt x="52" y="126"/>
                        </a:lnTo>
                        <a:lnTo>
                          <a:pt x="46" y="129"/>
                        </a:lnTo>
                        <a:lnTo>
                          <a:pt x="40" y="131"/>
                        </a:lnTo>
                        <a:lnTo>
                          <a:pt x="33" y="132"/>
                        </a:lnTo>
                        <a:lnTo>
                          <a:pt x="33"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94" name="Freeform 63">
                    <a:extLst>
                      <a:ext uri="{FF2B5EF4-FFF2-40B4-BE49-F238E27FC236}">
                        <a16:creationId xmlns:a16="http://schemas.microsoft.com/office/drawing/2014/main" id="{E31AB768-B0D8-35B8-DAB3-DDA98508839B}"/>
                      </a:ext>
                    </a:extLst>
                  </p:cNvPr>
                  <p:cNvSpPr>
                    <a:spLocks noEditPoints="1"/>
                  </p:cNvSpPr>
                  <p:nvPr/>
                </p:nvSpPr>
                <p:spPr bwMode="auto">
                  <a:xfrm>
                    <a:off x="4265613" y="2559051"/>
                    <a:ext cx="60325" cy="46038"/>
                  </a:xfrm>
                  <a:custGeom>
                    <a:avLst/>
                    <a:gdLst>
                      <a:gd name="T0" fmla="*/ 231 w 264"/>
                      <a:gd name="T1" fmla="*/ 199 h 199"/>
                      <a:gd name="T2" fmla="*/ 33 w 264"/>
                      <a:gd name="T3" fmla="*/ 199 h 199"/>
                      <a:gd name="T4" fmla="*/ 33 w 264"/>
                      <a:gd name="T5" fmla="*/ 199 h 199"/>
                      <a:gd name="T6" fmla="*/ 26 w 264"/>
                      <a:gd name="T7" fmla="*/ 198 h 199"/>
                      <a:gd name="T8" fmla="*/ 20 w 264"/>
                      <a:gd name="T9" fmla="*/ 196 h 199"/>
                      <a:gd name="T10" fmla="*/ 15 w 264"/>
                      <a:gd name="T11" fmla="*/ 193 h 199"/>
                      <a:gd name="T12" fmla="*/ 9 w 264"/>
                      <a:gd name="T13" fmla="*/ 189 h 199"/>
                      <a:gd name="T14" fmla="*/ 5 w 264"/>
                      <a:gd name="T15" fmla="*/ 185 h 199"/>
                      <a:gd name="T16" fmla="*/ 2 w 264"/>
                      <a:gd name="T17" fmla="*/ 178 h 199"/>
                      <a:gd name="T18" fmla="*/ 0 w 264"/>
                      <a:gd name="T19" fmla="*/ 172 h 199"/>
                      <a:gd name="T20" fmla="*/ 0 w 264"/>
                      <a:gd name="T21" fmla="*/ 166 h 199"/>
                      <a:gd name="T22" fmla="*/ 0 w 264"/>
                      <a:gd name="T23" fmla="*/ 34 h 199"/>
                      <a:gd name="T24" fmla="*/ 0 w 264"/>
                      <a:gd name="T25" fmla="*/ 34 h 199"/>
                      <a:gd name="T26" fmla="*/ 0 w 264"/>
                      <a:gd name="T27" fmla="*/ 27 h 199"/>
                      <a:gd name="T28" fmla="*/ 2 w 264"/>
                      <a:gd name="T29" fmla="*/ 21 h 199"/>
                      <a:gd name="T30" fmla="*/ 5 w 264"/>
                      <a:gd name="T31" fmla="*/ 15 h 199"/>
                      <a:gd name="T32" fmla="*/ 9 w 264"/>
                      <a:gd name="T33" fmla="*/ 10 h 199"/>
                      <a:gd name="T34" fmla="*/ 15 w 264"/>
                      <a:gd name="T35" fmla="*/ 6 h 199"/>
                      <a:gd name="T36" fmla="*/ 20 w 264"/>
                      <a:gd name="T37" fmla="*/ 4 h 199"/>
                      <a:gd name="T38" fmla="*/ 26 w 264"/>
                      <a:gd name="T39" fmla="*/ 1 h 199"/>
                      <a:gd name="T40" fmla="*/ 33 w 264"/>
                      <a:gd name="T41" fmla="*/ 0 h 199"/>
                      <a:gd name="T42" fmla="*/ 231 w 264"/>
                      <a:gd name="T43" fmla="*/ 0 h 199"/>
                      <a:gd name="T44" fmla="*/ 231 w 264"/>
                      <a:gd name="T45" fmla="*/ 0 h 199"/>
                      <a:gd name="T46" fmla="*/ 238 w 264"/>
                      <a:gd name="T47" fmla="*/ 1 h 199"/>
                      <a:gd name="T48" fmla="*/ 244 w 264"/>
                      <a:gd name="T49" fmla="*/ 4 h 199"/>
                      <a:gd name="T50" fmla="*/ 250 w 264"/>
                      <a:gd name="T51" fmla="*/ 6 h 199"/>
                      <a:gd name="T52" fmla="*/ 255 w 264"/>
                      <a:gd name="T53" fmla="*/ 10 h 199"/>
                      <a:gd name="T54" fmla="*/ 259 w 264"/>
                      <a:gd name="T55" fmla="*/ 15 h 199"/>
                      <a:gd name="T56" fmla="*/ 262 w 264"/>
                      <a:gd name="T57" fmla="*/ 21 h 199"/>
                      <a:gd name="T58" fmla="*/ 264 w 264"/>
                      <a:gd name="T59" fmla="*/ 27 h 199"/>
                      <a:gd name="T60" fmla="*/ 264 w 264"/>
                      <a:gd name="T61" fmla="*/ 34 h 199"/>
                      <a:gd name="T62" fmla="*/ 264 w 264"/>
                      <a:gd name="T63" fmla="*/ 166 h 199"/>
                      <a:gd name="T64" fmla="*/ 264 w 264"/>
                      <a:gd name="T65" fmla="*/ 166 h 199"/>
                      <a:gd name="T66" fmla="*/ 264 w 264"/>
                      <a:gd name="T67" fmla="*/ 172 h 199"/>
                      <a:gd name="T68" fmla="*/ 262 w 264"/>
                      <a:gd name="T69" fmla="*/ 178 h 199"/>
                      <a:gd name="T70" fmla="*/ 259 w 264"/>
                      <a:gd name="T71" fmla="*/ 185 h 199"/>
                      <a:gd name="T72" fmla="*/ 255 w 264"/>
                      <a:gd name="T73" fmla="*/ 189 h 199"/>
                      <a:gd name="T74" fmla="*/ 250 w 264"/>
                      <a:gd name="T75" fmla="*/ 193 h 199"/>
                      <a:gd name="T76" fmla="*/ 244 w 264"/>
                      <a:gd name="T77" fmla="*/ 196 h 199"/>
                      <a:gd name="T78" fmla="*/ 238 w 264"/>
                      <a:gd name="T79" fmla="*/ 198 h 199"/>
                      <a:gd name="T80" fmla="*/ 231 w 264"/>
                      <a:gd name="T81" fmla="*/ 199 h 199"/>
                      <a:gd name="T82" fmla="*/ 231 w 264"/>
                      <a:gd name="T83" fmla="*/ 199 h 199"/>
                      <a:gd name="T84" fmla="*/ 66 w 264"/>
                      <a:gd name="T85" fmla="*/ 133 h 199"/>
                      <a:gd name="T86" fmla="*/ 198 w 264"/>
                      <a:gd name="T87" fmla="*/ 133 h 199"/>
                      <a:gd name="T88" fmla="*/ 198 w 264"/>
                      <a:gd name="T89" fmla="*/ 67 h 199"/>
                      <a:gd name="T90" fmla="*/ 66 w 264"/>
                      <a:gd name="T91" fmla="*/ 67 h 199"/>
                      <a:gd name="T92" fmla="*/ 66 w 264"/>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4" h="199">
                        <a:moveTo>
                          <a:pt x="231" y="199"/>
                        </a:moveTo>
                        <a:lnTo>
                          <a:pt x="33" y="199"/>
                        </a:lnTo>
                        <a:lnTo>
                          <a:pt x="33" y="199"/>
                        </a:lnTo>
                        <a:lnTo>
                          <a:pt x="26" y="198"/>
                        </a:lnTo>
                        <a:lnTo>
                          <a:pt x="20" y="196"/>
                        </a:lnTo>
                        <a:lnTo>
                          <a:pt x="15" y="193"/>
                        </a:lnTo>
                        <a:lnTo>
                          <a:pt x="9" y="189"/>
                        </a:lnTo>
                        <a:lnTo>
                          <a:pt x="5" y="185"/>
                        </a:lnTo>
                        <a:lnTo>
                          <a:pt x="2" y="178"/>
                        </a:lnTo>
                        <a:lnTo>
                          <a:pt x="0" y="172"/>
                        </a:lnTo>
                        <a:lnTo>
                          <a:pt x="0" y="166"/>
                        </a:lnTo>
                        <a:lnTo>
                          <a:pt x="0" y="34"/>
                        </a:lnTo>
                        <a:lnTo>
                          <a:pt x="0" y="34"/>
                        </a:lnTo>
                        <a:lnTo>
                          <a:pt x="0" y="27"/>
                        </a:lnTo>
                        <a:lnTo>
                          <a:pt x="2" y="21"/>
                        </a:lnTo>
                        <a:lnTo>
                          <a:pt x="5" y="15"/>
                        </a:lnTo>
                        <a:lnTo>
                          <a:pt x="9" y="10"/>
                        </a:lnTo>
                        <a:lnTo>
                          <a:pt x="15" y="6"/>
                        </a:lnTo>
                        <a:lnTo>
                          <a:pt x="20" y="4"/>
                        </a:lnTo>
                        <a:lnTo>
                          <a:pt x="26" y="1"/>
                        </a:lnTo>
                        <a:lnTo>
                          <a:pt x="33" y="0"/>
                        </a:lnTo>
                        <a:lnTo>
                          <a:pt x="231" y="0"/>
                        </a:lnTo>
                        <a:lnTo>
                          <a:pt x="231" y="0"/>
                        </a:lnTo>
                        <a:lnTo>
                          <a:pt x="238" y="1"/>
                        </a:lnTo>
                        <a:lnTo>
                          <a:pt x="244" y="4"/>
                        </a:lnTo>
                        <a:lnTo>
                          <a:pt x="250" y="6"/>
                        </a:lnTo>
                        <a:lnTo>
                          <a:pt x="255" y="10"/>
                        </a:lnTo>
                        <a:lnTo>
                          <a:pt x="259" y="15"/>
                        </a:lnTo>
                        <a:lnTo>
                          <a:pt x="262" y="21"/>
                        </a:lnTo>
                        <a:lnTo>
                          <a:pt x="264" y="27"/>
                        </a:lnTo>
                        <a:lnTo>
                          <a:pt x="264" y="34"/>
                        </a:lnTo>
                        <a:lnTo>
                          <a:pt x="264" y="166"/>
                        </a:lnTo>
                        <a:lnTo>
                          <a:pt x="264" y="166"/>
                        </a:lnTo>
                        <a:lnTo>
                          <a:pt x="264" y="172"/>
                        </a:lnTo>
                        <a:lnTo>
                          <a:pt x="262" y="178"/>
                        </a:lnTo>
                        <a:lnTo>
                          <a:pt x="259" y="185"/>
                        </a:lnTo>
                        <a:lnTo>
                          <a:pt x="255" y="189"/>
                        </a:lnTo>
                        <a:lnTo>
                          <a:pt x="250" y="193"/>
                        </a:lnTo>
                        <a:lnTo>
                          <a:pt x="244" y="196"/>
                        </a:lnTo>
                        <a:lnTo>
                          <a:pt x="238" y="198"/>
                        </a:lnTo>
                        <a:lnTo>
                          <a:pt x="231" y="199"/>
                        </a:lnTo>
                        <a:lnTo>
                          <a:pt x="231" y="199"/>
                        </a:lnTo>
                        <a:close/>
                        <a:moveTo>
                          <a:pt x="66" y="133"/>
                        </a:moveTo>
                        <a:lnTo>
                          <a:pt x="198" y="133"/>
                        </a:lnTo>
                        <a:lnTo>
                          <a:pt x="198" y="67"/>
                        </a:lnTo>
                        <a:lnTo>
                          <a:pt x="66" y="67"/>
                        </a:lnTo>
                        <a:lnTo>
                          <a:pt x="6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95" name="Freeform 64">
                    <a:extLst>
                      <a:ext uri="{FF2B5EF4-FFF2-40B4-BE49-F238E27FC236}">
                        <a16:creationId xmlns:a16="http://schemas.microsoft.com/office/drawing/2014/main" id="{08F150BA-37F2-49D3-666A-BEE39D8A223A}"/>
                      </a:ext>
                    </a:extLst>
                  </p:cNvPr>
                  <p:cNvSpPr>
                    <a:spLocks/>
                  </p:cNvSpPr>
                  <p:nvPr/>
                </p:nvSpPr>
                <p:spPr bwMode="auto">
                  <a:xfrm>
                    <a:off x="4295775" y="2528889"/>
                    <a:ext cx="15875" cy="46038"/>
                  </a:xfrm>
                  <a:custGeom>
                    <a:avLst/>
                    <a:gdLst>
                      <a:gd name="T0" fmla="*/ 33 w 66"/>
                      <a:gd name="T1" fmla="*/ 199 h 199"/>
                      <a:gd name="T2" fmla="*/ 33 w 66"/>
                      <a:gd name="T3" fmla="*/ 199 h 199"/>
                      <a:gd name="T4" fmla="*/ 27 w 66"/>
                      <a:gd name="T5" fmla="*/ 198 h 199"/>
                      <a:gd name="T6" fmla="*/ 20 w 66"/>
                      <a:gd name="T7" fmla="*/ 196 h 199"/>
                      <a:gd name="T8" fmla="*/ 15 w 66"/>
                      <a:gd name="T9" fmla="*/ 192 h 199"/>
                      <a:gd name="T10" fmla="*/ 10 w 66"/>
                      <a:gd name="T11" fmla="*/ 189 h 199"/>
                      <a:gd name="T12" fmla="*/ 6 w 66"/>
                      <a:gd name="T13" fmla="*/ 184 h 199"/>
                      <a:gd name="T14" fmla="*/ 3 w 66"/>
                      <a:gd name="T15" fmla="*/ 178 h 199"/>
                      <a:gd name="T16" fmla="*/ 1 w 66"/>
                      <a:gd name="T17" fmla="*/ 172 h 199"/>
                      <a:gd name="T18" fmla="*/ 0 w 66"/>
                      <a:gd name="T19" fmla="*/ 166 h 199"/>
                      <a:gd name="T20" fmla="*/ 0 w 66"/>
                      <a:gd name="T21" fmla="*/ 33 h 199"/>
                      <a:gd name="T22" fmla="*/ 0 w 66"/>
                      <a:gd name="T23" fmla="*/ 33 h 199"/>
                      <a:gd name="T24" fmla="*/ 1 w 66"/>
                      <a:gd name="T25" fmla="*/ 27 h 199"/>
                      <a:gd name="T26" fmla="*/ 3 w 66"/>
                      <a:gd name="T27" fmla="*/ 21 h 199"/>
                      <a:gd name="T28" fmla="*/ 6 w 66"/>
                      <a:gd name="T29" fmla="*/ 14 h 199"/>
                      <a:gd name="T30" fmla="*/ 10 w 66"/>
                      <a:gd name="T31" fmla="*/ 10 h 199"/>
                      <a:gd name="T32" fmla="*/ 15 w 66"/>
                      <a:gd name="T33" fmla="*/ 6 h 199"/>
                      <a:gd name="T34" fmla="*/ 20 w 66"/>
                      <a:gd name="T35" fmla="*/ 3 h 199"/>
                      <a:gd name="T36" fmla="*/ 27 w 66"/>
                      <a:gd name="T37" fmla="*/ 1 h 199"/>
                      <a:gd name="T38" fmla="*/ 33 w 66"/>
                      <a:gd name="T39" fmla="*/ 0 h 199"/>
                      <a:gd name="T40" fmla="*/ 33 w 66"/>
                      <a:gd name="T41" fmla="*/ 0 h 199"/>
                      <a:gd name="T42" fmla="*/ 40 w 66"/>
                      <a:gd name="T43" fmla="*/ 1 h 199"/>
                      <a:gd name="T44" fmla="*/ 46 w 66"/>
                      <a:gd name="T45" fmla="*/ 3 h 199"/>
                      <a:gd name="T46" fmla="*/ 51 w 66"/>
                      <a:gd name="T47" fmla="*/ 6 h 199"/>
                      <a:gd name="T48" fmla="*/ 57 w 66"/>
                      <a:gd name="T49" fmla="*/ 10 h 199"/>
                      <a:gd name="T50" fmla="*/ 61 w 66"/>
                      <a:gd name="T51" fmla="*/ 14 h 199"/>
                      <a:gd name="T52" fmla="*/ 64 w 66"/>
                      <a:gd name="T53" fmla="*/ 21 h 199"/>
                      <a:gd name="T54" fmla="*/ 66 w 66"/>
                      <a:gd name="T55" fmla="*/ 27 h 199"/>
                      <a:gd name="T56" fmla="*/ 66 w 66"/>
                      <a:gd name="T57" fmla="*/ 33 h 199"/>
                      <a:gd name="T58" fmla="*/ 66 w 66"/>
                      <a:gd name="T59" fmla="*/ 166 h 199"/>
                      <a:gd name="T60" fmla="*/ 66 w 66"/>
                      <a:gd name="T61" fmla="*/ 166 h 199"/>
                      <a:gd name="T62" fmla="*/ 66 w 66"/>
                      <a:gd name="T63" fmla="*/ 172 h 199"/>
                      <a:gd name="T64" fmla="*/ 64 w 66"/>
                      <a:gd name="T65" fmla="*/ 178 h 199"/>
                      <a:gd name="T66" fmla="*/ 61 w 66"/>
                      <a:gd name="T67" fmla="*/ 184 h 199"/>
                      <a:gd name="T68" fmla="*/ 57 w 66"/>
                      <a:gd name="T69" fmla="*/ 189 h 199"/>
                      <a:gd name="T70" fmla="*/ 51 w 66"/>
                      <a:gd name="T71" fmla="*/ 192 h 199"/>
                      <a:gd name="T72" fmla="*/ 46 w 66"/>
                      <a:gd name="T73" fmla="*/ 196 h 199"/>
                      <a:gd name="T74" fmla="*/ 40 w 66"/>
                      <a:gd name="T75" fmla="*/ 198 h 199"/>
                      <a:gd name="T76" fmla="*/ 33 w 66"/>
                      <a:gd name="T77" fmla="*/ 199 h 199"/>
                      <a:gd name="T78" fmla="*/ 33 w 66"/>
                      <a:gd name="T79"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99">
                        <a:moveTo>
                          <a:pt x="33" y="199"/>
                        </a:moveTo>
                        <a:lnTo>
                          <a:pt x="33" y="199"/>
                        </a:lnTo>
                        <a:lnTo>
                          <a:pt x="27" y="198"/>
                        </a:lnTo>
                        <a:lnTo>
                          <a:pt x="20" y="196"/>
                        </a:lnTo>
                        <a:lnTo>
                          <a:pt x="15" y="192"/>
                        </a:lnTo>
                        <a:lnTo>
                          <a:pt x="10" y="189"/>
                        </a:lnTo>
                        <a:lnTo>
                          <a:pt x="6" y="184"/>
                        </a:lnTo>
                        <a:lnTo>
                          <a:pt x="3" y="178"/>
                        </a:lnTo>
                        <a:lnTo>
                          <a:pt x="1" y="172"/>
                        </a:lnTo>
                        <a:lnTo>
                          <a:pt x="0" y="166"/>
                        </a:lnTo>
                        <a:lnTo>
                          <a:pt x="0" y="33"/>
                        </a:lnTo>
                        <a:lnTo>
                          <a:pt x="0" y="33"/>
                        </a:lnTo>
                        <a:lnTo>
                          <a:pt x="1" y="27"/>
                        </a:lnTo>
                        <a:lnTo>
                          <a:pt x="3" y="21"/>
                        </a:lnTo>
                        <a:lnTo>
                          <a:pt x="6" y="14"/>
                        </a:lnTo>
                        <a:lnTo>
                          <a:pt x="10" y="10"/>
                        </a:lnTo>
                        <a:lnTo>
                          <a:pt x="15" y="6"/>
                        </a:lnTo>
                        <a:lnTo>
                          <a:pt x="20" y="3"/>
                        </a:lnTo>
                        <a:lnTo>
                          <a:pt x="27" y="1"/>
                        </a:lnTo>
                        <a:lnTo>
                          <a:pt x="33" y="0"/>
                        </a:lnTo>
                        <a:lnTo>
                          <a:pt x="33" y="0"/>
                        </a:lnTo>
                        <a:lnTo>
                          <a:pt x="40" y="1"/>
                        </a:lnTo>
                        <a:lnTo>
                          <a:pt x="46" y="3"/>
                        </a:lnTo>
                        <a:lnTo>
                          <a:pt x="51" y="6"/>
                        </a:lnTo>
                        <a:lnTo>
                          <a:pt x="57" y="10"/>
                        </a:lnTo>
                        <a:lnTo>
                          <a:pt x="61" y="14"/>
                        </a:lnTo>
                        <a:lnTo>
                          <a:pt x="64" y="21"/>
                        </a:lnTo>
                        <a:lnTo>
                          <a:pt x="66" y="27"/>
                        </a:lnTo>
                        <a:lnTo>
                          <a:pt x="66" y="33"/>
                        </a:lnTo>
                        <a:lnTo>
                          <a:pt x="66" y="166"/>
                        </a:lnTo>
                        <a:lnTo>
                          <a:pt x="66" y="166"/>
                        </a:lnTo>
                        <a:lnTo>
                          <a:pt x="66" y="172"/>
                        </a:lnTo>
                        <a:lnTo>
                          <a:pt x="64" y="178"/>
                        </a:lnTo>
                        <a:lnTo>
                          <a:pt x="61" y="184"/>
                        </a:lnTo>
                        <a:lnTo>
                          <a:pt x="57" y="189"/>
                        </a:lnTo>
                        <a:lnTo>
                          <a:pt x="51" y="192"/>
                        </a:lnTo>
                        <a:lnTo>
                          <a:pt x="46" y="196"/>
                        </a:lnTo>
                        <a:lnTo>
                          <a:pt x="40" y="198"/>
                        </a:lnTo>
                        <a:lnTo>
                          <a:pt x="33" y="199"/>
                        </a:lnTo>
                        <a:lnTo>
                          <a:pt x="33"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96" name="Freeform 65">
                    <a:extLst>
                      <a:ext uri="{FF2B5EF4-FFF2-40B4-BE49-F238E27FC236}">
                        <a16:creationId xmlns:a16="http://schemas.microsoft.com/office/drawing/2014/main" id="{8D22E79A-5CF1-3425-A24A-FF21CC6026CA}"/>
                      </a:ext>
                    </a:extLst>
                  </p:cNvPr>
                  <p:cNvSpPr>
                    <a:spLocks/>
                  </p:cNvSpPr>
                  <p:nvPr/>
                </p:nvSpPr>
                <p:spPr bwMode="auto">
                  <a:xfrm>
                    <a:off x="4251325" y="2635251"/>
                    <a:ext cx="90488" cy="14288"/>
                  </a:xfrm>
                  <a:custGeom>
                    <a:avLst/>
                    <a:gdLst>
                      <a:gd name="T0" fmla="*/ 363 w 396"/>
                      <a:gd name="T1" fmla="*/ 65 h 65"/>
                      <a:gd name="T2" fmla="*/ 33 w 396"/>
                      <a:gd name="T3" fmla="*/ 65 h 65"/>
                      <a:gd name="T4" fmla="*/ 33 w 396"/>
                      <a:gd name="T5" fmla="*/ 65 h 65"/>
                      <a:gd name="T6" fmla="*/ 26 w 396"/>
                      <a:gd name="T7" fmla="*/ 65 h 65"/>
                      <a:gd name="T8" fmla="*/ 20 w 396"/>
                      <a:gd name="T9" fmla="*/ 63 h 65"/>
                      <a:gd name="T10" fmla="*/ 14 w 396"/>
                      <a:gd name="T11" fmla="*/ 60 h 65"/>
                      <a:gd name="T12" fmla="*/ 9 w 396"/>
                      <a:gd name="T13" fmla="*/ 56 h 65"/>
                      <a:gd name="T14" fmla="*/ 5 w 396"/>
                      <a:gd name="T15" fmla="*/ 50 h 65"/>
                      <a:gd name="T16" fmla="*/ 2 w 396"/>
                      <a:gd name="T17" fmla="*/ 45 h 65"/>
                      <a:gd name="T18" fmla="*/ 0 w 396"/>
                      <a:gd name="T19" fmla="*/ 39 h 65"/>
                      <a:gd name="T20" fmla="*/ 0 w 396"/>
                      <a:gd name="T21" fmla="*/ 33 h 65"/>
                      <a:gd name="T22" fmla="*/ 0 w 396"/>
                      <a:gd name="T23" fmla="*/ 33 h 65"/>
                      <a:gd name="T24" fmla="*/ 0 w 396"/>
                      <a:gd name="T25" fmla="*/ 26 h 65"/>
                      <a:gd name="T26" fmla="*/ 2 w 396"/>
                      <a:gd name="T27" fmla="*/ 19 h 65"/>
                      <a:gd name="T28" fmla="*/ 5 w 396"/>
                      <a:gd name="T29" fmla="*/ 14 h 65"/>
                      <a:gd name="T30" fmla="*/ 9 w 396"/>
                      <a:gd name="T31" fmla="*/ 9 h 65"/>
                      <a:gd name="T32" fmla="*/ 14 w 396"/>
                      <a:gd name="T33" fmla="*/ 5 h 65"/>
                      <a:gd name="T34" fmla="*/ 20 w 396"/>
                      <a:gd name="T35" fmla="*/ 2 h 65"/>
                      <a:gd name="T36" fmla="*/ 26 w 396"/>
                      <a:gd name="T37" fmla="*/ 0 h 65"/>
                      <a:gd name="T38" fmla="*/ 33 w 396"/>
                      <a:gd name="T39" fmla="*/ 0 h 65"/>
                      <a:gd name="T40" fmla="*/ 363 w 396"/>
                      <a:gd name="T41" fmla="*/ 0 h 65"/>
                      <a:gd name="T42" fmla="*/ 363 w 396"/>
                      <a:gd name="T43" fmla="*/ 0 h 65"/>
                      <a:gd name="T44" fmla="*/ 370 w 396"/>
                      <a:gd name="T45" fmla="*/ 0 h 65"/>
                      <a:gd name="T46" fmla="*/ 377 w 396"/>
                      <a:gd name="T47" fmla="*/ 2 h 65"/>
                      <a:gd name="T48" fmla="*/ 382 w 396"/>
                      <a:gd name="T49" fmla="*/ 5 h 65"/>
                      <a:gd name="T50" fmla="*/ 387 w 396"/>
                      <a:gd name="T51" fmla="*/ 9 h 65"/>
                      <a:gd name="T52" fmla="*/ 391 w 396"/>
                      <a:gd name="T53" fmla="*/ 14 h 65"/>
                      <a:gd name="T54" fmla="*/ 394 w 396"/>
                      <a:gd name="T55" fmla="*/ 19 h 65"/>
                      <a:gd name="T56" fmla="*/ 396 w 396"/>
                      <a:gd name="T57" fmla="*/ 26 h 65"/>
                      <a:gd name="T58" fmla="*/ 396 w 396"/>
                      <a:gd name="T59" fmla="*/ 33 h 65"/>
                      <a:gd name="T60" fmla="*/ 396 w 396"/>
                      <a:gd name="T61" fmla="*/ 33 h 65"/>
                      <a:gd name="T62" fmla="*/ 396 w 396"/>
                      <a:gd name="T63" fmla="*/ 39 h 65"/>
                      <a:gd name="T64" fmla="*/ 394 w 396"/>
                      <a:gd name="T65" fmla="*/ 45 h 65"/>
                      <a:gd name="T66" fmla="*/ 391 w 396"/>
                      <a:gd name="T67" fmla="*/ 50 h 65"/>
                      <a:gd name="T68" fmla="*/ 387 w 396"/>
                      <a:gd name="T69" fmla="*/ 56 h 65"/>
                      <a:gd name="T70" fmla="*/ 382 w 396"/>
                      <a:gd name="T71" fmla="*/ 60 h 65"/>
                      <a:gd name="T72" fmla="*/ 377 w 396"/>
                      <a:gd name="T73" fmla="*/ 63 h 65"/>
                      <a:gd name="T74" fmla="*/ 370 w 396"/>
                      <a:gd name="T75" fmla="*/ 65 h 65"/>
                      <a:gd name="T76" fmla="*/ 363 w 396"/>
                      <a:gd name="T77" fmla="*/ 65 h 65"/>
                      <a:gd name="T78" fmla="*/ 363 w 396"/>
                      <a:gd name="T7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5">
                        <a:moveTo>
                          <a:pt x="363" y="65"/>
                        </a:moveTo>
                        <a:lnTo>
                          <a:pt x="33" y="65"/>
                        </a:lnTo>
                        <a:lnTo>
                          <a:pt x="33" y="65"/>
                        </a:lnTo>
                        <a:lnTo>
                          <a:pt x="26" y="65"/>
                        </a:lnTo>
                        <a:lnTo>
                          <a:pt x="20" y="63"/>
                        </a:lnTo>
                        <a:lnTo>
                          <a:pt x="14" y="60"/>
                        </a:lnTo>
                        <a:lnTo>
                          <a:pt x="9" y="56"/>
                        </a:lnTo>
                        <a:lnTo>
                          <a:pt x="5" y="50"/>
                        </a:lnTo>
                        <a:lnTo>
                          <a:pt x="2" y="45"/>
                        </a:lnTo>
                        <a:lnTo>
                          <a:pt x="0" y="39"/>
                        </a:lnTo>
                        <a:lnTo>
                          <a:pt x="0" y="33"/>
                        </a:lnTo>
                        <a:lnTo>
                          <a:pt x="0" y="33"/>
                        </a:lnTo>
                        <a:lnTo>
                          <a:pt x="0" y="26"/>
                        </a:lnTo>
                        <a:lnTo>
                          <a:pt x="2" y="19"/>
                        </a:lnTo>
                        <a:lnTo>
                          <a:pt x="5" y="14"/>
                        </a:lnTo>
                        <a:lnTo>
                          <a:pt x="9" y="9"/>
                        </a:lnTo>
                        <a:lnTo>
                          <a:pt x="14" y="5"/>
                        </a:lnTo>
                        <a:lnTo>
                          <a:pt x="20" y="2"/>
                        </a:lnTo>
                        <a:lnTo>
                          <a:pt x="26" y="0"/>
                        </a:lnTo>
                        <a:lnTo>
                          <a:pt x="33" y="0"/>
                        </a:lnTo>
                        <a:lnTo>
                          <a:pt x="363" y="0"/>
                        </a:lnTo>
                        <a:lnTo>
                          <a:pt x="363" y="0"/>
                        </a:lnTo>
                        <a:lnTo>
                          <a:pt x="370" y="0"/>
                        </a:lnTo>
                        <a:lnTo>
                          <a:pt x="377" y="2"/>
                        </a:lnTo>
                        <a:lnTo>
                          <a:pt x="382" y="5"/>
                        </a:lnTo>
                        <a:lnTo>
                          <a:pt x="387" y="9"/>
                        </a:lnTo>
                        <a:lnTo>
                          <a:pt x="391" y="14"/>
                        </a:lnTo>
                        <a:lnTo>
                          <a:pt x="394" y="19"/>
                        </a:lnTo>
                        <a:lnTo>
                          <a:pt x="396" y="26"/>
                        </a:lnTo>
                        <a:lnTo>
                          <a:pt x="396" y="33"/>
                        </a:lnTo>
                        <a:lnTo>
                          <a:pt x="396" y="33"/>
                        </a:lnTo>
                        <a:lnTo>
                          <a:pt x="396" y="39"/>
                        </a:lnTo>
                        <a:lnTo>
                          <a:pt x="394" y="45"/>
                        </a:lnTo>
                        <a:lnTo>
                          <a:pt x="391" y="50"/>
                        </a:lnTo>
                        <a:lnTo>
                          <a:pt x="387" y="56"/>
                        </a:lnTo>
                        <a:lnTo>
                          <a:pt x="382" y="60"/>
                        </a:lnTo>
                        <a:lnTo>
                          <a:pt x="377" y="63"/>
                        </a:lnTo>
                        <a:lnTo>
                          <a:pt x="370" y="65"/>
                        </a:lnTo>
                        <a:lnTo>
                          <a:pt x="363" y="65"/>
                        </a:lnTo>
                        <a:lnTo>
                          <a:pt x="363"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97" name="Freeform 66">
                    <a:extLst>
                      <a:ext uri="{FF2B5EF4-FFF2-40B4-BE49-F238E27FC236}">
                        <a16:creationId xmlns:a16="http://schemas.microsoft.com/office/drawing/2014/main" id="{35169BD4-1DBC-9292-F4C0-0594DDBEF3C1}"/>
                      </a:ext>
                    </a:extLst>
                  </p:cNvPr>
                  <p:cNvSpPr>
                    <a:spLocks/>
                  </p:cNvSpPr>
                  <p:nvPr/>
                </p:nvSpPr>
                <p:spPr bwMode="auto">
                  <a:xfrm>
                    <a:off x="4251325" y="2679701"/>
                    <a:ext cx="90488" cy="14288"/>
                  </a:xfrm>
                  <a:custGeom>
                    <a:avLst/>
                    <a:gdLst>
                      <a:gd name="T0" fmla="*/ 363 w 396"/>
                      <a:gd name="T1" fmla="*/ 67 h 67"/>
                      <a:gd name="T2" fmla="*/ 33 w 396"/>
                      <a:gd name="T3" fmla="*/ 67 h 67"/>
                      <a:gd name="T4" fmla="*/ 33 w 396"/>
                      <a:gd name="T5" fmla="*/ 67 h 67"/>
                      <a:gd name="T6" fmla="*/ 26 w 396"/>
                      <a:gd name="T7" fmla="*/ 67 h 67"/>
                      <a:gd name="T8" fmla="*/ 20 w 396"/>
                      <a:gd name="T9" fmla="*/ 65 h 67"/>
                      <a:gd name="T10" fmla="*/ 14 w 396"/>
                      <a:gd name="T11" fmla="*/ 61 h 67"/>
                      <a:gd name="T12" fmla="*/ 9 w 396"/>
                      <a:gd name="T13" fmla="*/ 57 h 67"/>
                      <a:gd name="T14" fmla="*/ 5 w 396"/>
                      <a:gd name="T15" fmla="*/ 52 h 67"/>
                      <a:gd name="T16" fmla="*/ 2 w 396"/>
                      <a:gd name="T17" fmla="*/ 47 h 67"/>
                      <a:gd name="T18" fmla="*/ 0 w 396"/>
                      <a:gd name="T19" fmla="*/ 41 h 67"/>
                      <a:gd name="T20" fmla="*/ 0 w 396"/>
                      <a:gd name="T21" fmla="*/ 33 h 67"/>
                      <a:gd name="T22" fmla="*/ 0 w 396"/>
                      <a:gd name="T23" fmla="*/ 33 h 67"/>
                      <a:gd name="T24" fmla="*/ 0 w 396"/>
                      <a:gd name="T25" fmla="*/ 27 h 67"/>
                      <a:gd name="T26" fmla="*/ 2 w 396"/>
                      <a:gd name="T27" fmla="*/ 21 h 67"/>
                      <a:gd name="T28" fmla="*/ 5 w 396"/>
                      <a:gd name="T29" fmla="*/ 15 h 67"/>
                      <a:gd name="T30" fmla="*/ 9 w 396"/>
                      <a:gd name="T31" fmla="*/ 11 h 67"/>
                      <a:gd name="T32" fmla="*/ 14 w 396"/>
                      <a:gd name="T33" fmla="*/ 7 h 67"/>
                      <a:gd name="T34" fmla="*/ 20 w 396"/>
                      <a:gd name="T35" fmla="*/ 3 h 67"/>
                      <a:gd name="T36" fmla="*/ 26 w 396"/>
                      <a:gd name="T37" fmla="*/ 1 h 67"/>
                      <a:gd name="T38" fmla="*/ 33 w 396"/>
                      <a:gd name="T39" fmla="*/ 0 h 67"/>
                      <a:gd name="T40" fmla="*/ 363 w 396"/>
                      <a:gd name="T41" fmla="*/ 0 h 67"/>
                      <a:gd name="T42" fmla="*/ 363 w 396"/>
                      <a:gd name="T43" fmla="*/ 0 h 67"/>
                      <a:gd name="T44" fmla="*/ 370 w 396"/>
                      <a:gd name="T45" fmla="*/ 1 h 67"/>
                      <a:gd name="T46" fmla="*/ 377 w 396"/>
                      <a:gd name="T47" fmla="*/ 3 h 67"/>
                      <a:gd name="T48" fmla="*/ 382 w 396"/>
                      <a:gd name="T49" fmla="*/ 7 h 67"/>
                      <a:gd name="T50" fmla="*/ 387 w 396"/>
                      <a:gd name="T51" fmla="*/ 11 h 67"/>
                      <a:gd name="T52" fmla="*/ 391 w 396"/>
                      <a:gd name="T53" fmla="*/ 15 h 67"/>
                      <a:gd name="T54" fmla="*/ 394 w 396"/>
                      <a:gd name="T55" fmla="*/ 21 h 67"/>
                      <a:gd name="T56" fmla="*/ 396 w 396"/>
                      <a:gd name="T57" fmla="*/ 27 h 67"/>
                      <a:gd name="T58" fmla="*/ 396 w 396"/>
                      <a:gd name="T59" fmla="*/ 33 h 67"/>
                      <a:gd name="T60" fmla="*/ 396 w 396"/>
                      <a:gd name="T61" fmla="*/ 33 h 67"/>
                      <a:gd name="T62" fmla="*/ 396 w 396"/>
                      <a:gd name="T63" fmla="*/ 41 h 67"/>
                      <a:gd name="T64" fmla="*/ 394 w 396"/>
                      <a:gd name="T65" fmla="*/ 47 h 67"/>
                      <a:gd name="T66" fmla="*/ 391 w 396"/>
                      <a:gd name="T67" fmla="*/ 52 h 67"/>
                      <a:gd name="T68" fmla="*/ 387 w 396"/>
                      <a:gd name="T69" fmla="*/ 57 h 67"/>
                      <a:gd name="T70" fmla="*/ 382 w 396"/>
                      <a:gd name="T71" fmla="*/ 61 h 67"/>
                      <a:gd name="T72" fmla="*/ 377 w 396"/>
                      <a:gd name="T73" fmla="*/ 65 h 67"/>
                      <a:gd name="T74" fmla="*/ 370 w 396"/>
                      <a:gd name="T75" fmla="*/ 67 h 67"/>
                      <a:gd name="T76" fmla="*/ 363 w 396"/>
                      <a:gd name="T77" fmla="*/ 67 h 67"/>
                      <a:gd name="T78" fmla="*/ 363 w 396"/>
                      <a:gd name="T7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7">
                        <a:moveTo>
                          <a:pt x="363" y="67"/>
                        </a:moveTo>
                        <a:lnTo>
                          <a:pt x="33" y="67"/>
                        </a:lnTo>
                        <a:lnTo>
                          <a:pt x="33" y="67"/>
                        </a:lnTo>
                        <a:lnTo>
                          <a:pt x="26" y="67"/>
                        </a:lnTo>
                        <a:lnTo>
                          <a:pt x="20" y="65"/>
                        </a:lnTo>
                        <a:lnTo>
                          <a:pt x="14" y="61"/>
                        </a:lnTo>
                        <a:lnTo>
                          <a:pt x="9" y="57"/>
                        </a:lnTo>
                        <a:lnTo>
                          <a:pt x="5" y="52"/>
                        </a:lnTo>
                        <a:lnTo>
                          <a:pt x="2" y="47"/>
                        </a:lnTo>
                        <a:lnTo>
                          <a:pt x="0" y="41"/>
                        </a:lnTo>
                        <a:lnTo>
                          <a:pt x="0" y="33"/>
                        </a:lnTo>
                        <a:lnTo>
                          <a:pt x="0" y="33"/>
                        </a:lnTo>
                        <a:lnTo>
                          <a:pt x="0" y="27"/>
                        </a:lnTo>
                        <a:lnTo>
                          <a:pt x="2" y="21"/>
                        </a:lnTo>
                        <a:lnTo>
                          <a:pt x="5" y="15"/>
                        </a:lnTo>
                        <a:lnTo>
                          <a:pt x="9" y="11"/>
                        </a:lnTo>
                        <a:lnTo>
                          <a:pt x="14" y="7"/>
                        </a:lnTo>
                        <a:lnTo>
                          <a:pt x="20" y="3"/>
                        </a:lnTo>
                        <a:lnTo>
                          <a:pt x="26" y="1"/>
                        </a:lnTo>
                        <a:lnTo>
                          <a:pt x="33" y="0"/>
                        </a:lnTo>
                        <a:lnTo>
                          <a:pt x="363" y="0"/>
                        </a:lnTo>
                        <a:lnTo>
                          <a:pt x="363" y="0"/>
                        </a:lnTo>
                        <a:lnTo>
                          <a:pt x="370" y="1"/>
                        </a:lnTo>
                        <a:lnTo>
                          <a:pt x="377" y="3"/>
                        </a:lnTo>
                        <a:lnTo>
                          <a:pt x="382" y="7"/>
                        </a:lnTo>
                        <a:lnTo>
                          <a:pt x="387" y="11"/>
                        </a:lnTo>
                        <a:lnTo>
                          <a:pt x="391" y="15"/>
                        </a:lnTo>
                        <a:lnTo>
                          <a:pt x="394" y="21"/>
                        </a:lnTo>
                        <a:lnTo>
                          <a:pt x="396" y="27"/>
                        </a:lnTo>
                        <a:lnTo>
                          <a:pt x="396" y="33"/>
                        </a:lnTo>
                        <a:lnTo>
                          <a:pt x="396" y="33"/>
                        </a:lnTo>
                        <a:lnTo>
                          <a:pt x="396" y="41"/>
                        </a:lnTo>
                        <a:lnTo>
                          <a:pt x="394" y="47"/>
                        </a:lnTo>
                        <a:lnTo>
                          <a:pt x="391" y="52"/>
                        </a:lnTo>
                        <a:lnTo>
                          <a:pt x="387" y="57"/>
                        </a:lnTo>
                        <a:lnTo>
                          <a:pt x="382" y="61"/>
                        </a:lnTo>
                        <a:lnTo>
                          <a:pt x="377" y="65"/>
                        </a:lnTo>
                        <a:lnTo>
                          <a:pt x="370" y="67"/>
                        </a:lnTo>
                        <a:lnTo>
                          <a:pt x="363" y="67"/>
                        </a:lnTo>
                        <a:lnTo>
                          <a:pt x="36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98" name="Freeform 67">
                    <a:extLst>
                      <a:ext uri="{FF2B5EF4-FFF2-40B4-BE49-F238E27FC236}">
                        <a16:creationId xmlns:a16="http://schemas.microsoft.com/office/drawing/2014/main" id="{05341EA3-F9BF-A4EB-1F5A-6CDD96B88E70}"/>
                      </a:ext>
                    </a:extLst>
                  </p:cNvPr>
                  <p:cNvSpPr>
                    <a:spLocks/>
                  </p:cNvSpPr>
                  <p:nvPr/>
                </p:nvSpPr>
                <p:spPr bwMode="auto">
                  <a:xfrm>
                    <a:off x="4251325" y="2724151"/>
                    <a:ext cx="90488" cy="15875"/>
                  </a:xfrm>
                  <a:custGeom>
                    <a:avLst/>
                    <a:gdLst>
                      <a:gd name="T0" fmla="*/ 363 w 396"/>
                      <a:gd name="T1" fmla="*/ 66 h 66"/>
                      <a:gd name="T2" fmla="*/ 33 w 396"/>
                      <a:gd name="T3" fmla="*/ 66 h 66"/>
                      <a:gd name="T4" fmla="*/ 33 w 396"/>
                      <a:gd name="T5" fmla="*/ 66 h 66"/>
                      <a:gd name="T6" fmla="*/ 26 w 396"/>
                      <a:gd name="T7" fmla="*/ 65 h 66"/>
                      <a:gd name="T8" fmla="*/ 20 w 396"/>
                      <a:gd name="T9" fmla="*/ 63 h 66"/>
                      <a:gd name="T10" fmla="*/ 14 w 396"/>
                      <a:gd name="T11" fmla="*/ 60 h 66"/>
                      <a:gd name="T12" fmla="*/ 9 w 396"/>
                      <a:gd name="T13" fmla="*/ 57 h 66"/>
                      <a:gd name="T14" fmla="*/ 5 w 396"/>
                      <a:gd name="T15" fmla="*/ 52 h 66"/>
                      <a:gd name="T16" fmla="*/ 2 w 396"/>
                      <a:gd name="T17" fmla="*/ 46 h 66"/>
                      <a:gd name="T18" fmla="*/ 0 w 396"/>
                      <a:gd name="T19" fmla="*/ 39 h 66"/>
                      <a:gd name="T20" fmla="*/ 0 w 396"/>
                      <a:gd name="T21" fmla="*/ 33 h 66"/>
                      <a:gd name="T22" fmla="*/ 0 w 396"/>
                      <a:gd name="T23" fmla="*/ 33 h 66"/>
                      <a:gd name="T24" fmla="*/ 0 w 396"/>
                      <a:gd name="T25" fmla="*/ 26 h 66"/>
                      <a:gd name="T26" fmla="*/ 2 w 396"/>
                      <a:gd name="T27" fmla="*/ 20 h 66"/>
                      <a:gd name="T28" fmla="*/ 5 w 396"/>
                      <a:gd name="T29" fmla="*/ 15 h 66"/>
                      <a:gd name="T30" fmla="*/ 9 w 396"/>
                      <a:gd name="T31" fmla="*/ 9 h 66"/>
                      <a:gd name="T32" fmla="*/ 14 w 396"/>
                      <a:gd name="T33" fmla="*/ 5 h 66"/>
                      <a:gd name="T34" fmla="*/ 20 w 396"/>
                      <a:gd name="T35" fmla="*/ 2 h 66"/>
                      <a:gd name="T36" fmla="*/ 26 w 396"/>
                      <a:gd name="T37" fmla="*/ 1 h 66"/>
                      <a:gd name="T38" fmla="*/ 33 w 396"/>
                      <a:gd name="T39" fmla="*/ 0 h 66"/>
                      <a:gd name="T40" fmla="*/ 363 w 396"/>
                      <a:gd name="T41" fmla="*/ 0 h 66"/>
                      <a:gd name="T42" fmla="*/ 363 w 396"/>
                      <a:gd name="T43" fmla="*/ 0 h 66"/>
                      <a:gd name="T44" fmla="*/ 370 w 396"/>
                      <a:gd name="T45" fmla="*/ 1 h 66"/>
                      <a:gd name="T46" fmla="*/ 377 w 396"/>
                      <a:gd name="T47" fmla="*/ 2 h 66"/>
                      <a:gd name="T48" fmla="*/ 382 w 396"/>
                      <a:gd name="T49" fmla="*/ 5 h 66"/>
                      <a:gd name="T50" fmla="*/ 387 w 396"/>
                      <a:gd name="T51" fmla="*/ 9 h 66"/>
                      <a:gd name="T52" fmla="*/ 391 w 396"/>
                      <a:gd name="T53" fmla="*/ 15 h 66"/>
                      <a:gd name="T54" fmla="*/ 394 w 396"/>
                      <a:gd name="T55" fmla="*/ 20 h 66"/>
                      <a:gd name="T56" fmla="*/ 396 w 396"/>
                      <a:gd name="T57" fmla="*/ 26 h 66"/>
                      <a:gd name="T58" fmla="*/ 396 w 396"/>
                      <a:gd name="T59" fmla="*/ 33 h 66"/>
                      <a:gd name="T60" fmla="*/ 396 w 396"/>
                      <a:gd name="T61" fmla="*/ 33 h 66"/>
                      <a:gd name="T62" fmla="*/ 396 w 396"/>
                      <a:gd name="T63" fmla="*/ 39 h 66"/>
                      <a:gd name="T64" fmla="*/ 394 w 396"/>
                      <a:gd name="T65" fmla="*/ 46 h 66"/>
                      <a:gd name="T66" fmla="*/ 391 w 396"/>
                      <a:gd name="T67" fmla="*/ 52 h 66"/>
                      <a:gd name="T68" fmla="*/ 387 w 396"/>
                      <a:gd name="T69" fmla="*/ 57 h 66"/>
                      <a:gd name="T70" fmla="*/ 382 w 396"/>
                      <a:gd name="T71" fmla="*/ 60 h 66"/>
                      <a:gd name="T72" fmla="*/ 377 w 396"/>
                      <a:gd name="T73" fmla="*/ 63 h 66"/>
                      <a:gd name="T74" fmla="*/ 370 w 396"/>
                      <a:gd name="T75" fmla="*/ 65 h 66"/>
                      <a:gd name="T76" fmla="*/ 363 w 396"/>
                      <a:gd name="T77" fmla="*/ 66 h 66"/>
                      <a:gd name="T78" fmla="*/ 363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3" y="66"/>
                        </a:moveTo>
                        <a:lnTo>
                          <a:pt x="33" y="66"/>
                        </a:lnTo>
                        <a:lnTo>
                          <a:pt x="33" y="66"/>
                        </a:lnTo>
                        <a:lnTo>
                          <a:pt x="26" y="65"/>
                        </a:lnTo>
                        <a:lnTo>
                          <a:pt x="20" y="63"/>
                        </a:lnTo>
                        <a:lnTo>
                          <a:pt x="14" y="60"/>
                        </a:lnTo>
                        <a:lnTo>
                          <a:pt x="9" y="57"/>
                        </a:lnTo>
                        <a:lnTo>
                          <a:pt x="5" y="52"/>
                        </a:lnTo>
                        <a:lnTo>
                          <a:pt x="2" y="46"/>
                        </a:lnTo>
                        <a:lnTo>
                          <a:pt x="0" y="39"/>
                        </a:lnTo>
                        <a:lnTo>
                          <a:pt x="0" y="33"/>
                        </a:lnTo>
                        <a:lnTo>
                          <a:pt x="0" y="33"/>
                        </a:lnTo>
                        <a:lnTo>
                          <a:pt x="0" y="26"/>
                        </a:lnTo>
                        <a:lnTo>
                          <a:pt x="2" y="20"/>
                        </a:lnTo>
                        <a:lnTo>
                          <a:pt x="5" y="15"/>
                        </a:lnTo>
                        <a:lnTo>
                          <a:pt x="9" y="9"/>
                        </a:lnTo>
                        <a:lnTo>
                          <a:pt x="14" y="5"/>
                        </a:lnTo>
                        <a:lnTo>
                          <a:pt x="20" y="2"/>
                        </a:lnTo>
                        <a:lnTo>
                          <a:pt x="26" y="1"/>
                        </a:lnTo>
                        <a:lnTo>
                          <a:pt x="33" y="0"/>
                        </a:lnTo>
                        <a:lnTo>
                          <a:pt x="363" y="0"/>
                        </a:lnTo>
                        <a:lnTo>
                          <a:pt x="363" y="0"/>
                        </a:lnTo>
                        <a:lnTo>
                          <a:pt x="370" y="1"/>
                        </a:lnTo>
                        <a:lnTo>
                          <a:pt x="377" y="2"/>
                        </a:lnTo>
                        <a:lnTo>
                          <a:pt x="382" y="5"/>
                        </a:lnTo>
                        <a:lnTo>
                          <a:pt x="387" y="9"/>
                        </a:lnTo>
                        <a:lnTo>
                          <a:pt x="391" y="15"/>
                        </a:lnTo>
                        <a:lnTo>
                          <a:pt x="394" y="20"/>
                        </a:lnTo>
                        <a:lnTo>
                          <a:pt x="396" y="26"/>
                        </a:lnTo>
                        <a:lnTo>
                          <a:pt x="396" y="33"/>
                        </a:lnTo>
                        <a:lnTo>
                          <a:pt x="396" y="33"/>
                        </a:lnTo>
                        <a:lnTo>
                          <a:pt x="396" y="39"/>
                        </a:lnTo>
                        <a:lnTo>
                          <a:pt x="394" y="46"/>
                        </a:lnTo>
                        <a:lnTo>
                          <a:pt x="391" y="52"/>
                        </a:lnTo>
                        <a:lnTo>
                          <a:pt x="387" y="57"/>
                        </a:lnTo>
                        <a:lnTo>
                          <a:pt x="382" y="60"/>
                        </a:lnTo>
                        <a:lnTo>
                          <a:pt x="377" y="63"/>
                        </a:lnTo>
                        <a:lnTo>
                          <a:pt x="370" y="65"/>
                        </a:lnTo>
                        <a:lnTo>
                          <a:pt x="363" y="66"/>
                        </a:lnTo>
                        <a:lnTo>
                          <a:pt x="3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99" name="Freeform 68">
                    <a:extLst>
                      <a:ext uri="{FF2B5EF4-FFF2-40B4-BE49-F238E27FC236}">
                        <a16:creationId xmlns:a16="http://schemas.microsoft.com/office/drawing/2014/main" id="{3A42CC83-5988-ABBD-C08F-1F7E91CAC995}"/>
                      </a:ext>
                    </a:extLst>
                  </p:cNvPr>
                  <p:cNvSpPr>
                    <a:spLocks/>
                  </p:cNvSpPr>
                  <p:nvPr/>
                </p:nvSpPr>
                <p:spPr bwMode="auto">
                  <a:xfrm>
                    <a:off x="4251325" y="2770189"/>
                    <a:ext cx="90488" cy="14288"/>
                  </a:xfrm>
                  <a:custGeom>
                    <a:avLst/>
                    <a:gdLst>
                      <a:gd name="T0" fmla="*/ 363 w 396"/>
                      <a:gd name="T1" fmla="*/ 66 h 66"/>
                      <a:gd name="T2" fmla="*/ 33 w 396"/>
                      <a:gd name="T3" fmla="*/ 66 h 66"/>
                      <a:gd name="T4" fmla="*/ 33 w 396"/>
                      <a:gd name="T5" fmla="*/ 66 h 66"/>
                      <a:gd name="T6" fmla="*/ 26 w 396"/>
                      <a:gd name="T7" fmla="*/ 65 h 66"/>
                      <a:gd name="T8" fmla="*/ 20 w 396"/>
                      <a:gd name="T9" fmla="*/ 63 h 66"/>
                      <a:gd name="T10" fmla="*/ 14 w 396"/>
                      <a:gd name="T11" fmla="*/ 60 h 66"/>
                      <a:gd name="T12" fmla="*/ 9 w 396"/>
                      <a:gd name="T13" fmla="*/ 56 h 66"/>
                      <a:gd name="T14" fmla="*/ 5 w 396"/>
                      <a:gd name="T15" fmla="*/ 52 h 66"/>
                      <a:gd name="T16" fmla="*/ 2 w 396"/>
                      <a:gd name="T17" fmla="*/ 45 h 66"/>
                      <a:gd name="T18" fmla="*/ 0 w 396"/>
                      <a:gd name="T19" fmla="*/ 39 h 66"/>
                      <a:gd name="T20" fmla="*/ 0 w 396"/>
                      <a:gd name="T21" fmla="*/ 33 h 66"/>
                      <a:gd name="T22" fmla="*/ 0 w 396"/>
                      <a:gd name="T23" fmla="*/ 33 h 66"/>
                      <a:gd name="T24" fmla="*/ 0 w 396"/>
                      <a:gd name="T25" fmla="*/ 26 h 66"/>
                      <a:gd name="T26" fmla="*/ 2 w 396"/>
                      <a:gd name="T27" fmla="*/ 20 h 66"/>
                      <a:gd name="T28" fmla="*/ 5 w 396"/>
                      <a:gd name="T29" fmla="*/ 14 h 66"/>
                      <a:gd name="T30" fmla="*/ 9 w 396"/>
                      <a:gd name="T31" fmla="*/ 9 h 66"/>
                      <a:gd name="T32" fmla="*/ 14 w 396"/>
                      <a:gd name="T33" fmla="*/ 5 h 66"/>
                      <a:gd name="T34" fmla="*/ 20 w 396"/>
                      <a:gd name="T35" fmla="*/ 2 h 66"/>
                      <a:gd name="T36" fmla="*/ 26 w 396"/>
                      <a:gd name="T37" fmla="*/ 0 h 66"/>
                      <a:gd name="T38" fmla="*/ 33 w 396"/>
                      <a:gd name="T39" fmla="*/ 0 h 66"/>
                      <a:gd name="T40" fmla="*/ 363 w 396"/>
                      <a:gd name="T41" fmla="*/ 0 h 66"/>
                      <a:gd name="T42" fmla="*/ 363 w 396"/>
                      <a:gd name="T43" fmla="*/ 0 h 66"/>
                      <a:gd name="T44" fmla="*/ 370 w 396"/>
                      <a:gd name="T45" fmla="*/ 0 h 66"/>
                      <a:gd name="T46" fmla="*/ 377 w 396"/>
                      <a:gd name="T47" fmla="*/ 2 h 66"/>
                      <a:gd name="T48" fmla="*/ 382 w 396"/>
                      <a:gd name="T49" fmla="*/ 5 h 66"/>
                      <a:gd name="T50" fmla="*/ 387 w 396"/>
                      <a:gd name="T51" fmla="*/ 9 h 66"/>
                      <a:gd name="T52" fmla="*/ 391 w 396"/>
                      <a:gd name="T53" fmla="*/ 14 h 66"/>
                      <a:gd name="T54" fmla="*/ 394 w 396"/>
                      <a:gd name="T55" fmla="*/ 20 h 66"/>
                      <a:gd name="T56" fmla="*/ 396 w 396"/>
                      <a:gd name="T57" fmla="*/ 26 h 66"/>
                      <a:gd name="T58" fmla="*/ 396 w 396"/>
                      <a:gd name="T59" fmla="*/ 33 h 66"/>
                      <a:gd name="T60" fmla="*/ 396 w 396"/>
                      <a:gd name="T61" fmla="*/ 33 h 66"/>
                      <a:gd name="T62" fmla="*/ 396 w 396"/>
                      <a:gd name="T63" fmla="*/ 39 h 66"/>
                      <a:gd name="T64" fmla="*/ 394 w 396"/>
                      <a:gd name="T65" fmla="*/ 45 h 66"/>
                      <a:gd name="T66" fmla="*/ 391 w 396"/>
                      <a:gd name="T67" fmla="*/ 52 h 66"/>
                      <a:gd name="T68" fmla="*/ 387 w 396"/>
                      <a:gd name="T69" fmla="*/ 56 h 66"/>
                      <a:gd name="T70" fmla="*/ 382 w 396"/>
                      <a:gd name="T71" fmla="*/ 60 h 66"/>
                      <a:gd name="T72" fmla="*/ 377 w 396"/>
                      <a:gd name="T73" fmla="*/ 63 h 66"/>
                      <a:gd name="T74" fmla="*/ 370 w 396"/>
                      <a:gd name="T75" fmla="*/ 65 h 66"/>
                      <a:gd name="T76" fmla="*/ 363 w 396"/>
                      <a:gd name="T77" fmla="*/ 66 h 66"/>
                      <a:gd name="T78" fmla="*/ 363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3" y="66"/>
                        </a:moveTo>
                        <a:lnTo>
                          <a:pt x="33" y="66"/>
                        </a:lnTo>
                        <a:lnTo>
                          <a:pt x="33" y="66"/>
                        </a:lnTo>
                        <a:lnTo>
                          <a:pt x="26" y="65"/>
                        </a:lnTo>
                        <a:lnTo>
                          <a:pt x="20" y="63"/>
                        </a:lnTo>
                        <a:lnTo>
                          <a:pt x="14" y="60"/>
                        </a:lnTo>
                        <a:lnTo>
                          <a:pt x="9" y="56"/>
                        </a:lnTo>
                        <a:lnTo>
                          <a:pt x="5" y="52"/>
                        </a:lnTo>
                        <a:lnTo>
                          <a:pt x="2" y="45"/>
                        </a:lnTo>
                        <a:lnTo>
                          <a:pt x="0" y="39"/>
                        </a:lnTo>
                        <a:lnTo>
                          <a:pt x="0" y="33"/>
                        </a:lnTo>
                        <a:lnTo>
                          <a:pt x="0" y="33"/>
                        </a:lnTo>
                        <a:lnTo>
                          <a:pt x="0" y="26"/>
                        </a:lnTo>
                        <a:lnTo>
                          <a:pt x="2" y="20"/>
                        </a:lnTo>
                        <a:lnTo>
                          <a:pt x="5" y="14"/>
                        </a:lnTo>
                        <a:lnTo>
                          <a:pt x="9" y="9"/>
                        </a:lnTo>
                        <a:lnTo>
                          <a:pt x="14" y="5"/>
                        </a:lnTo>
                        <a:lnTo>
                          <a:pt x="20" y="2"/>
                        </a:lnTo>
                        <a:lnTo>
                          <a:pt x="26" y="0"/>
                        </a:lnTo>
                        <a:lnTo>
                          <a:pt x="33" y="0"/>
                        </a:lnTo>
                        <a:lnTo>
                          <a:pt x="363" y="0"/>
                        </a:lnTo>
                        <a:lnTo>
                          <a:pt x="363" y="0"/>
                        </a:lnTo>
                        <a:lnTo>
                          <a:pt x="370" y="0"/>
                        </a:lnTo>
                        <a:lnTo>
                          <a:pt x="377" y="2"/>
                        </a:lnTo>
                        <a:lnTo>
                          <a:pt x="382" y="5"/>
                        </a:lnTo>
                        <a:lnTo>
                          <a:pt x="387" y="9"/>
                        </a:lnTo>
                        <a:lnTo>
                          <a:pt x="391" y="14"/>
                        </a:lnTo>
                        <a:lnTo>
                          <a:pt x="394" y="20"/>
                        </a:lnTo>
                        <a:lnTo>
                          <a:pt x="396" y="26"/>
                        </a:lnTo>
                        <a:lnTo>
                          <a:pt x="396" y="33"/>
                        </a:lnTo>
                        <a:lnTo>
                          <a:pt x="396" y="33"/>
                        </a:lnTo>
                        <a:lnTo>
                          <a:pt x="396" y="39"/>
                        </a:lnTo>
                        <a:lnTo>
                          <a:pt x="394" y="45"/>
                        </a:lnTo>
                        <a:lnTo>
                          <a:pt x="391" y="52"/>
                        </a:lnTo>
                        <a:lnTo>
                          <a:pt x="387" y="56"/>
                        </a:lnTo>
                        <a:lnTo>
                          <a:pt x="382" y="60"/>
                        </a:lnTo>
                        <a:lnTo>
                          <a:pt x="377" y="63"/>
                        </a:lnTo>
                        <a:lnTo>
                          <a:pt x="370" y="65"/>
                        </a:lnTo>
                        <a:lnTo>
                          <a:pt x="363" y="66"/>
                        </a:lnTo>
                        <a:lnTo>
                          <a:pt x="3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200" name="Freeform 69">
                    <a:extLst>
                      <a:ext uri="{FF2B5EF4-FFF2-40B4-BE49-F238E27FC236}">
                        <a16:creationId xmlns:a16="http://schemas.microsoft.com/office/drawing/2014/main" id="{D60430A5-7610-587D-81A3-FD0E98F54F7E}"/>
                      </a:ext>
                    </a:extLst>
                  </p:cNvPr>
                  <p:cNvSpPr>
                    <a:spLocks/>
                  </p:cNvSpPr>
                  <p:nvPr/>
                </p:nvSpPr>
                <p:spPr bwMode="auto">
                  <a:xfrm>
                    <a:off x="4251325" y="2814639"/>
                    <a:ext cx="90488" cy="14288"/>
                  </a:xfrm>
                  <a:custGeom>
                    <a:avLst/>
                    <a:gdLst>
                      <a:gd name="T0" fmla="*/ 363 w 396"/>
                      <a:gd name="T1" fmla="*/ 66 h 66"/>
                      <a:gd name="T2" fmla="*/ 33 w 396"/>
                      <a:gd name="T3" fmla="*/ 66 h 66"/>
                      <a:gd name="T4" fmla="*/ 33 w 396"/>
                      <a:gd name="T5" fmla="*/ 66 h 66"/>
                      <a:gd name="T6" fmla="*/ 26 w 396"/>
                      <a:gd name="T7" fmla="*/ 66 h 66"/>
                      <a:gd name="T8" fmla="*/ 20 w 396"/>
                      <a:gd name="T9" fmla="*/ 64 h 66"/>
                      <a:gd name="T10" fmla="*/ 14 w 396"/>
                      <a:gd name="T11" fmla="*/ 61 h 66"/>
                      <a:gd name="T12" fmla="*/ 9 w 396"/>
                      <a:gd name="T13" fmla="*/ 56 h 66"/>
                      <a:gd name="T14" fmla="*/ 5 w 396"/>
                      <a:gd name="T15" fmla="*/ 51 h 66"/>
                      <a:gd name="T16" fmla="*/ 2 w 396"/>
                      <a:gd name="T17" fmla="*/ 46 h 66"/>
                      <a:gd name="T18" fmla="*/ 0 w 396"/>
                      <a:gd name="T19" fmla="*/ 40 h 66"/>
                      <a:gd name="T20" fmla="*/ 0 w 396"/>
                      <a:gd name="T21" fmla="*/ 33 h 66"/>
                      <a:gd name="T22" fmla="*/ 0 w 396"/>
                      <a:gd name="T23" fmla="*/ 33 h 66"/>
                      <a:gd name="T24" fmla="*/ 0 w 396"/>
                      <a:gd name="T25" fmla="*/ 26 h 66"/>
                      <a:gd name="T26" fmla="*/ 2 w 396"/>
                      <a:gd name="T27" fmla="*/ 20 h 66"/>
                      <a:gd name="T28" fmla="*/ 5 w 396"/>
                      <a:gd name="T29" fmla="*/ 14 h 66"/>
                      <a:gd name="T30" fmla="*/ 9 w 396"/>
                      <a:gd name="T31" fmla="*/ 10 h 66"/>
                      <a:gd name="T32" fmla="*/ 14 w 396"/>
                      <a:gd name="T33" fmla="*/ 6 h 66"/>
                      <a:gd name="T34" fmla="*/ 20 w 396"/>
                      <a:gd name="T35" fmla="*/ 3 h 66"/>
                      <a:gd name="T36" fmla="*/ 26 w 396"/>
                      <a:gd name="T37" fmla="*/ 1 h 66"/>
                      <a:gd name="T38" fmla="*/ 33 w 396"/>
                      <a:gd name="T39" fmla="*/ 0 h 66"/>
                      <a:gd name="T40" fmla="*/ 363 w 396"/>
                      <a:gd name="T41" fmla="*/ 0 h 66"/>
                      <a:gd name="T42" fmla="*/ 363 w 396"/>
                      <a:gd name="T43" fmla="*/ 0 h 66"/>
                      <a:gd name="T44" fmla="*/ 370 w 396"/>
                      <a:gd name="T45" fmla="*/ 1 h 66"/>
                      <a:gd name="T46" fmla="*/ 377 w 396"/>
                      <a:gd name="T47" fmla="*/ 3 h 66"/>
                      <a:gd name="T48" fmla="*/ 382 w 396"/>
                      <a:gd name="T49" fmla="*/ 6 h 66"/>
                      <a:gd name="T50" fmla="*/ 387 w 396"/>
                      <a:gd name="T51" fmla="*/ 10 h 66"/>
                      <a:gd name="T52" fmla="*/ 391 w 396"/>
                      <a:gd name="T53" fmla="*/ 14 h 66"/>
                      <a:gd name="T54" fmla="*/ 394 w 396"/>
                      <a:gd name="T55" fmla="*/ 20 h 66"/>
                      <a:gd name="T56" fmla="*/ 396 w 396"/>
                      <a:gd name="T57" fmla="*/ 26 h 66"/>
                      <a:gd name="T58" fmla="*/ 396 w 396"/>
                      <a:gd name="T59" fmla="*/ 33 h 66"/>
                      <a:gd name="T60" fmla="*/ 396 w 396"/>
                      <a:gd name="T61" fmla="*/ 33 h 66"/>
                      <a:gd name="T62" fmla="*/ 396 w 396"/>
                      <a:gd name="T63" fmla="*/ 40 h 66"/>
                      <a:gd name="T64" fmla="*/ 394 w 396"/>
                      <a:gd name="T65" fmla="*/ 46 h 66"/>
                      <a:gd name="T66" fmla="*/ 391 w 396"/>
                      <a:gd name="T67" fmla="*/ 51 h 66"/>
                      <a:gd name="T68" fmla="*/ 387 w 396"/>
                      <a:gd name="T69" fmla="*/ 56 h 66"/>
                      <a:gd name="T70" fmla="*/ 382 w 396"/>
                      <a:gd name="T71" fmla="*/ 61 h 66"/>
                      <a:gd name="T72" fmla="*/ 377 w 396"/>
                      <a:gd name="T73" fmla="*/ 64 h 66"/>
                      <a:gd name="T74" fmla="*/ 370 w 396"/>
                      <a:gd name="T75" fmla="*/ 66 h 66"/>
                      <a:gd name="T76" fmla="*/ 363 w 396"/>
                      <a:gd name="T77" fmla="*/ 66 h 66"/>
                      <a:gd name="T78" fmla="*/ 363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3" y="66"/>
                        </a:moveTo>
                        <a:lnTo>
                          <a:pt x="33" y="66"/>
                        </a:lnTo>
                        <a:lnTo>
                          <a:pt x="33" y="66"/>
                        </a:lnTo>
                        <a:lnTo>
                          <a:pt x="26" y="66"/>
                        </a:lnTo>
                        <a:lnTo>
                          <a:pt x="20" y="64"/>
                        </a:lnTo>
                        <a:lnTo>
                          <a:pt x="14" y="61"/>
                        </a:lnTo>
                        <a:lnTo>
                          <a:pt x="9" y="56"/>
                        </a:lnTo>
                        <a:lnTo>
                          <a:pt x="5" y="51"/>
                        </a:lnTo>
                        <a:lnTo>
                          <a:pt x="2" y="46"/>
                        </a:lnTo>
                        <a:lnTo>
                          <a:pt x="0" y="40"/>
                        </a:lnTo>
                        <a:lnTo>
                          <a:pt x="0" y="33"/>
                        </a:lnTo>
                        <a:lnTo>
                          <a:pt x="0" y="33"/>
                        </a:lnTo>
                        <a:lnTo>
                          <a:pt x="0" y="26"/>
                        </a:lnTo>
                        <a:lnTo>
                          <a:pt x="2" y="20"/>
                        </a:lnTo>
                        <a:lnTo>
                          <a:pt x="5" y="14"/>
                        </a:lnTo>
                        <a:lnTo>
                          <a:pt x="9" y="10"/>
                        </a:lnTo>
                        <a:lnTo>
                          <a:pt x="14" y="6"/>
                        </a:lnTo>
                        <a:lnTo>
                          <a:pt x="20" y="3"/>
                        </a:lnTo>
                        <a:lnTo>
                          <a:pt x="26" y="1"/>
                        </a:lnTo>
                        <a:lnTo>
                          <a:pt x="33" y="0"/>
                        </a:lnTo>
                        <a:lnTo>
                          <a:pt x="363" y="0"/>
                        </a:lnTo>
                        <a:lnTo>
                          <a:pt x="363" y="0"/>
                        </a:lnTo>
                        <a:lnTo>
                          <a:pt x="370" y="1"/>
                        </a:lnTo>
                        <a:lnTo>
                          <a:pt x="377" y="3"/>
                        </a:lnTo>
                        <a:lnTo>
                          <a:pt x="382" y="6"/>
                        </a:lnTo>
                        <a:lnTo>
                          <a:pt x="387" y="10"/>
                        </a:lnTo>
                        <a:lnTo>
                          <a:pt x="391" y="14"/>
                        </a:lnTo>
                        <a:lnTo>
                          <a:pt x="394" y="20"/>
                        </a:lnTo>
                        <a:lnTo>
                          <a:pt x="396" y="26"/>
                        </a:lnTo>
                        <a:lnTo>
                          <a:pt x="396" y="33"/>
                        </a:lnTo>
                        <a:lnTo>
                          <a:pt x="396" y="33"/>
                        </a:lnTo>
                        <a:lnTo>
                          <a:pt x="396" y="40"/>
                        </a:lnTo>
                        <a:lnTo>
                          <a:pt x="394" y="46"/>
                        </a:lnTo>
                        <a:lnTo>
                          <a:pt x="391" y="51"/>
                        </a:lnTo>
                        <a:lnTo>
                          <a:pt x="387" y="56"/>
                        </a:lnTo>
                        <a:lnTo>
                          <a:pt x="382" y="61"/>
                        </a:lnTo>
                        <a:lnTo>
                          <a:pt x="377" y="64"/>
                        </a:lnTo>
                        <a:lnTo>
                          <a:pt x="370" y="66"/>
                        </a:lnTo>
                        <a:lnTo>
                          <a:pt x="363" y="66"/>
                        </a:lnTo>
                        <a:lnTo>
                          <a:pt x="3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grpSp>
          </p:grpSp>
          <p:sp>
            <p:nvSpPr>
              <p:cNvPr id="231" name="TextBox 230">
                <a:extLst>
                  <a:ext uri="{FF2B5EF4-FFF2-40B4-BE49-F238E27FC236}">
                    <a16:creationId xmlns:a16="http://schemas.microsoft.com/office/drawing/2014/main" id="{FA77C907-E551-C10C-C9A5-0A38713A56AF}"/>
                  </a:ext>
                </a:extLst>
              </p:cNvPr>
              <p:cNvSpPr txBox="1"/>
              <p:nvPr/>
            </p:nvSpPr>
            <p:spPr>
              <a:xfrm>
                <a:off x="4658523" y="3050008"/>
                <a:ext cx="2880142"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oboto"/>
                    <a:ea typeface="+mn-ea"/>
                    <a:cs typeface="+mn-cs"/>
                  </a:rPr>
                  <a:t>Infrastructure &amp; human settlements</a:t>
                </a:r>
              </a:p>
            </p:txBody>
          </p:sp>
        </p:grpSp>
        <p:grpSp>
          <p:nvGrpSpPr>
            <p:cNvPr id="279" name="Group 278">
              <a:extLst>
                <a:ext uri="{FF2B5EF4-FFF2-40B4-BE49-F238E27FC236}">
                  <a16:creationId xmlns:a16="http://schemas.microsoft.com/office/drawing/2014/main" id="{2B01B4CC-E9E2-BE6C-D76B-973960E3FC3E}"/>
                </a:ext>
              </a:extLst>
            </p:cNvPr>
            <p:cNvGrpSpPr/>
            <p:nvPr/>
          </p:nvGrpSpPr>
          <p:grpSpPr>
            <a:xfrm>
              <a:off x="4493131" y="3970844"/>
              <a:ext cx="2472290" cy="442150"/>
              <a:chOff x="4061656" y="4147334"/>
              <a:chExt cx="2472290" cy="442150"/>
            </a:xfrm>
          </p:grpSpPr>
          <p:sp>
            <p:nvSpPr>
              <p:cNvPr id="294" name="TextBox 293">
                <a:extLst>
                  <a:ext uri="{FF2B5EF4-FFF2-40B4-BE49-F238E27FC236}">
                    <a16:creationId xmlns:a16="http://schemas.microsoft.com/office/drawing/2014/main" id="{1FA7EBEF-6E8B-F714-4C31-564AEB3FA81C}"/>
                  </a:ext>
                </a:extLst>
              </p:cNvPr>
              <p:cNvSpPr txBox="1"/>
              <p:nvPr/>
            </p:nvSpPr>
            <p:spPr>
              <a:xfrm>
                <a:off x="4658523" y="4276076"/>
                <a:ext cx="1875423"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oboto"/>
                    <a:ea typeface="+mn-ea"/>
                    <a:cs typeface="+mn-cs"/>
                  </a:rPr>
                  <a:t>Cultural heritage</a:t>
                </a:r>
              </a:p>
            </p:txBody>
          </p:sp>
          <p:grpSp>
            <p:nvGrpSpPr>
              <p:cNvPr id="297" name="Group 296">
                <a:extLst>
                  <a:ext uri="{FF2B5EF4-FFF2-40B4-BE49-F238E27FC236}">
                    <a16:creationId xmlns:a16="http://schemas.microsoft.com/office/drawing/2014/main" id="{1A288618-AE33-6B2F-2366-8E0C24A6AF16}"/>
                  </a:ext>
                </a:extLst>
              </p:cNvPr>
              <p:cNvGrpSpPr/>
              <p:nvPr/>
            </p:nvGrpSpPr>
            <p:grpSpPr>
              <a:xfrm>
                <a:off x="4061656" y="4147334"/>
                <a:ext cx="442151" cy="442150"/>
                <a:chOff x="7854618" y="4457173"/>
                <a:chExt cx="614681" cy="614680"/>
              </a:xfrm>
            </p:grpSpPr>
            <p:sp>
              <p:nvSpPr>
                <p:cNvPr id="298" name="Flowchart: Connector 297">
                  <a:extLst>
                    <a:ext uri="{FF2B5EF4-FFF2-40B4-BE49-F238E27FC236}">
                      <a16:creationId xmlns:a16="http://schemas.microsoft.com/office/drawing/2014/main" id="{CC8AC8F6-C9BF-BA38-6C3A-680C5F3B2088}"/>
                    </a:ext>
                  </a:extLst>
                </p:cNvPr>
                <p:cNvSpPr/>
                <p:nvPr/>
              </p:nvSpPr>
              <p:spPr>
                <a:xfrm flipH="1">
                  <a:off x="7854618" y="4457173"/>
                  <a:ext cx="614681" cy="61468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200" b="1" i="0" u="none" strike="noStrike" kern="1200" cap="none" spc="0" normalizeH="0" baseline="0" noProof="0" dirty="0">
                    <a:ln>
                      <a:noFill/>
                    </a:ln>
                    <a:solidFill>
                      <a:prstClr val="white"/>
                    </a:solidFill>
                    <a:effectLst/>
                    <a:uLnTx/>
                    <a:uFillTx/>
                    <a:latin typeface="Roboto"/>
                    <a:ea typeface="+mn-ea"/>
                    <a:cs typeface="+mn-cs"/>
                  </a:endParaRPr>
                </a:p>
              </p:txBody>
            </p:sp>
            <p:grpSp>
              <p:nvGrpSpPr>
                <p:cNvPr id="299" name="Group 298">
                  <a:extLst>
                    <a:ext uri="{FF2B5EF4-FFF2-40B4-BE49-F238E27FC236}">
                      <a16:creationId xmlns:a16="http://schemas.microsoft.com/office/drawing/2014/main" id="{BC567DB2-F5C6-DE2C-4323-6C139E815482}"/>
                    </a:ext>
                  </a:extLst>
                </p:cNvPr>
                <p:cNvGrpSpPr/>
                <p:nvPr/>
              </p:nvGrpSpPr>
              <p:grpSpPr>
                <a:xfrm>
                  <a:off x="7977840" y="4569014"/>
                  <a:ext cx="367332" cy="367332"/>
                  <a:chOff x="2676525" y="1463676"/>
                  <a:chExt cx="344488" cy="344488"/>
                </a:xfrm>
                <a:solidFill>
                  <a:schemeClr val="bg1"/>
                </a:solidFill>
              </p:grpSpPr>
              <p:sp>
                <p:nvSpPr>
                  <p:cNvPr id="300" name="Rectangle 780">
                    <a:extLst>
                      <a:ext uri="{FF2B5EF4-FFF2-40B4-BE49-F238E27FC236}">
                        <a16:creationId xmlns:a16="http://schemas.microsoft.com/office/drawing/2014/main" id="{EF7CCB6B-A75E-9BE3-4617-BC9307DCCBB7}"/>
                      </a:ext>
                    </a:extLst>
                  </p:cNvPr>
                  <p:cNvSpPr>
                    <a:spLocks noChangeArrowheads="1"/>
                  </p:cNvSpPr>
                  <p:nvPr/>
                </p:nvSpPr>
                <p:spPr bwMode="auto">
                  <a:xfrm>
                    <a:off x="2690813" y="1636713"/>
                    <a:ext cx="15875"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301" name="Freeform 781">
                    <a:extLst>
                      <a:ext uri="{FF2B5EF4-FFF2-40B4-BE49-F238E27FC236}">
                        <a16:creationId xmlns:a16="http://schemas.microsoft.com/office/drawing/2014/main" id="{DF6F4F6F-EC1B-D040-7D17-F0C97CF777FD}"/>
                      </a:ext>
                    </a:extLst>
                  </p:cNvPr>
                  <p:cNvSpPr>
                    <a:spLocks/>
                  </p:cNvSpPr>
                  <p:nvPr/>
                </p:nvSpPr>
                <p:spPr bwMode="auto">
                  <a:xfrm>
                    <a:off x="2684463" y="1763713"/>
                    <a:ext cx="88900" cy="14288"/>
                  </a:xfrm>
                  <a:custGeom>
                    <a:avLst/>
                    <a:gdLst>
                      <a:gd name="T0" fmla="*/ 363 w 396"/>
                      <a:gd name="T1" fmla="*/ 66 h 66"/>
                      <a:gd name="T2" fmla="*/ 33 w 396"/>
                      <a:gd name="T3" fmla="*/ 66 h 66"/>
                      <a:gd name="T4" fmla="*/ 33 w 396"/>
                      <a:gd name="T5" fmla="*/ 66 h 66"/>
                      <a:gd name="T6" fmla="*/ 26 w 396"/>
                      <a:gd name="T7" fmla="*/ 65 h 66"/>
                      <a:gd name="T8" fmla="*/ 20 w 396"/>
                      <a:gd name="T9" fmla="*/ 64 h 66"/>
                      <a:gd name="T10" fmla="*/ 15 w 396"/>
                      <a:gd name="T11" fmla="*/ 61 h 66"/>
                      <a:gd name="T12" fmla="*/ 9 w 396"/>
                      <a:gd name="T13" fmla="*/ 57 h 66"/>
                      <a:gd name="T14" fmla="*/ 5 w 396"/>
                      <a:gd name="T15" fmla="*/ 52 h 66"/>
                      <a:gd name="T16" fmla="*/ 2 w 396"/>
                      <a:gd name="T17" fmla="*/ 47 h 66"/>
                      <a:gd name="T18" fmla="*/ 0 w 396"/>
                      <a:gd name="T19" fmla="*/ 40 h 66"/>
                      <a:gd name="T20" fmla="*/ 0 w 396"/>
                      <a:gd name="T21" fmla="*/ 33 h 66"/>
                      <a:gd name="T22" fmla="*/ 0 w 396"/>
                      <a:gd name="T23" fmla="*/ 33 h 66"/>
                      <a:gd name="T24" fmla="*/ 0 w 396"/>
                      <a:gd name="T25" fmla="*/ 27 h 66"/>
                      <a:gd name="T26" fmla="*/ 2 w 396"/>
                      <a:gd name="T27" fmla="*/ 21 h 66"/>
                      <a:gd name="T28" fmla="*/ 5 w 396"/>
                      <a:gd name="T29" fmla="*/ 15 h 66"/>
                      <a:gd name="T30" fmla="*/ 9 w 396"/>
                      <a:gd name="T31" fmla="*/ 10 h 66"/>
                      <a:gd name="T32" fmla="*/ 15 w 396"/>
                      <a:gd name="T33" fmla="*/ 6 h 66"/>
                      <a:gd name="T34" fmla="*/ 20 w 396"/>
                      <a:gd name="T35" fmla="*/ 3 h 66"/>
                      <a:gd name="T36" fmla="*/ 26 w 396"/>
                      <a:gd name="T37" fmla="*/ 1 h 66"/>
                      <a:gd name="T38" fmla="*/ 33 w 396"/>
                      <a:gd name="T39" fmla="*/ 0 h 66"/>
                      <a:gd name="T40" fmla="*/ 363 w 396"/>
                      <a:gd name="T41" fmla="*/ 0 h 66"/>
                      <a:gd name="T42" fmla="*/ 363 w 396"/>
                      <a:gd name="T43" fmla="*/ 0 h 66"/>
                      <a:gd name="T44" fmla="*/ 371 w 396"/>
                      <a:gd name="T45" fmla="*/ 1 h 66"/>
                      <a:gd name="T46" fmla="*/ 377 w 396"/>
                      <a:gd name="T47" fmla="*/ 3 h 66"/>
                      <a:gd name="T48" fmla="*/ 382 w 396"/>
                      <a:gd name="T49" fmla="*/ 6 h 66"/>
                      <a:gd name="T50" fmla="*/ 387 w 396"/>
                      <a:gd name="T51" fmla="*/ 10 h 66"/>
                      <a:gd name="T52" fmla="*/ 391 w 396"/>
                      <a:gd name="T53" fmla="*/ 15 h 66"/>
                      <a:gd name="T54" fmla="*/ 394 w 396"/>
                      <a:gd name="T55" fmla="*/ 21 h 66"/>
                      <a:gd name="T56" fmla="*/ 396 w 396"/>
                      <a:gd name="T57" fmla="*/ 27 h 66"/>
                      <a:gd name="T58" fmla="*/ 396 w 396"/>
                      <a:gd name="T59" fmla="*/ 33 h 66"/>
                      <a:gd name="T60" fmla="*/ 396 w 396"/>
                      <a:gd name="T61" fmla="*/ 33 h 66"/>
                      <a:gd name="T62" fmla="*/ 396 w 396"/>
                      <a:gd name="T63" fmla="*/ 40 h 66"/>
                      <a:gd name="T64" fmla="*/ 394 w 396"/>
                      <a:gd name="T65" fmla="*/ 47 h 66"/>
                      <a:gd name="T66" fmla="*/ 391 w 396"/>
                      <a:gd name="T67" fmla="*/ 52 h 66"/>
                      <a:gd name="T68" fmla="*/ 387 w 396"/>
                      <a:gd name="T69" fmla="*/ 57 h 66"/>
                      <a:gd name="T70" fmla="*/ 382 w 396"/>
                      <a:gd name="T71" fmla="*/ 61 h 66"/>
                      <a:gd name="T72" fmla="*/ 377 w 396"/>
                      <a:gd name="T73" fmla="*/ 64 h 66"/>
                      <a:gd name="T74" fmla="*/ 371 w 396"/>
                      <a:gd name="T75" fmla="*/ 65 h 66"/>
                      <a:gd name="T76" fmla="*/ 363 w 396"/>
                      <a:gd name="T77" fmla="*/ 66 h 66"/>
                      <a:gd name="T78" fmla="*/ 363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3" y="66"/>
                        </a:moveTo>
                        <a:lnTo>
                          <a:pt x="33" y="66"/>
                        </a:lnTo>
                        <a:lnTo>
                          <a:pt x="33" y="66"/>
                        </a:lnTo>
                        <a:lnTo>
                          <a:pt x="26" y="65"/>
                        </a:lnTo>
                        <a:lnTo>
                          <a:pt x="20" y="64"/>
                        </a:lnTo>
                        <a:lnTo>
                          <a:pt x="15" y="61"/>
                        </a:lnTo>
                        <a:lnTo>
                          <a:pt x="9" y="57"/>
                        </a:lnTo>
                        <a:lnTo>
                          <a:pt x="5" y="52"/>
                        </a:lnTo>
                        <a:lnTo>
                          <a:pt x="2" y="47"/>
                        </a:lnTo>
                        <a:lnTo>
                          <a:pt x="0" y="40"/>
                        </a:lnTo>
                        <a:lnTo>
                          <a:pt x="0" y="33"/>
                        </a:lnTo>
                        <a:lnTo>
                          <a:pt x="0" y="33"/>
                        </a:lnTo>
                        <a:lnTo>
                          <a:pt x="0" y="27"/>
                        </a:lnTo>
                        <a:lnTo>
                          <a:pt x="2" y="21"/>
                        </a:lnTo>
                        <a:lnTo>
                          <a:pt x="5" y="15"/>
                        </a:lnTo>
                        <a:lnTo>
                          <a:pt x="9" y="10"/>
                        </a:lnTo>
                        <a:lnTo>
                          <a:pt x="15" y="6"/>
                        </a:lnTo>
                        <a:lnTo>
                          <a:pt x="20" y="3"/>
                        </a:lnTo>
                        <a:lnTo>
                          <a:pt x="26" y="1"/>
                        </a:lnTo>
                        <a:lnTo>
                          <a:pt x="33" y="0"/>
                        </a:lnTo>
                        <a:lnTo>
                          <a:pt x="363" y="0"/>
                        </a:lnTo>
                        <a:lnTo>
                          <a:pt x="363" y="0"/>
                        </a:lnTo>
                        <a:lnTo>
                          <a:pt x="371" y="1"/>
                        </a:lnTo>
                        <a:lnTo>
                          <a:pt x="377" y="3"/>
                        </a:lnTo>
                        <a:lnTo>
                          <a:pt x="382" y="6"/>
                        </a:lnTo>
                        <a:lnTo>
                          <a:pt x="387" y="10"/>
                        </a:lnTo>
                        <a:lnTo>
                          <a:pt x="391" y="15"/>
                        </a:lnTo>
                        <a:lnTo>
                          <a:pt x="394" y="21"/>
                        </a:lnTo>
                        <a:lnTo>
                          <a:pt x="396" y="27"/>
                        </a:lnTo>
                        <a:lnTo>
                          <a:pt x="396" y="33"/>
                        </a:lnTo>
                        <a:lnTo>
                          <a:pt x="396" y="33"/>
                        </a:lnTo>
                        <a:lnTo>
                          <a:pt x="396" y="40"/>
                        </a:lnTo>
                        <a:lnTo>
                          <a:pt x="394" y="47"/>
                        </a:lnTo>
                        <a:lnTo>
                          <a:pt x="391" y="52"/>
                        </a:lnTo>
                        <a:lnTo>
                          <a:pt x="387" y="57"/>
                        </a:lnTo>
                        <a:lnTo>
                          <a:pt x="382" y="61"/>
                        </a:lnTo>
                        <a:lnTo>
                          <a:pt x="377" y="64"/>
                        </a:lnTo>
                        <a:lnTo>
                          <a:pt x="371" y="65"/>
                        </a:lnTo>
                        <a:lnTo>
                          <a:pt x="363" y="66"/>
                        </a:lnTo>
                        <a:lnTo>
                          <a:pt x="3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302" name="Freeform 782">
                    <a:extLst>
                      <a:ext uri="{FF2B5EF4-FFF2-40B4-BE49-F238E27FC236}">
                        <a16:creationId xmlns:a16="http://schemas.microsoft.com/office/drawing/2014/main" id="{78360F9E-1A61-BE8E-21B3-CC496DFA3F3F}"/>
                      </a:ext>
                    </a:extLst>
                  </p:cNvPr>
                  <p:cNvSpPr>
                    <a:spLocks/>
                  </p:cNvSpPr>
                  <p:nvPr/>
                </p:nvSpPr>
                <p:spPr bwMode="auto">
                  <a:xfrm>
                    <a:off x="2676525" y="1793876"/>
                    <a:ext cx="344488" cy="14288"/>
                  </a:xfrm>
                  <a:custGeom>
                    <a:avLst/>
                    <a:gdLst>
                      <a:gd name="T0" fmla="*/ 1488 w 1521"/>
                      <a:gd name="T1" fmla="*/ 66 h 66"/>
                      <a:gd name="T2" fmla="*/ 33 w 1521"/>
                      <a:gd name="T3" fmla="*/ 66 h 66"/>
                      <a:gd name="T4" fmla="*/ 33 w 1521"/>
                      <a:gd name="T5" fmla="*/ 66 h 66"/>
                      <a:gd name="T6" fmla="*/ 26 w 1521"/>
                      <a:gd name="T7" fmla="*/ 65 h 66"/>
                      <a:gd name="T8" fmla="*/ 20 w 1521"/>
                      <a:gd name="T9" fmla="*/ 63 h 66"/>
                      <a:gd name="T10" fmla="*/ 14 w 1521"/>
                      <a:gd name="T11" fmla="*/ 60 h 66"/>
                      <a:gd name="T12" fmla="*/ 9 w 1521"/>
                      <a:gd name="T13" fmla="*/ 56 h 66"/>
                      <a:gd name="T14" fmla="*/ 5 w 1521"/>
                      <a:gd name="T15" fmla="*/ 51 h 66"/>
                      <a:gd name="T16" fmla="*/ 2 w 1521"/>
                      <a:gd name="T17" fmla="*/ 45 h 66"/>
                      <a:gd name="T18" fmla="*/ 0 w 1521"/>
                      <a:gd name="T19" fmla="*/ 39 h 66"/>
                      <a:gd name="T20" fmla="*/ 0 w 1521"/>
                      <a:gd name="T21" fmla="*/ 33 h 66"/>
                      <a:gd name="T22" fmla="*/ 0 w 1521"/>
                      <a:gd name="T23" fmla="*/ 33 h 66"/>
                      <a:gd name="T24" fmla="*/ 0 w 1521"/>
                      <a:gd name="T25" fmla="*/ 26 h 66"/>
                      <a:gd name="T26" fmla="*/ 2 w 1521"/>
                      <a:gd name="T27" fmla="*/ 20 h 66"/>
                      <a:gd name="T28" fmla="*/ 5 w 1521"/>
                      <a:gd name="T29" fmla="*/ 14 h 66"/>
                      <a:gd name="T30" fmla="*/ 9 w 1521"/>
                      <a:gd name="T31" fmla="*/ 9 h 66"/>
                      <a:gd name="T32" fmla="*/ 14 w 1521"/>
                      <a:gd name="T33" fmla="*/ 5 h 66"/>
                      <a:gd name="T34" fmla="*/ 20 w 1521"/>
                      <a:gd name="T35" fmla="*/ 3 h 66"/>
                      <a:gd name="T36" fmla="*/ 26 w 1521"/>
                      <a:gd name="T37" fmla="*/ 1 h 66"/>
                      <a:gd name="T38" fmla="*/ 33 w 1521"/>
                      <a:gd name="T39" fmla="*/ 0 h 66"/>
                      <a:gd name="T40" fmla="*/ 1488 w 1521"/>
                      <a:gd name="T41" fmla="*/ 0 h 66"/>
                      <a:gd name="T42" fmla="*/ 1488 w 1521"/>
                      <a:gd name="T43" fmla="*/ 0 h 66"/>
                      <a:gd name="T44" fmla="*/ 1494 w 1521"/>
                      <a:gd name="T45" fmla="*/ 1 h 66"/>
                      <a:gd name="T46" fmla="*/ 1501 w 1521"/>
                      <a:gd name="T47" fmla="*/ 3 h 66"/>
                      <a:gd name="T48" fmla="*/ 1507 w 1521"/>
                      <a:gd name="T49" fmla="*/ 5 h 66"/>
                      <a:gd name="T50" fmla="*/ 1511 w 1521"/>
                      <a:gd name="T51" fmla="*/ 9 h 66"/>
                      <a:gd name="T52" fmla="*/ 1515 w 1521"/>
                      <a:gd name="T53" fmla="*/ 14 h 66"/>
                      <a:gd name="T54" fmla="*/ 1518 w 1521"/>
                      <a:gd name="T55" fmla="*/ 20 h 66"/>
                      <a:gd name="T56" fmla="*/ 1520 w 1521"/>
                      <a:gd name="T57" fmla="*/ 26 h 66"/>
                      <a:gd name="T58" fmla="*/ 1521 w 1521"/>
                      <a:gd name="T59" fmla="*/ 33 h 66"/>
                      <a:gd name="T60" fmla="*/ 1521 w 1521"/>
                      <a:gd name="T61" fmla="*/ 33 h 66"/>
                      <a:gd name="T62" fmla="*/ 1520 w 1521"/>
                      <a:gd name="T63" fmla="*/ 39 h 66"/>
                      <a:gd name="T64" fmla="*/ 1518 w 1521"/>
                      <a:gd name="T65" fmla="*/ 45 h 66"/>
                      <a:gd name="T66" fmla="*/ 1515 w 1521"/>
                      <a:gd name="T67" fmla="*/ 51 h 66"/>
                      <a:gd name="T68" fmla="*/ 1511 w 1521"/>
                      <a:gd name="T69" fmla="*/ 56 h 66"/>
                      <a:gd name="T70" fmla="*/ 1507 w 1521"/>
                      <a:gd name="T71" fmla="*/ 60 h 66"/>
                      <a:gd name="T72" fmla="*/ 1501 w 1521"/>
                      <a:gd name="T73" fmla="*/ 63 h 66"/>
                      <a:gd name="T74" fmla="*/ 1494 w 1521"/>
                      <a:gd name="T75" fmla="*/ 65 h 66"/>
                      <a:gd name="T76" fmla="*/ 1488 w 1521"/>
                      <a:gd name="T77" fmla="*/ 66 h 66"/>
                      <a:gd name="T78" fmla="*/ 1488 w 1521"/>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21" h="66">
                        <a:moveTo>
                          <a:pt x="1488" y="66"/>
                        </a:moveTo>
                        <a:lnTo>
                          <a:pt x="33" y="66"/>
                        </a:lnTo>
                        <a:lnTo>
                          <a:pt x="33" y="66"/>
                        </a:lnTo>
                        <a:lnTo>
                          <a:pt x="26" y="65"/>
                        </a:lnTo>
                        <a:lnTo>
                          <a:pt x="20" y="63"/>
                        </a:lnTo>
                        <a:lnTo>
                          <a:pt x="14" y="60"/>
                        </a:lnTo>
                        <a:lnTo>
                          <a:pt x="9" y="56"/>
                        </a:lnTo>
                        <a:lnTo>
                          <a:pt x="5" y="51"/>
                        </a:lnTo>
                        <a:lnTo>
                          <a:pt x="2" y="45"/>
                        </a:lnTo>
                        <a:lnTo>
                          <a:pt x="0" y="39"/>
                        </a:lnTo>
                        <a:lnTo>
                          <a:pt x="0" y="33"/>
                        </a:lnTo>
                        <a:lnTo>
                          <a:pt x="0" y="33"/>
                        </a:lnTo>
                        <a:lnTo>
                          <a:pt x="0" y="26"/>
                        </a:lnTo>
                        <a:lnTo>
                          <a:pt x="2" y="20"/>
                        </a:lnTo>
                        <a:lnTo>
                          <a:pt x="5" y="14"/>
                        </a:lnTo>
                        <a:lnTo>
                          <a:pt x="9" y="9"/>
                        </a:lnTo>
                        <a:lnTo>
                          <a:pt x="14" y="5"/>
                        </a:lnTo>
                        <a:lnTo>
                          <a:pt x="20" y="3"/>
                        </a:lnTo>
                        <a:lnTo>
                          <a:pt x="26" y="1"/>
                        </a:lnTo>
                        <a:lnTo>
                          <a:pt x="33" y="0"/>
                        </a:lnTo>
                        <a:lnTo>
                          <a:pt x="1488" y="0"/>
                        </a:lnTo>
                        <a:lnTo>
                          <a:pt x="1488" y="0"/>
                        </a:lnTo>
                        <a:lnTo>
                          <a:pt x="1494" y="1"/>
                        </a:lnTo>
                        <a:lnTo>
                          <a:pt x="1501" y="3"/>
                        </a:lnTo>
                        <a:lnTo>
                          <a:pt x="1507" y="5"/>
                        </a:lnTo>
                        <a:lnTo>
                          <a:pt x="1511" y="9"/>
                        </a:lnTo>
                        <a:lnTo>
                          <a:pt x="1515" y="14"/>
                        </a:lnTo>
                        <a:lnTo>
                          <a:pt x="1518" y="20"/>
                        </a:lnTo>
                        <a:lnTo>
                          <a:pt x="1520" y="26"/>
                        </a:lnTo>
                        <a:lnTo>
                          <a:pt x="1521" y="33"/>
                        </a:lnTo>
                        <a:lnTo>
                          <a:pt x="1521" y="33"/>
                        </a:lnTo>
                        <a:lnTo>
                          <a:pt x="1520" y="39"/>
                        </a:lnTo>
                        <a:lnTo>
                          <a:pt x="1518" y="45"/>
                        </a:lnTo>
                        <a:lnTo>
                          <a:pt x="1515" y="51"/>
                        </a:lnTo>
                        <a:lnTo>
                          <a:pt x="1511" y="56"/>
                        </a:lnTo>
                        <a:lnTo>
                          <a:pt x="1507" y="60"/>
                        </a:lnTo>
                        <a:lnTo>
                          <a:pt x="1501" y="63"/>
                        </a:lnTo>
                        <a:lnTo>
                          <a:pt x="1494" y="65"/>
                        </a:lnTo>
                        <a:lnTo>
                          <a:pt x="1488" y="66"/>
                        </a:lnTo>
                        <a:lnTo>
                          <a:pt x="1488"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303" name="Freeform 783">
                    <a:extLst>
                      <a:ext uri="{FF2B5EF4-FFF2-40B4-BE49-F238E27FC236}">
                        <a16:creationId xmlns:a16="http://schemas.microsoft.com/office/drawing/2014/main" id="{53C74051-D60E-44F0-0B8A-59DA07032BBF}"/>
                      </a:ext>
                    </a:extLst>
                  </p:cNvPr>
                  <p:cNvSpPr>
                    <a:spLocks/>
                  </p:cNvSpPr>
                  <p:nvPr/>
                </p:nvSpPr>
                <p:spPr bwMode="auto">
                  <a:xfrm>
                    <a:off x="2684463" y="1628776"/>
                    <a:ext cx="88900" cy="14288"/>
                  </a:xfrm>
                  <a:custGeom>
                    <a:avLst/>
                    <a:gdLst>
                      <a:gd name="T0" fmla="*/ 363 w 396"/>
                      <a:gd name="T1" fmla="*/ 66 h 66"/>
                      <a:gd name="T2" fmla="*/ 33 w 396"/>
                      <a:gd name="T3" fmla="*/ 66 h 66"/>
                      <a:gd name="T4" fmla="*/ 33 w 396"/>
                      <a:gd name="T5" fmla="*/ 66 h 66"/>
                      <a:gd name="T6" fmla="*/ 26 w 396"/>
                      <a:gd name="T7" fmla="*/ 65 h 66"/>
                      <a:gd name="T8" fmla="*/ 20 w 396"/>
                      <a:gd name="T9" fmla="*/ 63 h 66"/>
                      <a:gd name="T10" fmla="*/ 15 w 396"/>
                      <a:gd name="T11" fmla="*/ 61 h 66"/>
                      <a:gd name="T12" fmla="*/ 9 w 396"/>
                      <a:gd name="T13" fmla="*/ 57 h 66"/>
                      <a:gd name="T14" fmla="*/ 5 w 396"/>
                      <a:gd name="T15" fmla="*/ 52 h 66"/>
                      <a:gd name="T16" fmla="*/ 2 w 396"/>
                      <a:gd name="T17" fmla="*/ 45 h 66"/>
                      <a:gd name="T18" fmla="*/ 0 w 396"/>
                      <a:gd name="T19" fmla="*/ 39 h 66"/>
                      <a:gd name="T20" fmla="*/ 0 w 396"/>
                      <a:gd name="T21" fmla="*/ 33 h 66"/>
                      <a:gd name="T22" fmla="*/ 0 w 396"/>
                      <a:gd name="T23" fmla="*/ 33 h 66"/>
                      <a:gd name="T24" fmla="*/ 0 w 396"/>
                      <a:gd name="T25" fmla="*/ 27 h 66"/>
                      <a:gd name="T26" fmla="*/ 2 w 396"/>
                      <a:gd name="T27" fmla="*/ 21 h 66"/>
                      <a:gd name="T28" fmla="*/ 5 w 396"/>
                      <a:gd name="T29" fmla="*/ 14 h 66"/>
                      <a:gd name="T30" fmla="*/ 9 w 396"/>
                      <a:gd name="T31" fmla="*/ 9 h 66"/>
                      <a:gd name="T32" fmla="*/ 15 w 396"/>
                      <a:gd name="T33" fmla="*/ 6 h 66"/>
                      <a:gd name="T34" fmla="*/ 20 w 396"/>
                      <a:gd name="T35" fmla="*/ 3 h 66"/>
                      <a:gd name="T36" fmla="*/ 26 w 396"/>
                      <a:gd name="T37" fmla="*/ 1 h 66"/>
                      <a:gd name="T38" fmla="*/ 33 w 396"/>
                      <a:gd name="T39" fmla="*/ 0 h 66"/>
                      <a:gd name="T40" fmla="*/ 363 w 396"/>
                      <a:gd name="T41" fmla="*/ 0 h 66"/>
                      <a:gd name="T42" fmla="*/ 363 w 396"/>
                      <a:gd name="T43" fmla="*/ 0 h 66"/>
                      <a:gd name="T44" fmla="*/ 371 w 396"/>
                      <a:gd name="T45" fmla="*/ 1 h 66"/>
                      <a:gd name="T46" fmla="*/ 377 w 396"/>
                      <a:gd name="T47" fmla="*/ 3 h 66"/>
                      <a:gd name="T48" fmla="*/ 382 w 396"/>
                      <a:gd name="T49" fmla="*/ 6 h 66"/>
                      <a:gd name="T50" fmla="*/ 387 w 396"/>
                      <a:gd name="T51" fmla="*/ 9 h 66"/>
                      <a:gd name="T52" fmla="*/ 391 w 396"/>
                      <a:gd name="T53" fmla="*/ 14 h 66"/>
                      <a:gd name="T54" fmla="*/ 394 w 396"/>
                      <a:gd name="T55" fmla="*/ 21 h 66"/>
                      <a:gd name="T56" fmla="*/ 396 w 396"/>
                      <a:gd name="T57" fmla="*/ 27 h 66"/>
                      <a:gd name="T58" fmla="*/ 396 w 396"/>
                      <a:gd name="T59" fmla="*/ 33 h 66"/>
                      <a:gd name="T60" fmla="*/ 396 w 396"/>
                      <a:gd name="T61" fmla="*/ 33 h 66"/>
                      <a:gd name="T62" fmla="*/ 396 w 396"/>
                      <a:gd name="T63" fmla="*/ 39 h 66"/>
                      <a:gd name="T64" fmla="*/ 394 w 396"/>
                      <a:gd name="T65" fmla="*/ 45 h 66"/>
                      <a:gd name="T66" fmla="*/ 391 w 396"/>
                      <a:gd name="T67" fmla="*/ 52 h 66"/>
                      <a:gd name="T68" fmla="*/ 387 w 396"/>
                      <a:gd name="T69" fmla="*/ 57 h 66"/>
                      <a:gd name="T70" fmla="*/ 382 w 396"/>
                      <a:gd name="T71" fmla="*/ 61 h 66"/>
                      <a:gd name="T72" fmla="*/ 377 w 396"/>
                      <a:gd name="T73" fmla="*/ 63 h 66"/>
                      <a:gd name="T74" fmla="*/ 371 w 396"/>
                      <a:gd name="T75" fmla="*/ 65 h 66"/>
                      <a:gd name="T76" fmla="*/ 363 w 396"/>
                      <a:gd name="T77" fmla="*/ 66 h 66"/>
                      <a:gd name="T78" fmla="*/ 363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3" y="66"/>
                        </a:moveTo>
                        <a:lnTo>
                          <a:pt x="33" y="66"/>
                        </a:lnTo>
                        <a:lnTo>
                          <a:pt x="33" y="66"/>
                        </a:lnTo>
                        <a:lnTo>
                          <a:pt x="26" y="65"/>
                        </a:lnTo>
                        <a:lnTo>
                          <a:pt x="20" y="63"/>
                        </a:lnTo>
                        <a:lnTo>
                          <a:pt x="15" y="61"/>
                        </a:lnTo>
                        <a:lnTo>
                          <a:pt x="9" y="57"/>
                        </a:lnTo>
                        <a:lnTo>
                          <a:pt x="5" y="52"/>
                        </a:lnTo>
                        <a:lnTo>
                          <a:pt x="2" y="45"/>
                        </a:lnTo>
                        <a:lnTo>
                          <a:pt x="0" y="39"/>
                        </a:lnTo>
                        <a:lnTo>
                          <a:pt x="0" y="33"/>
                        </a:lnTo>
                        <a:lnTo>
                          <a:pt x="0" y="33"/>
                        </a:lnTo>
                        <a:lnTo>
                          <a:pt x="0" y="27"/>
                        </a:lnTo>
                        <a:lnTo>
                          <a:pt x="2" y="21"/>
                        </a:lnTo>
                        <a:lnTo>
                          <a:pt x="5" y="14"/>
                        </a:lnTo>
                        <a:lnTo>
                          <a:pt x="9" y="9"/>
                        </a:lnTo>
                        <a:lnTo>
                          <a:pt x="15" y="6"/>
                        </a:lnTo>
                        <a:lnTo>
                          <a:pt x="20" y="3"/>
                        </a:lnTo>
                        <a:lnTo>
                          <a:pt x="26" y="1"/>
                        </a:lnTo>
                        <a:lnTo>
                          <a:pt x="33" y="0"/>
                        </a:lnTo>
                        <a:lnTo>
                          <a:pt x="363" y="0"/>
                        </a:lnTo>
                        <a:lnTo>
                          <a:pt x="363" y="0"/>
                        </a:lnTo>
                        <a:lnTo>
                          <a:pt x="371" y="1"/>
                        </a:lnTo>
                        <a:lnTo>
                          <a:pt x="377" y="3"/>
                        </a:lnTo>
                        <a:lnTo>
                          <a:pt x="382" y="6"/>
                        </a:lnTo>
                        <a:lnTo>
                          <a:pt x="387" y="9"/>
                        </a:lnTo>
                        <a:lnTo>
                          <a:pt x="391" y="14"/>
                        </a:lnTo>
                        <a:lnTo>
                          <a:pt x="394" y="21"/>
                        </a:lnTo>
                        <a:lnTo>
                          <a:pt x="396" y="27"/>
                        </a:lnTo>
                        <a:lnTo>
                          <a:pt x="396" y="33"/>
                        </a:lnTo>
                        <a:lnTo>
                          <a:pt x="396" y="33"/>
                        </a:lnTo>
                        <a:lnTo>
                          <a:pt x="396" y="39"/>
                        </a:lnTo>
                        <a:lnTo>
                          <a:pt x="394" y="45"/>
                        </a:lnTo>
                        <a:lnTo>
                          <a:pt x="391" y="52"/>
                        </a:lnTo>
                        <a:lnTo>
                          <a:pt x="387" y="57"/>
                        </a:lnTo>
                        <a:lnTo>
                          <a:pt x="382" y="61"/>
                        </a:lnTo>
                        <a:lnTo>
                          <a:pt x="377" y="63"/>
                        </a:lnTo>
                        <a:lnTo>
                          <a:pt x="371" y="65"/>
                        </a:lnTo>
                        <a:lnTo>
                          <a:pt x="363" y="66"/>
                        </a:lnTo>
                        <a:lnTo>
                          <a:pt x="3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304" name="Freeform 784">
                    <a:extLst>
                      <a:ext uri="{FF2B5EF4-FFF2-40B4-BE49-F238E27FC236}">
                        <a16:creationId xmlns:a16="http://schemas.microsoft.com/office/drawing/2014/main" id="{8027D772-974E-8ABE-C553-762A96E98E31}"/>
                      </a:ext>
                    </a:extLst>
                  </p:cNvPr>
                  <p:cNvSpPr>
                    <a:spLocks/>
                  </p:cNvSpPr>
                  <p:nvPr/>
                </p:nvSpPr>
                <p:spPr bwMode="auto">
                  <a:xfrm>
                    <a:off x="2803525" y="1763713"/>
                    <a:ext cx="90488" cy="14288"/>
                  </a:xfrm>
                  <a:custGeom>
                    <a:avLst/>
                    <a:gdLst>
                      <a:gd name="T0" fmla="*/ 364 w 396"/>
                      <a:gd name="T1" fmla="*/ 66 h 66"/>
                      <a:gd name="T2" fmla="*/ 33 w 396"/>
                      <a:gd name="T3" fmla="*/ 66 h 66"/>
                      <a:gd name="T4" fmla="*/ 33 w 396"/>
                      <a:gd name="T5" fmla="*/ 66 h 66"/>
                      <a:gd name="T6" fmla="*/ 27 w 396"/>
                      <a:gd name="T7" fmla="*/ 65 h 66"/>
                      <a:gd name="T8" fmla="*/ 21 w 396"/>
                      <a:gd name="T9" fmla="*/ 64 h 66"/>
                      <a:gd name="T10" fmla="*/ 14 w 396"/>
                      <a:gd name="T11" fmla="*/ 61 h 66"/>
                      <a:gd name="T12" fmla="*/ 9 w 396"/>
                      <a:gd name="T13" fmla="*/ 57 h 66"/>
                      <a:gd name="T14" fmla="*/ 5 w 396"/>
                      <a:gd name="T15" fmla="*/ 52 h 66"/>
                      <a:gd name="T16" fmla="*/ 3 w 396"/>
                      <a:gd name="T17" fmla="*/ 47 h 66"/>
                      <a:gd name="T18" fmla="*/ 1 w 396"/>
                      <a:gd name="T19" fmla="*/ 40 h 66"/>
                      <a:gd name="T20" fmla="*/ 0 w 396"/>
                      <a:gd name="T21" fmla="*/ 33 h 66"/>
                      <a:gd name="T22" fmla="*/ 0 w 396"/>
                      <a:gd name="T23" fmla="*/ 33 h 66"/>
                      <a:gd name="T24" fmla="*/ 1 w 396"/>
                      <a:gd name="T25" fmla="*/ 27 h 66"/>
                      <a:gd name="T26" fmla="*/ 3 w 396"/>
                      <a:gd name="T27" fmla="*/ 21 h 66"/>
                      <a:gd name="T28" fmla="*/ 5 w 396"/>
                      <a:gd name="T29" fmla="*/ 15 h 66"/>
                      <a:gd name="T30" fmla="*/ 9 w 396"/>
                      <a:gd name="T31" fmla="*/ 10 h 66"/>
                      <a:gd name="T32" fmla="*/ 14 w 396"/>
                      <a:gd name="T33" fmla="*/ 6 h 66"/>
                      <a:gd name="T34" fmla="*/ 21 w 396"/>
                      <a:gd name="T35" fmla="*/ 3 h 66"/>
                      <a:gd name="T36" fmla="*/ 27 w 396"/>
                      <a:gd name="T37" fmla="*/ 1 h 66"/>
                      <a:gd name="T38" fmla="*/ 33 w 396"/>
                      <a:gd name="T39" fmla="*/ 0 h 66"/>
                      <a:gd name="T40" fmla="*/ 364 w 396"/>
                      <a:gd name="T41" fmla="*/ 0 h 66"/>
                      <a:gd name="T42" fmla="*/ 364 w 396"/>
                      <a:gd name="T43" fmla="*/ 0 h 66"/>
                      <a:gd name="T44" fmla="*/ 370 w 396"/>
                      <a:gd name="T45" fmla="*/ 1 h 66"/>
                      <a:gd name="T46" fmla="*/ 377 w 396"/>
                      <a:gd name="T47" fmla="*/ 3 h 66"/>
                      <a:gd name="T48" fmla="*/ 382 w 396"/>
                      <a:gd name="T49" fmla="*/ 6 h 66"/>
                      <a:gd name="T50" fmla="*/ 387 w 396"/>
                      <a:gd name="T51" fmla="*/ 10 h 66"/>
                      <a:gd name="T52" fmla="*/ 391 w 396"/>
                      <a:gd name="T53" fmla="*/ 15 h 66"/>
                      <a:gd name="T54" fmla="*/ 394 w 396"/>
                      <a:gd name="T55" fmla="*/ 21 h 66"/>
                      <a:gd name="T56" fmla="*/ 396 w 396"/>
                      <a:gd name="T57" fmla="*/ 27 h 66"/>
                      <a:gd name="T58" fmla="*/ 396 w 396"/>
                      <a:gd name="T59" fmla="*/ 33 h 66"/>
                      <a:gd name="T60" fmla="*/ 396 w 396"/>
                      <a:gd name="T61" fmla="*/ 33 h 66"/>
                      <a:gd name="T62" fmla="*/ 396 w 396"/>
                      <a:gd name="T63" fmla="*/ 40 h 66"/>
                      <a:gd name="T64" fmla="*/ 394 w 396"/>
                      <a:gd name="T65" fmla="*/ 47 h 66"/>
                      <a:gd name="T66" fmla="*/ 391 w 396"/>
                      <a:gd name="T67" fmla="*/ 52 h 66"/>
                      <a:gd name="T68" fmla="*/ 387 w 396"/>
                      <a:gd name="T69" fmla="*/ 57 h 66"/>
                      <a:gd name="T70" fmla="*/ 382 w 396"/>
                      <a:gd name="T71" fmla="*/ 61 h 66"/>
                      <a:gd name="T72" fmla="*/ 377 w 396"/>
                      <a:gd name="T73" fmla="*/ 64 h 66"/>
                      <a:gd name="T74" fmla="*/ 370 w 396"/>
                      <a:gd name="T75" fmla="*/ 65 h 66"/>
                      <a:gd name="T76" fmla="*/ 364 w 396"/>
                      <a:gd name="T77" fmla="*/ 66 h 66"/>
                      <a:gd name="T78" fmla="*/ 364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4" y="66"/>
                        </a:moveTo>
                        <a:lnTo>
                          <a:pt x="33" y="66"/>
                        </a:lnTo>
                        <a:lnTo>
                          <a:pt x="33" y="66"/>
                        </a:lnTo>
                        <a:lnTo>
                          <a:pt x="27" y="65"/>
                        </a:lnTo>
                        <a:lnTo>
                          <a:pt x="21" y="64"/>
                        </a:lnTo>
                        <a:lnTo>
                          <a:pt x="14" y="61"/>
                        </a:lnTo>
                        <a:lnTo>
                          <a:pt x="9" y="57"/>
                        </a:lnTo>
                        <a:lnTo>
                          <a:pt x="5" y="52"/>
                        </a:lnTo>
                        <a:lnTo>
                          <a:pt x="3" y="47"/>
                        </a:lnTo>
                        <a:lnTo>
                          <a:pt x="1" y="40"/>
                        </a:lnTo>
                        <a:lnTo>
                          <a:pt x="0" y="33"/>
                        </a:lnTo>
                        <a:lnTo>
                          <a:pt x="0" y="33"/>
                        </a:lnTo>
                        <a:lnTo>
                          <a:pt x="1" y="27"/>
                        </a:lnTo>
                        <a:lnTo>
                          <a:pt x="3" y="21"/>
                        </a:lnTo>
                        <a:lnTo>
                          <a:pt x="5" y="15"/>
                        </a:lnTo>
                        <a:lnTo>
                          <a:pt x="9" y="10"/>
                        </a:lnTo>
                        <a:lnTo>
                          <a:pt x="14" y="6"/>
                        </a:lnTo>
                        <a:lnTo>
                          <a:pt x="21" y="3"/>
                        </a:lnTo>
                        <a:lnTo>
                          <a:pt x="27" y="1"/>
                        </a:lnTo>
                        <a:lnTo>
                          <a:pt x="33" y="0"/>
                        </a:lnTo>
                        <a:lnTo>
                          <a:pt x="364" y="0"/>
                        </a:lnTo>
                        <a:lnTo>
                          <a:pt x="364" y="0"/>
                        </a:lnTo>
                        <a:lnTo>
                          <a:pt x="370" y="1"/>
                        </a:lnTo>
                        <a:lnTo>
                          <a:pt x="377" y="3"/>
                        </a:lnTo>
                        <a:lnTo>
                          <a:pt x="382" y="6"/>
                        </a:lnTo>
                        <a:lnTo>
                          <a:pt x="387" y="10"/>
                        </a:lnTo>
                        <a:lnTo>
                          <a:pt x="391" y="15"/>
                        </a:lnTo>
                        <a:lnTo>
                          <a:pt x="394" y="21"/>
                        </a:lnTo>
                        <a:lnTo>
                          <a:pt x="396" y="27"/>
                        </a:lnTo>
                        <a:lnTo>
                          <a:pt x="396" y="33"/>
                        </a:lnTo>
                        <a:lnTo>
                          <a:pt x="396" y="33"/>
                        </a:lnTo>
                        <a:lnTo>
                          <a:pt x="396" y="40"/>
                        </a:lnTo>
                        <a:lnTo>
                          <a:pt x="394" y="47"/>
                        </a:lnTo>
                        <a:lnTo>
                          <a:pt x="391" y="52"/>
                        </a:lnTo>
                        <a:lnTo>
                          <a:pt x="387" y="57"/>
                        </a:lnTo>
                        <a:lnTo>
                          <a:pt x="382" y="61"/>
                        </a:lnTo>
                        <a:lnTo>
                          <a:pt x="377" y="64"/>
                        </a:lnTo>
                        <a:lnTo>
                          <a:pt x="370" y="65"/>
                        </a:lnTo>
                        <a:lnTo>
                          <a:pt x="364" y="66"/>
                        </a:lnTo>
                        <a:lnTo>
                          <a:pt x="36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305" name="Freeform 785">
                    <a:extLst>
                      <a:ext uri="{FF2B5EF4-FFF2-40B4-BE49-F238E27FC236}">
                        <a16:creationId xmlns:a16="http://schemas.microsoft.com/office/drawing/2014/main" id="{2BF9B14E-8019-8ABB-565A-A5B0BB968B0B}"/>
                      </a:ext>
                    </a:extLst>
                  </p:cNvPr>
                  <p:cNvSpPr>
                    <a:spLocks/>
                  </p:cNvSpPr>
                  <p:nvPr/>
                </p:nvSpPr>
                <p:spPr bwMode="auto">
                  <a:xfrm>
                    <a:off x="2803525" y="1628776"/>
                    <a:ext cx="90488" cy="14288"/>
                  </a:xfrm>
                  <a:custGeom>
                    <a:avLst/>
                    <a:gdLst>
                      <a:gd name="T0" fmla="*/ 364 w 396"/>
                      <a:gd name="T1" fmla="*/ 66 h 66"/>
                      <a:gd name="T2" fmla="*/ 33 w 396"/>
                      <a:gd name="T3" fmla="*/ 66 h 66"/>
                      <a:gd name="T4" fmla="*/ 33 w 396"/>
                      <a:gd name="T5" fmla="*/ 66 h 66"/>
                      <a:gd name="T6" fmla="*/ 27 w 396"/>
                      <a:gd name="T7" fmla="*/ 65 h 66"/>
                      <a:gd name="T8" fmla="*/ 21 w 396"/>
                      <a:gd name="T9" fmla="*/ 63 h 66"/>
                      <a:gd name="T10" fmla="*/ 14 w 396"/>
                      <a:gd name="T11" fmla="*/ 61 h 66"/>
                      <a:gd name="T12" fmla="*/ 9 w 396"/>
                      <a:gd name="T13" fmla="*/ 57 h 66"/>
                      <a:gd name="T14" fmla="*/ 5 w 396"/>
                      <a:gd name="T15" fmla="*/ 52 h 66"/>
                      <a:gd name="T16" fmla="*/ 3 w 396"/>
                      <a:gd name="T17" fmla="*/ 45 h 66"/>
                      <a:gd name="T18" fmla="*/ 1 w 396"/>
                      <a:gd name="T19" fmla="*/ 39 h 66"/>
                      <a:gd name="T20" fmla="*/ 0 w 396"/>
                      <a:gd name="T21" fmla="*/ 33 h 66"/>
                      <a:gd name="T22" fmla="*/ 0 w 396"/>
                      <a:gd name="T23" fmla="*/ 33 h 66"/>
                      <a:gd name="T24" fmla="*/ 1 w 396"/>
                      <a:gd name="T25" fmla="*/ 27 h 66"/>
                      <a:gd name="T26" fmla="*/ 3 w 396"/>
                      <a:gd name="T27" fmla="*/ 21 h 66"/>
                      <a:gd name="T28" fmla="*/ 5 w 396"/>
                      <a:gd name="T29" fmla="*/ 14 h 66"/>
                      <a:gd name="T30" fmla="*/ 9 w 396"/>
                      <a:gd name="T31" fmla="*/ 9 h 66"/>
                      <a:gd name="T32" fmla="*/ 14 w 396"/>
                      <a:gd name="T33" fmla="*/ 6 h 66"/>
                      <a:gd name="T34" fmla="*/ 21 w 396"/>
                      <a:gd name="T35" fmla="*/ 3 h 66"/>
                      <a:gd name="T36" fmla="*/ 27 w 396"/>
                      <a:gd name="T37" fmla="*/ 1 h 66"/>
                      <a:gd name="T38" fmla="*/ 33 w 396"/>
                      <a:gd name="T39" fmla="*/ 0 h 66"/>
                      <a:gd name="T40" fmla="*/ 364 w 396"/>
                      <a:gd name="T41" fmla="*/ 0 h 66"/>
                      <a:gd name="T42" fmla="*/ 364 w 396"/>
                      <a:gd name="T43" fmla="*/ 0 h 66"/>
                      <a:gd name="T44" fmla="*/ 370 w 396"/>
                      <a:gd name="T45" fmla="*/ 1 h 66"/>
                      <a:gd name="T46" fmla="*/ 377 w 396"/>
                      <a:gd name="T47" fmla="*/ 3 h 66"/>
                      <a:gd name="T48" fmla="*/ 382 w 396"/>
                      <a:gd name="T49" fmla="*/ 6 h 66"/>
                      <a:gd name="T50" fmla="*/ 387 w 396"/>
                      <a:gd name="T51" fmla="*/ 9 h 66"/>
                      <a:gd name="T52" fmla="*/ 391 w 396"/>
                      <a:gd name="T53" fmla="*/ 14 h 66"/>
                      <a:gd name="T54" fmla="*/ 394 w 396"/>
                      <a:gd name="T55" fmla="*/ 21 h 66"/>
                      <a:gd name="T56" fmla="*/ 396 w 396"/>
                      <a:gd name="T57" fmla="*/ 27 h 66"/>
                      <a:gd name="T58" fmla="*/ 396 w 396"/>
                      <a:gd name="T59" fmla="*/ 33 h 66"/>
                      <a:gd name="T60" fmla="*/ 396 w 396"/>
                      <a:gd name="T61" fmla="*/ 33 h 66"/>
                      <a:gd name="T62" fmla="*/ 396 w 396"/>
                      <a:gd name="T63" fmla="*/ 39 h 66"/>
                      <a:gd name="T64" fmla="*/ 394 w 396"/>
                      <a:gd name="T65" fmla="*/ 45 h 66"/>
                      <a:gd name="T66" fmla="*/ 391 w 396"/>
                      <a:gd name="T67" fmla="*/ 52 h 66"/>
                      <a:gd name="T68" fmla="*/ 387 w 396"/>
                      <a:gd name="T69" fmla="*/ 57 h 66"/>
                      <a:gd name="T70" fmla="*/ 382 w 396"/>
                      <a:gd name="T71" fmla="*/ 61 h 66"/>
                      <a:gd name="T72" fmla="*/ 377 w 396"/>
                      <a:gd name="T73" fmla="*/ 63 h 66"/>
                      <a:gd name="T74" fmla="*/ 370 w 396"/>
                      <a:gd name="T75" fmla="*/ 65 h 66"/>
                      <a:gd name="T76" fmla="*/ 364 w 396"/>
                      <a:gd name="T77" fmla="*/ 66 h 66"/>
                      <a:gd name="T78" fmla="*/ 364 w 3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6" h="66">
                        <a:moveTo>
                          <a:pt x="364" y="66"/>
                        </a:moveTo>
                        <a:lnTo>
                          <a:pt x="33" y="66"/>
                        </a:lnTo>
                        <a:lnTo>
                          <a:pt x="33" y="66"/>
                        </a:lnTo>
                        <a:lnTo>
                          <a:pt x="27" y="65"/>
                        </a:lnTo>
                        <a:lnTo>
                          <a:pt x="21" y="63"/>
                        </a:lnTo>
                        <a:lnTo>
                          <a:pt x="14" y="61"/>
                        </a:lnTo>
                        <a:lnTo>
                          <a:pt x="9" y="57"/>
                        </a:lnTo>
                        <a:lnTo>
                          <a:pt x="5" y="52"/>
                        </a:lnTo>
                        <a:lnTo>
                          <a:pt x="3" y="45"/>
                        </a:lnTo>
                        <a:lnTo>
                          <a:pt x="1" y="39"/>
                        </a:lnTo>
                        <a:lnTo>
                          <a:pt x="0" y="33"/>
                        </a:lnTo>
                        <a:lnTo>
                          <a:pt x="0" y="33"/>
                        </a:lnTo>
                        <a:lnTo>
                          <a:pt x="1" y="27"/>
                        </a:lnTo>
                        <a:lnTo>
                          <a:pt x="3" y="21"/>
                        </a:lnTo>
                        <a:lnTo>
                          <a:pt x="5" y="14"/>
                        </a:lnTo>
                        <a:lnTo>
                          <a:pt x="9" y="9"/>
                        </a:lnTo>
                        <a:lnTo>
                          <a:pt x="14" y="6"/>
                        </a:lnTo>
                        <a:lnTo>
                          <a:pt x="21" y="3"/>
                        </a:lnTo>
                        <a:lnTo>
                          <a:pt x="27" y="1"/>
                        </a:lnTo>
                        <a:lnTo>
                          <a:pt x="33" y="0"/>
                        </a:lnTo>
                        <a:lnTo>
                          <a:pt x="364" y="0"/>
                        </a:lnTo>
                        <a:lnTo>
                          <a:pt x="364" y="0"/>
                        </a:lnTo>
                        <a:lnTo>
                          <a:pt x="370" y="1"/>
                        </a:lnTo>
                        <a:lnTo>
                          <a:pt x="377" y="3"/>
                        </a:lnTo>
                        <a:lnTo>
                          <a:pt x="382" y="6"/>
                        </a:lnTo>
                        <a:lnTo>
                          <a:pt x="387" y="9"/>
                        </a:lnTo>
                        <a:lnTo>
                          <a:pt x="391" y="14"/>
                        </a:lnTo>
                        <a:lnTo>
                          <a:pt x="394" y="21"/>
                        </a:lnTo>
                        <a:lnTo>
                          <a:pt x="396" y="27"/>
                        </a:lnTo>
                        <a:lnTo>
                          <a:pt x="396" y="33"/>
                        </a:lnTo>
                        <a:lnTo>
                          <a:pt x="396" y="33"/>
                        </a:lnTo>
                        <a:lnTo>
                          <a:pt x="396" y="39"/>
                        </a:lnTo>
                        <a:lnTo>
                          <a:pt x="394" y="45"/>
                        </a:lnTo>
                        <a:lnTo>
                          <a:pt x="391" y="52"/>
                        </a:lnTo>
                        <a:lnTo>
                          <a:pt x="387" y="57"/>
                        </a:lnTo>
                        <a:lnTo>
                          <a:pt x="382" y="61"/>
                        </a:lnTo>
                        <a:lnTo>
                          <a:pt x="377" y="63"/>
                        </a:lnTo>
                        <a:lnTo>
                          <a:pt x="370" y="65"/>
                        </a:lnTo>
                        <a:lnTo>
                          <a:pt x="364" y="66"/>
                        </a:lnTo>
                        <a:lnTo>
                          <a:pt x="36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306" name="Rectangle 786">
                    <a:extLst>
                      <a:ext uri="{FF2B5EF4-FFF2-40B4-BE49-F238E27FC236}">
                        <a16:creationId xmlns:a16="http://schemas.microsoft.com/office/drawing/2014/main" id="{EC1E2969-F855-A113-9DFD-43F99E447C84}"/>
                      </a:ext>
                    </a:extLst>
                  </p:cNvPr>
                  <p:cNvSpPr>
                    <a:spLocks noChangeArrowheads="1"/>
                  </p:cNvSpPr>
                  <p:nvPr/>
                </p:nvSpPr>
                <p:spPr bwMode="auto">
                  <a:xfrm>
                    <a:off x="2720975" y="1636713"/>
                    <a:ext cx="15875"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307" name="Rectangle 787">
                    <a:extLst>
                      <a:ext uri="{FF2B5EF4-FFF2-40B4-BE49-F238E27FC236}">
                        <a16:creationId xmlns:a16="http://schemas.microsoft.com/office/drawing/2014/main" id="{A7FAEA4E-8E62-51F0-7371-AAD9B1294792}"/>
                      </a:ext>
                    </a:extLst>
                  </p:cNvPr>
                  <p:cNvSpPr>
                    <a:spLocks noChangeArrowheads="1"/>
                  </p:cNvSpPr>
                  <p:nvPr/>
                </p:nvSpPr>
                <p:spPr bwMode="auto">
                  <a:xfrm>
                    <a:off x="2751138" y="1636713"/>
                    <a:ext cx="15875"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308" name="Rectangle 788">
                    <a:extLst>
                      <a:ext uri="{FF2B5EF4-FFF2-40B4-BE49-F238E27FC236}">
                        <a16:creationId xmlns:a16="http://schemas.microsoft.com/office/drawing/2014/main" id="{CE7069F9-4C3D-97D2-A705-BA78F4455B0C}"/>
                      </a:ext>
                    </a:extLst>
                  </p:cNvPr>
                  <p:cNvSpPr>
                    <a:spLocks noChangeArrowheads="1"/>
                  </p:cNvSpPr>
                  <p:nvPr/>
                </p:nvSpPr>
                <p:spPr bwMode="auto">
                  <a:xfrm>
                    <a:off x="2811463" y="1636713"/>
                    <a:ext cx="14288"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309" name="Rectangle 789">
                    <a:extLst>
                      <a:ext uri="{FF2B5EF4-FFF2-40B4-BE49-F238E27FC236}">
                        <a16:creationId xmlns:a16="http://schemas.microsoft.com/office/drawing/2014/main" id="{FEDA2C59-119C-1D4B-42AB-229A0A1DFD1E}"/>
                      </a:ext>
                    </a:extLst>
                  </p:cNvPr>
                  <p:cNvSpPr>
                    <a:spLocks noChangeArrowheads="1"/>
                  </p:cNvSpPr>
                  <p:nvPr/>
                </p:nvSpPr>
                <p:spPr bwMode="auto">
                  <a:xfrm>
                    <a:off x="2841625" y="1636713"/>
                    <a:ext cx="14288"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310" name="Rectangle 790">
                    <a:extLst>
                      <a:ext uri="{FF2B5EF4-FFF2-40B4-BE49-F238E27FC236}">
                        <a16:creationId xmlns:a16="http://schemas.microsoft.com/office/drawing/2014/main" id="{152295ED-3C7F-2D92-49BE-79321D72A442}"/>
                      </a:ext>
                    </a:extLst>
                  </p:cNvPr>
                  <p:cNvSpPr>
                    <a:spLocks noChangeArrowheads="1"/>
                  </p:cNvSpPr>
                  <p:nvPr/>
                </p:nvSpPr>
                <p:spPr bwMode="auto">
                  <a:xfrm>
                    <a:off x="2871788" y="1636713"/>
                    <a:ext cx="14288"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311" name="Freeform 791">
                    <a:extLst>
                      <a:ext uri="{FF2B5EF4-FFF2-40B4-BE49-F238E27FC236}">
                        <a16:creationId xmlns:a16="http://schemas.microsoft.com/office/drawing/2014/main" id="{66457EF7-A469-EC78-A74A-4A7D3B367BDC}"/>
                      </a:ext>
                    </a:extLst>
                  </p:cNvPr>
                  <p:cNvSpPr>
                    <a:spLocks/>
                  </p:cNvSpPr>
                  <p:nvPr/>
                </p:nvSpPr>
                <p:spPr bwMode="auto">
                  <a:xfrm>
                    <a:off x="2924175" y="1763713"/>
                    <a:ext cx="90488" cy="14288"/>
                  </a:xfrm>
                  <a:custGeom>
                    <a:avLst/>
                    <a:gdLst>
                      <a:gd name="T0" fmla="*/ 364 w 397"/>
                      <a:gd name="T1" fmla="*/ 66 h 66"/>
                      <a:gd name="T2" fmla="*/ 33 w 397"/>
                      <a:gd name="T3" fmla="*/ 66 h 66"/>
                      <a:gd name="T4" fmla="*/ 33 w 397"/>
                      <a:gd name="T5" fmla="*/ 66 h 66"/>
                      <a:gd name="T6" fmla="*/ 27 w 397"/>
                      <a:gd name="T7" fmla="*/ 65 h 66"/>
                      <a:gd name="T8" fmla="*/ 20 w 397"/>
                      <a:gd name="T9" fmla="*/ 64 h 66"/>
                      <a:gd name="T10" fmla="*/ 14 w 397"/>
                      <a:gd name="T11" fmla="*/ 61 h 66"/>
                      <a:gd name="T12" fmla="*/ 10 w 397"/>
                      <a:gd name="T13" fmla="*/ 57 h 66"/>
                      <a:gd name="T14" fmla="*/ 6 w 397"/>
                      <a:gd name="T15" fmla="*/ 52 h 66"/>
                      <a:gd name="T16" fmla="*/ 3 w 397"/>
                      <a:gd name="T17" fmla="*/ 47 h 66"/>
                      <a:gd name="T18" fmla="*/ 1 w 397"/>
                      <a:gd name="T19" fmla="*/ 40 h 66"/>
                      <a:gd name="T20" fmla="*/ 0 w 397"/>
                      <a:gd name="T21" fmla="*/ 33 h 66"/>
                      <a:gd name="T22" fmla="*/ 0 w 397"/>
                      <a:gd name="T23" fmla="*/ 33 h 66"/>
                      <a:gd name="T24" fmla="*/ 1 w 397"/>
                      <a:gd name="T25" fmla="*/ 27 h 66"/>
                      <a:gd name="T26" fmla="*/ 3 w 397"/>
                      <a:gd name="T27" fmla="*/ 21 h 66"/>
                      <a:gd name="T28" fmla="*/ 6 w 397"/>
                      <a:gd name="T29" fmla="*/ 15 h 66"/>
                      <a:gd name="T30" fmla="*/ 10 w 397"/>
                      <a:gd name="T31" fmla="*/ 10 h 66"/>
                      <a:gd name="T32" fmla="*/ 14 w 397"/>
                      <a:gd name="T33" fmla="*/ 6 h 66"/>
                      <a:gd name="T34" fmla="*/ 20 w 397"/>
                      <a:gd name="T35" fmla="*/ 3 h 66"/>
                      <a:gd name="T36" fmla="*/ 27 w 397"/>
                      <a:gd name="T37" fmla="*/ 1 h 66"/>
                      <a:gd name="T38" fmla="*/ 33 w 397"/>
                      <a:gd name="T39" fmla="*/ 0 h 66"/>
                      <a:gd name="T40" fmla="*/ 364 w 397"/>
                      <a:gd name="T41" fmla="*/ 0 h 66"/>
                      <a:gd name="T42" fmla="*/ 364 w 397"/>
                      <a:gd name="T43" fmla="*/ 0 h 66"/>
                      <a:gd name="T44" fmla="*/ 370 w 397"/>
                      <a:gd name="T45" fmla="*/ 1 h 66"/>
                      <a:gd name="T46" fmla="*/ 376 w 397"/>
                      <a:gd name="T47" fmla="*/ 3 h 66"/>
                      <a:gd name="T48" fmla="*/ 383 w 397"/>
                      <a:gd name="T49" fmla="*/ 6 h 66"/>
                      <a:gd name="T50" fmla="*/ 387 w 397"/>
                      <a:gd name="T51" fmla="*/ 10 h 66"/>
                      <a:gd name="T52" fmla="*/ 391 w 397"/>
                      <a:gd name="T53" fmla="*/ 15 h 66"/>
                      <a:gd name="T54" fmla="*/ 394 w 397"/>
                      <a:gd name="T55" fmla="*/ 21 h 66"/>
                      <a:gd name="T56" fmla="*/ 396 w 397"/>
                      <a:gd name="T57" fmla="*/ 27 h 66"/>
                      <a:gd name="T58" fmla="*/ 397 w 397"/>
                      <a:gd name="T59" fmla="*/ 33 h 66"/>
                      <a:gd name="T60" fmla="*/ 397 w 397"/>
                      <a:gd name="T61" fmla="*/ 33 h 66"/>
                      <a:gd name="T62" fmla="*/ 396 w 397"/>
                      <a:gd name="T63" fmla="*/ 40 h 66"/>
                      <a:gd name="T64" fmla="*/ 394 w 397"/>
                      <a:gd name="T65" fmla="*/ 47 h 66"/>
                      <a:gd name="T66" fmla="*/ 391 w 397"/>
                      <a:gd name="T67" fmla="*/ 52 h 66"/>
                      <a:gd name="T68" fmla="*/ 387 w 397"/>
                      <a:gd name="T69" fmla="*/ 57 h 66"/>
                      <a:gd name="T70" fmla="*/ 383 w 397"/>
                      <a:gd name="T71" fmla="*/ 61 h 66"/>
                      <a:gd name="T72" fmla="*/ 376 w 397"/>
                      <a:gd name="T73" fmla="*/ 64 h 66"/>
                      <a:gd name="T74" fmla="*/ 370 w 397"/>
                      <a:gd name="T75" fmla="*/ 65 h 66"/>
                      <a:gd name="T76" fmla="*/ 364 w 397"/>
                      <a:gd name="T77" fmla="*/ 66 h 66"/>
                      <a:gd name="T78" fmla="*/ 364 w 397"/>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7" h="66">
                        <a:moveTo>
                          <a:pt x="364" y="66"/>
                        </a:moveTo>
                        <a:lnTo>
                          <a:pt x="33" y="66"/>
                        </a:lnTo>
                        <a:lnTo>
                          <a:pt x="33" y="66"/>
                        </a:lnTo>
                        <a:lnTo>
                          <a:pt x="27" y="65"/>
                        </a:lnTo>
                        <a:lnTo>
                          <a:pt x="20" y="64"/>
                        </a:lnTo>
                        <a:lnTo>
                          <a:pt x="14" y="61"/>
                        </a:lnTo>
                        <a:lnTo>
                          <a:pt x="10" y="57"/>
                        </a:lnTo>
                        <a:lnTo>
                          <a:pt x="6" y="52"/>
                        </a:lnTo>
                        <a:lnTo>
                          <a:pt x="3" y="47"/>
                        </a:lnTo>
                        <a:lnTo>
                          <a:pt x="1" y="40"/>
                        </a:lnTo>
                        <a:lnTo>
                          <a:pt x="0" y="33"/>
                        </a:lnTo>
                        <a:lnTo>
                          <a:pt x="0" y="33"/>
                        </a:lnTo>
                        <a:lnTo>
                          <a:pt x="1" y="27"/>
                        </a:lnTo>
                        <a:lnTo>
                          <a:pt x="3" y="21"/>
                        </a:lnTo>
                        <a:lnTo>
                          <a:pt x="6" y="15"/>
                        </a:lnTo>
                        <a:lnTo>
                          <a:pt x="10" y="10"/>
                        </a:lnTo>
                        <a:lnTo>
                          <a:pt x="14" y="6"/>
                        </a:lnTo>
                        <a:lnTo>
                          <a:pt x="20" y="3"/>
                        </a:lnTo>
                        <a:lnTo>
                          <a:pt x="27" y="1"/>
                        </a:lnTo>
                        <a:lnTo>
                          <a:pt x="33" y="0"/>
                        </a:lnTo>
                        <a:lnTo>
                          <a:pt x="364" y="0"/>
                        </a:lnTo>
                        <a:lnTo>
                          <a:pt x="364" y="0"/>
                        </a:lnTo>
                        <a:lnTo>
                          <a:pt x="370" y="1"/>
                        </a:lnTo>
                        <a:lnTo>
                          <a:pt x="376" y="3"/>
                        </a:lnTo>
                        <a:lnTo>
                          <a:pt x="383" y="6"/>
                        </a:lnTo>
                        <a:lnTo>
                          <a:pt x="387" y="10"/>
                        </a:lnTo>
                        <a:lnTo>
                          <a:pt x="391" y="15"/>
                        </a:lnTo>
                        <a:lnTo>
                          <a:pt x="394" y="21"/>
                        </a:lnTo>
                        <a:lnTo>
                          <a:pt x="396" y="27"/>
                        </a:lnTo>
                        <a:lnTo>
                          <a:pt x="397" y="33"/>
                        </a:lnTo>
                        <a:lnTo>
                          <a:pt x="397" y="33"/>
                        </a:lnTo>
                        <a:lnTo>
                          <a:pt x="396" y="40"/>
                        </a:lnTo>
                        <a:lnTo>
                          <a:pt x="394" y="47"/>
                        </a:lnTo>
                        <a:lnTo>
                          <a:pt x="391" y="52"/>
                        </a:lnTo>
                        <a:lnTo>
                          <a:pt x="387" y="57"/>
                        </a:lnTo>
                        <a:lnTo>
                          <a:pt x="383" y="61"/>
                        </a:lnTo>
                        <a:lnTo>
                          <a:pt x="376" y="64"/>
                        </a:lnTo>
                        <a:lnTo>
                          <a:pt x="370" y="65"/>
                        </a:lnTo>
                        <a:lnTo>
                          <a:pt x="364" y="66"/>
                        </a:lnTo>
                        <a:lnTo>
                          <a:pt x="36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312" name="Freeform 792">
                    <a:extLst>
                      <a:ext uri="{FF2B5EF4-FFF2-40B4-BE49-F238E27FC236}">
                        <a16:creationId xmlns:a16="http://schemas.microsoft.com/office/drawing/2014/main" id="{451C15AE-5D79-9BDB-AB7F-7A29AC796FD9}"/>
                      </a:ext>
                    </a:extLst>
                  </p:cNvPr>
                  <p:cNvSpPr>
                    <a:spLocks/>
                  </p:cNvSpPr>
                  <p:nvPr/>
                </p:nvSpPr>
                <p:spPr bwMode="auto">
                  <a:xfrm>
                    <a:off x="2924175" y="1628776"/>
                    <a:ext cx="90488" cy="14288"/>
                  </a:xfrm>
                  <a:custGeom>
                    <a:avLst/>
                    <a:gdLst>
                      <a:gd name="T0" fmla="*/ 364 w 397"/>
                      <a:gd name="T1" fmla="*/ 66 h 66"/>
                      <a:gd name="T2" fmla="*/ 33 w 397"/>
                      <a:gd name="T3" fmla="*/ 66 h 66"/>
                      <a:gd name="T4" fmla="*/ 33 w 397"/>
                      <a:gd name="T5" fmla="*/ 66 h 66"/>
                      <a:gd name="T6" fmla="*/ 27 w 397"/>
                      <a:gd name="T7" fmla="*/ 65 h 66"/>
                      <a:gd name="T8" fmla="*/ 20 w 397"/>
                      <a:gd name="T9" fmla="*/ 63 h 66"/>
                      <a:gd name="T10" fmla="*/ 14 w 397"/>
                      <a:gd name="T11" fmla="*/ 61 h 66"/>
                      <a:gd name="T12" fmla="*/ 10 w 397"/>
                      <a:gd name="T13" fmla="*/ 57 h 66"/>
                      <a:gd name="T14" fmla="*/ 6 w 397"/>
                      <a:gd name="T15" fmla="*/ 52 h 66"/>
                      <a:gd name="T16" fmla="*/ 3 w 397"/>
                      <a:gd name="T17" fmla="*/ 45 h 66"/>
                      <a:gd name="T18" fmla="*/ 1 w 397"/>
                      <a:gd name="T19" fmla="*/ 39 h 66"/>
                      <a:gd name="T20" fmla="*/ 0 w 397"/>
                      <a:gd name="T21" fmla="*/ 33 h 66"/>
                      <a:gd name="T22" fmla="*/ 0 w 397"/>
                      <a:gd name="T23" fmla="*/ 33 h 66"/>
                      <a:gd name="T24" fmla="*/ 1 w 397"/>
                      <a:gd name="T25" fmla="*/ 27 h 66"/>
                      <a:gd name="T26" fmla="*/ 3 w 397"/>
                      <a:gd name="T27" fmla="*/ 21 h 66"/>
                      <a:gd name="T28" fmla="*/ 6 w 397"/>
                      <a:gd name="T29" fmla="*/ 14 h 66"/>
                      <a:gd name="T30" fmla="*/ 10 w 397"/>
                      <a:gd name="T31" fmla="*/ 9 h 66"/>
                      <a:gd name="T32" fmla="*/ 14 w 397"/>
                      <a:gd name="T33" fmla="*/ 6 h 66"/>
                      <a:gd name="T34" fmla="*/ 20 w 397"/>
                      <a:gd name="T35" fmla="*/ 3 h 66"/>
                      <a:gd name="T36" fmla="*/ 27 w 397"/>
                      <a:gd name="T37" fmla="*/ 1 h 66"/>
                      <a:gd name="T38" fmla="*/ 33 w 397"/>
                      <a:gd name="T39" fmla="*/ 0 h 66"/>
                      <a:gd name="T40" fmla="*/ 364 w 397"/>
                      <a:gd name="T41" fmla="*/ 0 h 66"/>
                      <a:gd name="T42" fmla="*/ 364 w 397"/>
                      <a:gd name="T43" fmla="*/ 0 h 66"/>
                      <a:gd name="T44" fmla="*/ 370 w 397"/>
                      <a:gd name="T45" fmla="*/ 1 h 66"/>
                      <a:gd name="T46" fmla="*/ 376 w 397"/>
                      <a:gd name="T47" fmla="*/ 3 h 66"/>
                      <a:gd name="T48" fmla="*/ 383 w 397"/>
                      <a:gd name="T49" fmla="*/ 6 h 66"/>
                      <a:gd name="T50" fmla="*/ 387 w 397"/>
                      <a:gd name="T51" fmla="*/ 9 h 66"/>
                      <a:gd name="T52" fmla="*/ 391 w 397"/>
                      <a:gd name="T53" fmla="*/ 14 h 66"/>
                      <a:gd name="T54" fmla="*/ 394 w 397"/>
                      <a:gd name="T55" fmla="*/ 21 h 66"/>
                      <a:gd name="T56" fmla="*/ 396 w 397"/>
                      <a:gd name="T57" fmla="*/ 27 h 66"/>
                      <a:gd name="T58" fmla="*/ 397 w 397"/>
                      <a:gd name="T59" fmla="*/ 33 h 66"/>
                      <a:gd name="T60" fmla="*/ 397 w 397"/>
                      <a:gd name="T61" fmla="*/ 33 h 66"/>
                      <a:gd name="T62" fmla="*/ 396 w 397"/>
                      <a:gd name="T63" fmla="*/ 39 h 66"/>
                      <a:gd name="T64" fmla="*/ 394 w 397"/>
                      <a:gd name="T65" fmla="*/ 45 h 66"/>
                      <a:gd name="T66" fmla="*/ 391 w 397"/>
                      <a:gd name="T67" fmla="*/ 52 h 66"/>
                      <a:gd name="T68" fmla="*/ 387 w 397"/>
                      <a:gd name="T69" fmla="*/ 57 h 66"/>
                      <a:gd name="T70" fmla="*/ 383 w 397"/>
                      <a:gd name="T71" fmla="*/ 61 h 66"/>
                      <a:gd name="T72" fmla="*/ 376 w 397"/>
                      <a:gd name="T73" fmla="*/ 63 h 66"/>
                      <a:gd name="T74" fmla="*/ 370 w 397"/>
                      <a:gd name="T75" fmla="*/ 65 h 66"/>
                      <a:gd name="T76" fmla="*/ 364 w 397"/>
                      <a:gd name="T77" fmla="*/ 66 h 66"/>
                      <a:gd name="T78" fmla="*/ 364 w 397"/>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7" h="66">
                        <a:moveTo>
                          <a:pt x="364" y="66"/>
                        </a:moveTo>
                        <a:lnTo>
                          <a:pt x="33" y="66"/>
                        </a:lnTo>
                        <a:lnTo>
                          <a:pt x="33" y="66"/>
                        </a:lnTo>
                        <a:lnTo>
                          <a:pt x="27" y="65"/>
                        </a:lnTo>
                        <a:lnTo>
                          <a:pt x="20" y="63"/>
                        </a:lnTo>
                        <a:lnTo>
                          <a:pt x="14" y="61"/>
                        </a:lnTo>
                        <a:lnTo>
                          <a:pt x="10" y="57"/>
                        </a:lnTo>
                        <a:lnTo>
                          <a:pt x="6" y="52"/>
                        </a:lnTo>
                        <a:lnTo>
                          <a:pt x="3" y="45"/>
                        </a:lnTo>
                        <a:lnTo>
                          <a:pt x="1" y="39"/>
                        </a:lnTo>
                        <a:lnTo>
                          <a:pt x="0" y="33"/>
                        </a:lnTo>
                        <a:lnTo>
                          <a:pt x="0" y="33"/>
                        </a:lnTo>
                        <a:lnTo>
                          <a:pt x="1" y="27"/>
                        </a:lnTo>
                        <a:lnTo>
                          <a:pt x="3" y="21"/>
                        </a:lnTo>
                        <a:lnTo>
                          <a:pt x="6" y="14"/>
                        </a:lnTo>
                        <a:lnTo>
                          <a:pt x="10" y="9"/>
                        </a:lnTo>
                        <a:lnTo>
                          <a:pt x="14" y="6"/>
                        </a:lnTo>
                        <a:lnTo>
                          <a:pt x="20" y="3"/>
                        </a:lnTo>
                        <a:lnTo>
                          <a:pt x="27" y="1"/>
                        </a:lnTo>
                        <a:lnTo>
                          <a:pt x="33" y="0"/>
                        </a:lnTo>
                        <a:lnTo>
                          <a:pt x="364" y="0"/>
                        </a:lnTo>
                        <a:lnTo>
                          <a:pt x="364" y="0"/>
                        </a:lnTo>
                        <a:lnTo>
                          <a:pt x="370" y="1"/>
                        </a:lnTo>
                        <a:lnTo>
                          <a:pt x="376" y="3"/>
                        </a:lnTo>
                        <a:lnTo>
                          <a:pt x="383" y="6"/>
                        </a:lnTo>
                        <a:lnTo>
                          <a:pt x="387" y="9"/>
                        </a:lnTo>
                        <a:lnTo>
                          <a:pt x="391" y="14"/>
                        </a:lnTo>
                        <a:lnTo>
                          <a:pt x="394" y="21"/>
                        </a:lnTo>
                        <a:lnTo>
                          <a:pt x="396" y="27"/>
                        </a:lnTo>
                        <a:lnTo>
                          <a:pt x="397" y="33"/>
                        </a:lnTo>
                        <a:lnTo>
                          <a:pt x="397" y="33"/>
                        </a:lnTo>
                        <a:lnTo>
                          <a:pt x="396" y="39"/>
                        </a:lnTo>
                        <a:lnTo>
                          <a:pt x="394" y="45"/>
                        </a:lnTo>
                        <a:lnTo>
                          <a:pt x="391" y="52"/>
                        </a:lnTo>
                        <a:lnTo>
                          <a:pt x="387" y="57"/>
                        </a:lnTo>
                        <a:lnTo>
                          <a:pt x="383" y="61"/>
                        </a:lnTo>
                        <a:lnTo>
                          <a:pt x="376" y="63"/>
                        </a:lnTo>
                        <a:lnTo>
                          <a:pt x="370" y="65"/>
                        </a:lnTo>
                        <a:lnTo>
                          <a:pt x="364" y="66"/>
                        </a:lnTo>
                        <a:lnTo>
                          <a:pt x="36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313" name="Rectangle 793">
                    <a:extLst>
                      <a:ext uri="{FF2B5EF4-FFF2-40B4-BE49-F238E27FC236}">
                        <a16:creationId xmlns:a16="http://schemas.microsoft.com/office/drawing/2014/main" id="{9932078F-3F14-5288-EBA8-AFBBF8BD3ACC}"/>
                      </a:ext>
                    </a:extLst>
                  </p:cNvPr>
                  <p:cNvSpPr>
                    <a:spLocks noChangeArrowheads="1"/>
                  </p:cNvSpPr>
                  <p:nvPr/>
                </p:nvSpPr>
                <p:spPr bwMode="auto">
                  <a:xfrm>
                    <a:off x="2932113" y="1636713"/>
                    <a:ext cx="14288"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314" name="Rectangle 794">
                    <a:extLst>
                      <a:ext uri="{FF2B5EF4-FFF2-40B4-BE49-F238E27FC236}">
                        <a16:creationId xmlns:a16="http://schemas.microsoft.com/office/drawing/2014/main" id="{7D716554-7A39-468D-AE57-6C02DB7B206E}"/>
                      </a:ext>
                    </a:extLst>
                  </p:cNvPr>
                  <p:cNvSpPr>
                    <a:spLocks noChangeArrowheads="1"/>
                  </p:cNvSpPr>
                  <p:nvPr/>
                </p:nvSpPr>
                <p:spPr bwMode="auto">
                  <a:xfrm>
                    <a:off x="2960688" y="1636713"/>
                    <a:ext cx="15875"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315" name="Rectangle 795">
                    <a:extLst>
                      <a:ext uri="{FF2B5EF4-FFF2-40B4-BE49-F238E27FC236}">
                        <a16:creationId xmlns:a16="http://schemas.microsoft.com/office/drawing/2014/main" id="{1698B00C-3DED-82DC-8482-35428727A731}"/>
                      </a:ext>
                    </a:extLst>
                  </p:cNvPr>
                  <p:cNvSpPr>
                    <a:spLocks noChangeArrowheads="1"/>
                  </p:cNvSpPr>
                  <p:nvPr/>
                </p:nvSpPr>
                <p:spPr bwMode="auto">
                  <a:xfrm>
                    <a:off x="2990850" y="1636713"/>
                    <a:ext cx="15875" cy="134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316" name="Freeform 796">
                    <a:extLst>
                      <a:ext uri="{FF2B5EF4-FFF2-40B4-BE49-F238E27FC236}">
                        <a16:creationId xmlns:a16="http://schemas.microsoft.com/office/drawing/2014/main" id="{184F4476-4AD1-5A6C-3035-9062289DE411}"/>
                      </a:ext>
                    </a:extLst>
                  </p:cNvPr>
                  <p:cNvSpPr>
                    <a:spLocks noEditPoints="1"/>
                  </p:cNvSpPr>
                  <p:nvPr/>
                </p:nvSpPr>
                <p:spPr bwMode="auto">
                  <a:xfrm>
                    <a:off x="2676525" y="1463676"/>
                    <a:ext cx="344488" cy="150813"/>
                  </a:xfrm>
                  <a:custGeom>
                    <a:avLst/>
                    <a:gdLst>
                      <a:gd name="T0" fmla="*/ 1488 w 1521"/>
                      <a:gd name="T1" fmla="*/ 662 h 662"/>
                      <a:gd name="T2" fmla="*/ 33 w 1521"/>
                      <a:gd name="T3" fmla="*/ 662 h 662"/>
                      <a:gd name="T4" fmla="*/ 33 w 1521"/>
                      <a:gd name="T5" fmla="*/ 662 h 662"/>
                      <a:gd name="T6" fmla="*/ 28 w 1521"/>
                      <a:gd name="T7" fmla="*/ 662 h 662"/>
                      <a:gd name="T8" fmla="*/ 23 w 1521"/>
                      <a:gd name="T9" fmla="*/ 661 h 662"/>
                      <a:gd name="T10" fmla="*/ 18 w 1521"/>
                      <a:gd name="T11" fmla="*/ 658 h 662"/>
                      <a:gd name="T12" fmla="*/ 13 w 1521"/>
                      <a:gd name="T13" fmla="*/ 655 h 662"/>
                      <a:gd name="T14" fmla="*/ 10 w 1521"/>
                      <a:gd name="T15" fmla="*/ 652 h 662"/>
                      <a:gd name="T16" fmla="*/ 6 w 1521"/>
                      <a:gd name="T17" fmla="*/ 648 h 662"/>
                      <a:gd name="T18" fmla="*/ 4 w 1521"/>
                      <a:gd name="T19" fmla="*/ 644 h 662"/>
                      <a:gd name="T20" fmla="*/ 2 w 1521"/>
                      <a:gd name="T21" fmla="*/ 640 h 662"/>
                      <a:gd name="T22" fmla="*/ 2 w 1521"/>
                      <a:gd name="T23" fmla="*/ 640 h 662"/>
                      <a:gd name="T24" fmla="*/ 0 w 1521"/>
                      <a:gd name="T25" fmla="*/ 635 h 662"/>
                      <a:gd name="T26" fmla="*/ 0 w 1521"/>
                      <a:gd name="T27" fmla="*/ 629 h 662"/>
                      <a:gd name="T28" fmla="*/ 0 w 1521"/>
                      <a:gd name="T29" fmla="*/ 624 h 662"/>
                      <a:gd name="T30" fmla="*/ 1 w 1521"/>
                      <a:gd name="T31" fmla="*/ 619 h 662"/>
                      <a:gd name="T32" fmla="*/ 3 w 1521"/>
                      <a:gd name="T33" fmla="*/ 615 h 662"/>
                      <a:gd name="T34" fmla="*/ 5 w 1521"/>
                      <a:gd name="T35" fmla="*/ 610 h 662"/>
                      <a:gd name="T36" fmla="*/ 8 w 1521"/>
                      <a:gd name="T37" fmla="*/ 606 h 662"/>
                      <a:gd name="T38" fmla="*/ 12 w 1521"/>
                      <a:gd name="T39" fmla="*/ 603 h 662"/>
                      <a:gd name="T40" fmla="*/ 775 w 1521"/>
                      <a:gd name="T41" fmla="*/ 7 h 662"/>
                      <a:gd name="T42" fmla="*/ 775 w 1521"/>
                      <a:gd name="T43" fmla="*/ 7 h 662"/>
                      <a:gd name="T44" fmla="*/ 780 w 1521"/>
                      <a:gd name="T45" fmla="*/ 4 h 662"/>
                      <a:gd name="T46" fmla="*/ 785 w 1521"/>
                      <a:gd name="T47" fmla="*/ 2 h 662"/>
                      <a:gd name="T48" fmla="*/ 791 w 1521"/>
                      <a:gd name="T49" fmla="*/ 0 h 662"/>
                      <a:gd name="T50" fmla="*/ 796 w 1521"/>
                      <a:gd name="T51" fmla="*/ 0 h 662"/>
                      <a:gd name="T52" fmla="*/ 802 w 1521"/>
                      <a:gd name="T53" fmla="*/ 1 h 662"/>
                      <a:gd name="T54" fmla="*/ 807 w 1521"/>
                      <a:gd name="T55" fmla="*/ 2 h 662"/>
                      <a:gd name="T56" fmla="*/ 812 w 1521"/>
                      <a:gd name="T57" fmla="*/ 5 h 662"/>
                      <a:gd name="T58" fmla="*/ 818 w 1521"/>
                      <a:gd name="T59" fmla="*/ 8 h 662"/>
                      <a:gd name="T60" fmla="*/ 1510 w 1521"/>
                      <a:gd name="T61" fmla="*/ 604 h 662"/>
                      <a:gd name="T62" fmla="*/ 1510 w 1521"/>
                      <a:gd name="T63" fmla="*/ 604 h 662"/>
                      <a:gd name="T64" fmla="*/ 1513 w 1521"/>
                      <a:gd name="T65" fmla="*/ 608 h 662"/>
                      <a:gd name="T66" fmla="*/ 1516 w 1521"/>
                      <a:gd name="T67" fmla="*/ 611 h 662"/>
                      <a:gd name="T68" fmla="*/ 1518 w 1521"/>
                      <a:gd name="T69" fmla="*/ 616 h 662"/>
                      <a:gd name="T70" fmla="*/ 1520 w 1521"/>
                      <a:gd name="T71" fmla="*/ 620 h 662"/>
                      <a:gd name="T72" fmla="*/ 1520 w 1521"/>
                      <a:gd name="T73" fmla="*/ 625 h 662"/>
                      <a:gd name="T74" fmla="*/ 1521 w 1521"/>
                      <a:gd name="T75" fmla="*/ 631 h 662"/>
                      <a:gd name="T76" fmla="*/ 1520 w 1521"/>
                      <a:gd name="T77" fmla="*/ 636 h 662"/>
                      <a:gd name="T78" fmla="*/ 1519 w 1521"/>
                      <a:gd name="T79" fmla="*/ 640 h 662"/>
                      <a:gd name="T80" fmla="*/ 1519 w 1521"/>
                      <a:gd name="T81" fmla="*/ 640 h 662"/>
                      <a:gd name="T82" fmla="*/ 1517 w 1521"/>
                      <a:gd name="T83" fmla="*/ 645 h 662"/>
                      <a:gd name="T84" fmla="*/ 1514 w 1521"/>
                      <a:gd name="T85" fmla="*/ 649 h 662"/>
                      <a:gd name="T86" fmla="*/ 1511 w 1521"/>
                      <a:gd name="T87" fmla="*/ 652 h 662"/>
                      <a:gd name="T88" fmla="*/ 1507 w 1521"/>
                      <a:gd name="T89" fmla="*/ 655 h 662"/>
                      <a:gd name="T90" fmla="*/ 1503 w 1521"/>
                      <a:gd name="T91" fmla="*/ 658 h 662"/>
                      <a:gd name="T92" fmla="*/ 1497 w 1521"/>
                      <a:gd name="T93" fmla="*/ 661 h 662"/>
                      <a:gd name="T94" fmla="*/ 1493 w 1521"/>
                      <a:gd name="T95" fmla="*/ 662 h 662"/>
                      <a:gd name="T96" fmla="*/ 1488 w 1521"/>
                      <a:gd name="T97" fmla="*/ 662 h 662"/>
                      <a:gd name="T98" fmla="*/ 1488 w 1521"/>
                      <a:gd name="T99" fmla="*/ 662 h 662"/>
                      <a:gd name="T100" fmla="*/ 129 w 1521"/>
                      <a:gd name="T101" fmla="*/ 595 h 662"/>
                      <a:gd name="T102" fmla="*/ 1399 w 1521"/>
                      <a:gd name="T103" fmla="*/ 595 h 662"/>
                      <a:gd name="T104" fmla="*/ 795 w 1521"/>
                      <a:gd name="T105" fmla="*/ 76 h 662"/>
                      <a:gd name="T106" fmla="*/ 129 w 1521"/>
                      <a:gd name="T107" fmla="*/ 59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21" h="662">
                        <a:moveTo>
                          <a:pt x="1488" y="662"/>
                        </a:moveTo>
                        <a:lnTo>
                          <a:pt x="33" y="662"/>
                        </a:lnTo>
                        <a:lnTo>
                          <a:pt x="33" y="662"/>
                        </a:lnTo>
                        <a:lnTo>
                          <a:pt x="28" y="662"/>
                        </a:lnTo>
                        <a:lnTo>
                          <a:pt x="23" y="661"/>
                        </a:lnTo>
                        <a:lnTo>
                          <a:pt x="18" y="658"/>
                        </a:lnTo>
                        <a:lnTo>
                          <a:pt x="13" y="655"/>
                        </a:lnTo>
                        <a:lnTo>
                          <a:pt x="10" y="652"/>
                        </a:lnTo>
                        <a:lnTo>
                          <a:pt x="6" y="648"/>
                        </a:lnTo>
                        <a:lnTo>
                          <a:pt x="4" y="644"/>
                        </a:lnTo>
                        <a:lnTo>
                          <a:pt x="2" y="640"/>
                        </a:lnTo>
                        <a:lnTo>
                          <a:pt x="2" y="640"/>
                        </a:lnTo>
                        <a:lnTo>
                          <a:pt x="0" y="635"/>
                        </a:lnTo>
                        <a:lnTo>
                          <a:pt x="0" y="629"/>
                        </a:lnTo>
                        <a:lnTo>
                          <a:pt x="0" y="624"/>
                        </a:lnTo>
                        <a:lnTo>
                          <a:pt x="1" y="619"/>
                        </a:lnTo>
                        <a:lnTo>
                          <a:pt x="3" y="615"/>
                        </a:lnTo>
                        <a:lnTo>
                          <a:pt x="5" y="610"/>
                        </a:lnTo>
                        <a:lnTo>
                          <a:pt x="8" y="606"/>
                        </a:lnTo>
                        <a:lnTo>
                          <a:pt x="12" y="603"/>
                        </a:lnTo>
                        <a:lnTo>
                          <a:pt x="775" y="7"/>
                        </a:lnTo>
                        <a:lnTo>
                          <a:pt x="775" y="7"/>
                        </a:lnTo>
                        <a:lnTo>
                          <a:pt x="780" y="4"/>
                        </a:lnTo>
                        <a:lnTo>
                          <a:pt x="785" y="2"/>
                        </a:lnTo>
                        <a:lnTo>
                          <a:pt x="791" y="0"/>
                        </a:lnTo>
                        <a:lnTo>
                          <a:pt x="796" y="0"/>
                        </a:lnTo>
                        <a:lnTo>
                          <a:pt x="802" y="1"/>
                        </a:lnTo>
                        <a:lnTo>
                          <a:pt x="807" y="2"/>
                        </a:lnTo>
                        <a:lnTo>
                          <a:pt x="812" y="5"/>
                        </a:lnTo>
                        <a:lnTo>
                          <a:pt x="818" y="8"/>
                        </a:lnTo>
                        <a:lnTo>
                          <a:pt x="1510" y="604"/>
                        </a:lnTo>
                        <a:lnTo>
                          <a:pt x="1510" y="604"/>
                        </a:lnTo>
                        <a:lnTo>
                          <a:pt x="1513" y="608"/>
                        </a:lnTo>
                        <a:lnTo>
                          <a:pt x="1516" y="611"/>
                        </a:lnTo>
                        <a:lnTo>
                          <a:pt x="1518" y="616"/>
                        </a:lnTo>
                        <a:lnTo>
                          <a:pt x="1520" y="620"/>
                        </a:lnTo>
                        <a:lnTo>
                          <a:pt x="1520" y="625"/>
                        </a:lnTo>
                        <a:lnTo>
                          <a:pt x="1521" y="631"/>
                        </a:lnTo>
                        <a:lnTo>
                          <a:pt x="1520" y="636"/>
                        </a:lnTo>
                        <a:lnTo>
                          <a:pt x="1519" y="640"/>
                        </a:lnTo>
                        <a:lnTo>
                          <a:pt x="1519" y="640"/>
                        </a:lnTo>
                        <a:lnTo>
                          <a:pt x="1517" y="645"/>
                        </a:lnTo>
                        <a:lnTo>
                          <a:pt x="1514" y="649"/>
                        </a:lnTo>
                        <a:lnTo>
                          <a:pt x="1511" y="652"/>
                        </a:lnTo>
                        <a:lnTo>
                          <a:pt x="1507" y="655"/>
                        </a:lnTo>
                        <a:lnTo>
                          <a:pt x="1503" y="658"/>
                        </a:lnTo>
                        <a:lnTo>
                          <a:pt x="1497" y="661"/>
                        </a:lnTo>
                        <a:lnTo>
                          <a:pt x="1493" y="662"/>
                        </a:lnTo>
                        <a:lnTo>
                          <a:pt x="1488" y="662"/>
                        </a:lnTo>
                        <a:lnTo>
                          <a:pt x="1488" y="662"/>
                        </a:lnTo>
                        <a:close/>
                        <a:moveTo>
                          <a:pt x="129" y="595"/>
                        </a:moveTo>
                        <a:lnTo>
                          <a:pt x="1399" y="595"/>
                        </a:lnTo>
                        <a:lnTo>
                          <a:pt x="795" y="76"/>
                        </a:lnTo>
                        <a:lnTo>
                          <a:pt x="129" y="5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grpSp>
          </p:grpSp>
        </p:grpSp>
        <p:grpSp>
          <p:nvGrpSpPr>
            <p:cNvPr id="277" name="Group 276">
              <a:extLst>
                <a:ext uri="{FF2B5EF4-FFF2-40B4-BE49-F238E27FC236}">
                  <a16:creationId xmlns:a16="http://schemas.microsoft.com/office/drawing/2014/main" id="{A5BCC8B5-73AC-15D7-1CBB-7EA76A16CB3C}"/>
                </a:ext>
              </a:extLst>
            </p:cNvPr>
            <p:cNvGrpSpPr/>
            <p:nvPr/>
          </p:nvGrpSpPr>
          <p:grpSpPr>
            <a:xfrm>
              <a:off x="1211002" y="3388704"/>
              <a:ext cx="2741238" cy="442150"/>
              <a:chOff x="1285023" y="3492436"/>
              <a:chExt cx="2741238" cy="442150"/>
            </a:xfrm>
          </p:grpSpPr>
          <p:grpSp>
            <p:nvGrpSpPr>
              <p:cNvPr id="154" name="Group 153">
                <a:extLst>
                  <a:ext uri="{FF2B5EF4-FFF2-40B4-BE49-F238E27FC236}">
                    <a16:creationId xmlns:a16="http://schemas.microsoft.com/office/drawing/2014/main" id="{8E547DC1-BFAB-8FA0-EB18-FB847E087D9A}"/>
                  </a:ext>
                </a:extLst>
              </p:cNvPr>
              <p:cNvGrpSpPr/>
              <p:nvPr/>
            </p:nvGrpSpPr>
            <p:grpSpPr>
              <a:xfrm>
                <a:off x="1285023" y="3492436"/>
                <a:ext cx="442151" cy="442150"/>
                <a:chOff x="4404994" y="3015879"/>
                <a:chExt cx="614681" cy="614680"/>
              </a:xfrm>
            </p:grpSpPr>
            <p:sp>
              <p:nvSpPr>
                <p:cNvPr id="155" name="Flowchart: Connector 154">
                  <a:extLst>
                    <a:ext uri="{FF2B5EF4-FFF2-40B4-BE49-F238E27FC236}">
                      <a16:creationId xmlns:a16="http://schemas.microsoft.com/office/drawing/2014/main" id="{96B113D9-F35E-52FC-4642-618AF06C7597}"/>
                    </a:ext>
                  </a:extLst>
                </p:cNvPr>
                <p:cNvSpPr/>
                <p:nvPr/>
              </p:nvSpPr>
              <p:spPr>
                <a:xfrm>
                  <a:off x="4404994" y="3015879"/>
                  <a:ext cx="614681" cy="61468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200" b="1" i="0" u="none" strike="noStrike" kern="1200" cap="none" spc="0" normalizeH="0" baseline="0" noProof="0" dirty="0">
                    <a:ln>
                      <a:noFill/>
                    </a:ln>
                    <a:solidFill>
                      <a:prstClr val="white"/>
                    </a:solidFill>
                    <a:effectLst/>
                    <a:uLnTx/>
                    <a:uFillTx/>
                    <a:latin typeface="Roboto"/>
                    <a:ea typeface="+mn-ea"/>
                    <a:cs typeface="+mn-cs"/>
                  </a:endParaRPr>
                </a:p>
              </p:txBody>
            </p:sp>
            <p:sp>
              <p:nvSpPr>
                <p:cNvPr id="156" name="Freeform 189">
                  <a:extLst>
                    <a:ext uri="{FF2B5EF4-FFF2-40B4-BE49-F238E27FC236}">
                      <a16:creationId xmlns:a16="http://schemas.microsoft.com/office/drawing/2014/main" id="{C559A586-208E-8D27-C0B6-8152800114D5}"/>
                    </a:ext>
                  </a:extLst>
                </p:cNvPr>
                <p:cNvSpPr>
                  <a:spLocks/>
                </p:cNvSpPr>
                <p:nvPr/>
              </p:nvSpPr>
              <p:spPr bwMode="auto">
                <a:xfrm>
                  <a:off x="4621210" y="3147761"/>
                  <a:ext cx="13975" cy="350916"/>
                </a:xfrm>
                <a:custGeom>
                  <a:avLst/>
                  <a:gdLst>
                    <a:gd name="T0" fmla="*/ 33 w 66"/>
                    <a:gd name="T1" fmla="*/ 1587 h 1587"/>
                    <a:gd name="T2" fmla="*/ 33 w 66"/>
                    <a:gd name="T3" fmla="*/ 1587 h 1587"/>
                    <a:gd name="T4" fmla="*/ 26 w 66"/>
                    <a:gd name="T5" fmla="*/ 1586 h 1587"/>
                    <a:gd name="T6" fmla="*/ 20 w 66"/>
                    <a:gd name="T7" fmla="*/ 1584 h 1587"/>
                    <a:gd name="T8" fmla="*/ 14 w 66"/>
                    <a:gd name="T9" fmla="*/ 1581 h 1587"/>
                    <a:gd name="T10" fmla="*/ 9 w 66"/>
                    <a:gd name="T11" fmla="*/ 1576 h 1587"/>
                    <a:gd name="T12" fmla="*/ 5 w 66"/>
                    <a:gd name="T13" fmla="*/ 1572 h 1587"/>
                    <a:gd name="T14" fmla="*/ 2 w 66"/>
                    <a:gd name="T15" fmla="*/ 1566 h 1587"/>
                    <a:gd name="T16" fmla="*/ 0 w 66"/>
                    <a:gd name="T17" fmla="*/ 1560 h 1587"/>
                    <a:gd name="T18" fmla="*/ 0 w 66"/>
                    <a:gd name="T19" fmla="*/ 1554 h 1587"/>
                    <a:gd name="T20" fmla="*/ 0 w 66"/>
                    <a:gd name="T21" fmla="*/ 33 h 1587"/>
                    <a:gd name="T22" fmla="*/ 0 w 66"/>
                    <a:gd name="T23" fmla="*/ 33 h 1587"/>
                    <a:gd name="T24" fmla="*/ 0 w 66"/>
                    <a:gd name="T25" fmla="*/ 27 h 1587"/>
                    <a:gd name="T26" fmla="*/ 2 w 66"/>
                    <a:gd name="T27" fmla="*/ 21 h 1587"/>
                    <a:gd name="T28" fmla="*/ 5 w 66"/>
                    <a:gd name="T29" fmla="*/ 15 h 1587"/>
                    <a:gd name="T30" fmla="*/ 9 w 66"/>
                    <a:gd name="T31" fmla="*/ 10 h 1587"/>
                    <a:gd name="T32" fmla="*/ 14 w 66"/>
                    <a:gd name="T33" fmla="*/ 6 h 1587"/>
                    <a:gd name="T34" fmla="*/ 20 w 66"/>
                    <a:gd name="T35" fmla="*/ 3 h 1587"/>
                    <a:gd name="T36" fmla="*/ 26 w 66"/>
                    <a:gd name="T37" fmla="*/ 1 h 1587"/>
                    <a:gd name="T38" fmla="*/ 33 w 66"/>
                    <a:gd name="T39" fmla="*/ 0 h 1587"/>
                    <a:gd name="T40" fmla="*/ 33 w 66"/>
                    <a:gd name="T41" fmla="*/ 0 h 1587"/>
                    <a:gd name="T42" fmla="*/ 39 w 66"/>
                    <a:gd name="T43" fmla="*/ 1 h 1587"/>
                    <a:gd name="T44" fmla="*/ 46 w 66"/>
                    <a:gd name="T45" fmla="*/ 3 h 1587"/>
                    <a:gd name="T46" fmla="*/ 51 w 66"/>
                    <a:gd name="T47" fmla="*/ 6 h 1587"/>
                    <a:gd name="T48" fmla="*/ 56 w 66"/>
                    <a:gd name="T49" fmla="*/ 10 h 1587"/>
                    <a:gd name="T50" fmla="*/ 60 w 66"/>
                    <a:gd name="T51" fmla="*/ 15 h 1587"/>
                    <a:gd name="T52" fmla="*/ 63 w 66"/>
                    <a:gd name="T53" fmla="*/ 21 h 1587"/>
                    <a:gd name="T54" fmla="*/ 65 w 66"/>
                    <a:gd name="T55" fmla="*/ 27 h 1587"/>
                    <a:gd name="T56" fmla="*/ 66 w 66"/>
                    <a:gd name="T57" fmla="*/ 33 h 1587"/>
                    <a:gd name="T58" fmla="*/ 66 w 66"/>
                    <a:gd name="T59" fmla="*/ 1554 h 1587"/>
                    <a:gd name="T60" fmla="*/ 66 w 66"/>
                    <a:gd name="T61" fmla="*/ 1554 h 1587"/>
                    <a:gd name="T62" fmla="*/ 65 w 66"/>
                    <a:gd name="T63" fmla="*/ 1560 h 1587"/>
                    <a:gd name="T64" fmla="*/ 63 w 66"/>
                    <a:gd name="T65" fmla="*/ 1566 h 1587"/>
                    <a:gd name="T66" fmla="*/ 60 w 66"/>
                    <a:gd name="T67" fmla="*/ 1572 h 1587"/>
                    <a:gd name="T68" fmla="*/ 56 w 66"/>
                    <a:gd name="T69" fmla="*/ 1576 h 1587"/>
                    <a:gd name="T70" fmla="*/ 51 w 66"/>
                    <a:gd name="T71" fmla="*/ 1581 h 1587"/>
                    <a:gd name="T72" fmla="*/ 46 w 66"/>
                    <a:gd name="T73" fmla="*/ 1584 h 1587"/>
                    <a:gd name="T74" fmla="*/ 39 w 66"/>
                    <a:gd name="T75" fmla="*/ 1586 h 1587"/>
                    <a:gd name="T76" fmla="*/ 33 w 66"/>
                    <a:gd name="T77" fmla="*/ 1587 h 1587"/>
                    <a:gd name="T78" fmla="*/ 33 w 66"/>
                    <a:gd name="T79" fmla="*/ 1587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587">
                      <a:moveTo>
                        <a:pt x="33" y="1587"/>
                      </a:moveTo>
                      <a:lnTo>
                        <a:pt x="33" y="1587"/>
                      </a:lnTo>
                      <a:lnTo>
                        <a:pt x="26" y="1586"/>
                      </a:lnTo>
                      <a:lnTo>
                        <a:pt x="20" y="1584"/>
                      </a:lnTo>
                      <a:lnTo>
                        <a:pt x="14" y="1581"/>
                      </a:lnTo>
                      <a:lnTo>
                        <a:pt x="9" y="1576"/>
                      </a:lnTo>
                      <a:lnTo>
                        <a:pt x="5" y="1572"/>
                      </a:lnTo>
                      <a:lnTo>
                        <a:pt x="2" y="1566"/>
                      </a:lnTo>
                      <a:lnTo>
                        <a:pt x="0" y="1560"/>
                      </a:lnTo>
                      <a:lnTo>
                        <a:pt x="0" y="1554"/>
                      </a:lnTo>
                      <a:lnTo>
                        <a:pt x="0" y="33"/>
                      </a:lnTo>
                      <a:lnTo>
                        <a:pt x="0" y="33"/>
                      </a:lnTo>
                      <a:lnTo>
                        <a:pt x="0" y="27"/>
                      </a:lnTo>
                      <a:lnTo>
                        <a:pt x="2" y="21"/>
                      </a:lnTo>
                      <a:lnTo>
                        <a:pt x="5" y="15"/>
                      </a:lnTo>
                      <a:lnTo>
                        <a:pt x="9" y="10"/>
                      </a:lnTo>
                      <a:lnTo>
                        <a:pt x="14" y="6"/>
                      </a:lnTo>
                      <a:lnTo>
                        <a:pt x="20" y="3"/>
                      </a:lnTo>
                      <a:lnTo>
                        <a:pt x="26" y="1"/>
                      </a:lnTo>
                      <a:lnTo>
                        <a:pt x="33" y="0"/>
                      </a:lnTo>
                      <a:lnTo>
                        <a:pt x="33" y="0"/>
                      </a:lnTo>
                      <a:lnTo>
                        <a:pt x="39" y="1"/>
                      </a:lnTo>
                      <a:lnTo>
                        <a:pt x="46" y="3"/>
                      </a:lnTo>
                      <a:lnTo>
                        <a:pt x="51" y="6"/>
                      </a:lnTo>
                      <a:lnTo>
                        <a:pt x="56" y="10"/>
                      </a:lnTo>
                      <a:lnTo>
                        <a:pt x="60" y="15"/>
                      </a:lnTo>
                      <a:lnTo>
                        <a:pt x="63" y="21"/>
                      </a:lnTo>
                      <a:lnTo>
                        <a:pt x="65" y="27"/>
                      </a:lnTo>
                      <a:lnTo>
                        <a:pt x="66" y="33"/>
                      </a:lnTo>
                      <a:lnTo>
                        <a:pt x="66" y="1554"/>
                      </a:lnTo>
                      <a:lnTo>
                        <a:pt x="66" y="1554"/>
                      </a:lnTo>
                      <a:lnTo>
                        <a:pt x="65" y="1560"/>
                      </a:lnTo>
                      <a:lnTo>
                        <a:pt x="63" y="1566"/>
                      </a:lnTo>
                      <a:lnTo>
                        <a:pt x="60" y="1572"/>
                      </a:lnTo>
                      <a:lnTo>
                        <a:pt x="56" y="1576"/>
                      </a:lnTo>
                      <a:lnTo>
                        <a:pt x="51" y="1581"/>
                      </a:lnTo>
                      <a:lnTo>
                        <a:pt x="46" y="1584"/>
                      </a:lnTo>
                      <a:lnTo>
                        <a:pt x="39" y="1586"/>
                      </a:lnTo>
                      <a:lnTo>
                        <a:pt x="33" y="1587"/>
                      </a:lnTo>
                      <a:lnTo>
                        <a:pt x="33" y="158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57" name="Freeform 190">
                  <a:extLst>
                    <a:ext uri="{FF2B5EF4-FFF2-40B4-BE49-F238E27FC236}">
                      <a16:creationId xmlns:a16="http://schemas.microsoft.com/office/drawing/2014/main" id="{26127DB2-5A34-822B-FDEB-20304F3043AF}"/>
                    </a:ext>
                  </a:extLst>
                </p:cNvPr>
                <p:cNvSpPr>
                  <a:spLocks noEditPoints="1"/>
                </p:cNvSpPr>
                <p:nvPr/>
              </p:nvSpPr>
              <p:spPr bwMode="auto">
                <a:xfrm>
                  <a:off x="4554443" y="3153972"/>
                  <a:ext cx="51240" cy="118007"/>
                </a:xfrm>
                <a:custGeom>
                  <a:avLst/>
                  <a:gdLst>
                    <a:gd name="T0" fmla="*/ 199 w 232"/>
                    <a:gd name="T1" fmla="*/ 529 h 529"/>
                    <a:gd name="T2" fmla="*/ 187 w 232"/>
                    <a:gd name="T3" fmla="*/ 527 h 529"/>
                    <a:gd name="T4" fmla="*/ 178 w 232"/>
                    <a:gd name="T5" fmla="*/ 522 h 529"/>
                    <a:gd name="T6" fmla="*/ 161 w 232"/>
                    <a:gd name="T7" fmla="*/ 508 h 529"/>
                    <a:gd name="T8" fmla="*/ 132 w 232"/>
                    <a:gd name="T9" fmla="*/ 482 h 529"/>
                    <a:gd name="T10" fmla="*/ 107 w 232"/>
                    <a:gd name="T11" fmla="*/ 454 h 529"/>
                    <a:gd name="T12" fmla="*/ 85 w 232"/>
                    <a:gd name="T13" fmla="*/ 425 h 529"/>
                    <a:gd name="T14" fmla="*/ 66 w 232"/>
                    <a:gd name="T15" fmla="*/ 396 h 529"/>
                    <a:gd name="T16" fmla="*/ 51 w 232"/>
                    <a:gd name="T17" fmla="*/ 366 h 529"/>
                    <a:gd name="T18" fmla="*/ 37 w 232"/>
                    <a:gd name="T19" fmla="*/ 336 h 529"/>
                    <a:gd name="T20" fmla="*/ 23 w 232"/>
                    <a:gd name="T21" fmla="*/ 289 h 529"/>
                    <a:gd name="T22" fmla="*/ 9 w 232"/>
                    <a:gd name="T23" fmla="*/ 226 h 529"/>
                    <a:gd name="T24" fmla="*/ 3 w 232"/>
                    <a:gd name="T25" fmla="*/ 162 h 529"/>
                    <a:gd name="T26" fmla="*/ 0 w 232"/>
                    <a:gd name="T27" fmla="*/ 98 h 529"/>
                    <a:gd name="T28" fmla="*/ 0 w 232"/>
                    <a:gd name="T29" fmla="*/ 33 h 529"/>
                    <a:gd name="T30" fmla="*/ 2 w 232"/>
                    <a:gd name="T31" fmla="*/ 23 h 529"/>
                    <a:gd name="T32" fmla="*/ 6 w 232"/>
                    <a:gd name="T33" fmla="*/ 15 h 529"/>
                    <a:gd name="T34" fmla="*/ 13 w 232"/>
                    <a:gd name="T35" fmla="*/ 8 h 529"/>
                    <a:gd name="T36" fmla="*/ 22 w 232"/>
                    <a:gd name="T37" fmla="*/ 2 h 529"/>
                    <a:gd name="T38" fmla="*/ 27 w 232"/>
                    <a:gd name="T39" fmla="*/ 1 h 529"/>
                    <a:gd name="T40" fmla="*/ 37 w 232"/>
                    <a:gd name="T41" fmla="*/ 0 h 529"/>
                    <a:gd name="T42" fmla="*/ 47 w 232"/>
                    <a:gd name="T43" fmla="*/ 3 h 529"/>
                    <a:gd name="T44" fmla="*/ 55 w 232"/>
                    <a:gd name="T45" fmla="*/ 9 h 529"/>
                    <a:gd name="T46" fmla="*/ 223 w 232"/>
                    <a:gd name="T47" fmla="*/ 210 h 529"/>
                    <a:gd name="T48" fmla="*/ 228 w 232"/>
                    <a:gd name="T49" fmla="*/ 216 h 529"/>
                    <a:gd name="T50" fmla="*/ 231 w 232"/>
                    <a:gd name="T51" fmla="*/ 226 h 529"/>
                    <a:gd name="T52" fmla="*/ 232 w 232"/>
                    <a:gd name="T53" fmla="*/ 496 h 529"/>
                    <a:gd name="T54" fmla="*/ 231 w 232"/>
                    <a:gd name="T55" fmla="*/ 501 h 529"/>
                    <a:gd name="T56" fmla="*/ 229 w 232"/>
                    <a:gd name="T57" fmla="*/ 510 h 529"/>
                    <a:gd name="T58" fmla="*/ 223 w 232"/>
                    <a:gd name="T59" fmla="*/ 518 h 529"/>
                    <a:gd name="T60" fmla="*/ 217 w 232"/>
                    <a:gd name="T61" fmla="*/ 524 h 529"/>
                    <a:gd name="T62" fmla="*/ 213 w 232"/>
                    <a:gd name="T63" fmla="*/ 526 h 529"/>
                    <a:gd name="T64" fmla="*/ 199 w 232"/>
                    <a:gd name="T65" fmla="*/ 529 h 529"/>
                    <a:gd name="T66" fmla="*/ 67 w 232"/>
                    <a:gd name="T67" fmla="*/ 126 h 529"/>
                    <a:gd name="T68" fmla="*/ 69 w 232"/>
                    <a:gd name="T69" fmla="*/ 166 h 529"/>
                    <a:gd name="T70" fmla="*/ 77 w 232"/>
                    <a:gd name="T71" fmla="*/ 224 h 529"/>
                    <a:gd name="T72" fmla="*/ 84 w 232"/>
                    <a:gd name="T73" fmla="*/ 261 h 529"/>
                    <a:gd name="T74" fmla="*/ 95 w 232"/>
                    <a:gd name="T75" fmla="*/ 298 h 529"/>
                    <a:gd name="T76" fmla="*/ 110 w 232"/>
                    <a:gd name="T77" fmla="*/ 335 h 529"/>
                    <a:gd name="T78" fmla="*/ 128 w 232"/>
                    <a:gd name="T79" fmla="*/ 370 h 529"/>
                    <a:gd name="T80" fmla="*/ 152 w 232"/>
                    <a:gd name="T81" fmla="*/ 404 h 529"/>
                    <a:gd name="T82" fmla="*/ 166 w 232"/>
                    <a:gd name="T83" fmla="*/ 24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29">
                      <a:moveTo>
                        <a:pt x="199" y="529"/>
                      </a:moveTo>
                      <a:lnTo>
                        <a:pt x="199" y="529"/>
                      </a:lnTo>
                      <a:lnTo>
                        <a:pt x="193" y="529"/>
                      </a:lnTo>
                      <a:lnTo>
                        <a:pt x="187" y="527"/>
                      </a:lnTo>
                      <a:lnTo>
                        <a:pt x="182" y="525"/>
                      </a:lnTo>
                      <a:lnTo>
                        <a:pt x="178" y="522"/>
                      </a:lnTo>
                      <a:lnTo>
                        <a:pt x="178" y="522"/>
                      </a:lnTo>
                      <a:lnTo>
                        <a:pt x="161" y="508"/>
                      </a:lnTo>
                      <a:lnTo>
                        <a:pt x="147" y="495"/>
                      </a:lnTo>
                      <a:lnTo>
                        <a:pt x="132" y="482"/>
                      </a:lnTo>
                      <a:lnTo>
                        <a:pt x="119" y="468"/>
                      </a:lnTo>
                      <a:lnTo>
                        <a:pt x="107" y="454"/>
                      </a:lnTo>
                      <a:lnTo>
                        <a:pt x="95" y="439"/>
                      </a:lnTo>
                      <a:lnTo>
                        <a:pt x="85" y="425"/>
                      </a:lnTo>
                      <a:lnTo>
                        <a:pt x="75" y="410"/>
                      </a:lnTo>
                      <a:lnTo>
                        <a:pt x="66" y="396"/>
                      </a:lnTo>
                      <a:lnTo>
                        <a:pt x="58" y="381"/>
                      </a:lnTo>
                      <a:lnTo>
                        <a:pt x="51" y="366"/>
                      </a:lnTo>
                      <a:lnTo>
                        <a:pt x="43" y="350"/>
                      </a:lnTo>
                      <a:lnTo>
                        <a:pt x="37" y="336"/>
                      </a:lnTo>
                      <a:lnTo>
                        <a:pt x="32" y="320"/>
                      </a:lnTo>
                      <a:lnTo>
                        <a:pt x="23" y="289"/>
                      </a:lnTo>
                      <a:lnTo>
                        <a:pt x="14" y="258"/>
                      </a:lnTo>
                      <a:lnTo>
                        <a:pt x="9" y="226"/>
                      </a:lnTo>
                      <a:lnTo>
                        <a:pt x="5" y="194"/>
                      </a:lnTo>
                      <a:lnTo>
                        <a:pt x="3" y="162"/>
                      </a:lnTo>
                      <a:lnTo>
                        <a:pt x="1" y="130"/>
                      </a:lnTo>
                      <a:lnTo>
                        <a:pt x="0" y="98"/>
                      </a:lnTo>
                      <a:lnTo>
                        <a:pt x="0" y="33"/>
                      </a:lnTo>
                      <a:lnTo>
                        <a:pt x="0" y="33"/>
                      </a:lnTo>
                      <a:lnTo>
                        <a:pt x="0" y="28"/>
                      </a:lnTo>
                      <a:lnTo>
                        <a:pt x="2" y="23"/>
                      </a:lnTo>
                      <a:lnTo>
                        <a:pt x="3" y="19"/>
                      </a:lnTo>
                      <a:lnTo>
                        <a:pt x="6" y="15"/>
                      </a:lnTo>
                      <a:lnTo>
                        <a:pt x="9" y="11"/>
                      </a:lnTo>
                      <a:lnTo>
                        <a:pt x="13" y="8"/>
                      </a:lnTo>
                      <a:lnTo>
                        <a:pt x="18" y="4"/>
                      </a:lnTo>
                      <a:lnTo>
                        <a:pt x="22" y="2"/>
                      </a:lnTo>
                      <a:lnTo>
                        <a:pt x="22" y="2"/>
                      </a:lnTo>
                      <a:lnTo>
                        <a:pt x="27" y="1"/>
                      </a:lnTo>
                      <a:lnTo>
                        <a:pt x="32" y="0"/>
                      </a:lnTo>
                      <a:lnTo>
                        <a:pt x="37" y="0"/>
                      </a:lnTo>
                      <a:lnTo>
                        <a:pt x="41" y="1"/>
                      </a:lnTo>
                      <a:lnTo>
                        <a:pt x="47" y="3"/>
                      </a:lnTo>
                      <a:lnTo>
                        <a:pt x="51" y="6"/>
                      </a:lnTo>
                      <a:lnTo>
                        <a:pt x="55" y="9"/>
                      </a:lnTo>
                      <a:lnTo>
                        <a:pt x="59" y="12"/>
                      </a:lnTo>
                      <a:lnTo>
                        <a:pt x="223" y="210"/>
                      </a:lnTo>
                      <a:lnTo>
                        <a:pt x="223" y="210"/>
                      </a:lnTo>
                      <a:lnTo>
                        <a:pt x="228" y="216"/>
                      </a:lnTo>
                      <a:lnTo>
                        <a:pt x="230" y="221"/>
                      </a:lnTo>
                      <a:lnTo>
                        <a:pt x="231" y="226"/>
                      </a:lnTo>
                      <a:lnTo>
                        <a:pt x="232" y="232"/>
                      </a:lnTo>
                      <a:lnTo>
                        <a:pt x="232" y="496"/>
                      </a:lnTo>
                      <a:lnTo>
                        <a:pt x="232" y="496"/>
                      </a:lnTo>
                      <a:lnTo>
                        <a:pt x="231" y="501"/>
                      </a:lnTo>
                      <a:lnTo>
                        <a:pt x="230" y="505"/>
                      </a:lnTo>
                      <a:lnTo>
                        <a:pt x="229" y="510"/>
                      </a:lnTo>
                      <a:lnTo>
                        <a:pt x="227" y="514"/>
                      </a:lnTo>
                      <a:lnTo>
                        <a:pt x="223" y="518"/>
                      </a:lnTo>
                      <a:lnTo>
                        <a:pt x="220" y="521"/>
                      </a:lnTo>
                      <a:lnTo>
                        <a:pt x="217" y="524"/>
                      </a:lnTo>
                      <a:lnTo>
                        <a:pt x="213" y="526"/>
                      </a:lnTo>
                      <a:lnTo>
                        <a:pt x="213" y="526"/>
                      </a:lnTo>
                      <a:lnTo>
                        <a:pt x="206" y="528"/>
                      </a:lnTo>
                      <a:lnTo>
                        <a:pt x="199" y="529"/>
                      </a:lnTo>
                      <a:lnTo>
                        <a:pt x="199" y="529"/>
                      </a:lnTo>
                      <a:close/>
                      <a:moveTo>
                        <a:pt x="67" y="126"/>
                      </a:moveTo>
                      <a:lnTo>
                        <a:pt x="67" y="126"/>
                      </a:lnTo>
                      <a:lnTo>
                        <a:pt x="69" y="166"/>
                      </a:lnTo>
                      <a:lnTo>
                        <a:pt x="73" y="204"/>
                      </a:lnTo>
                      <a:lnTo>
                        <a:pt x="77" y="224"/>
                      </a:lnTo>
                      <a:lnTo>
                        <a:pt x="80" y="243"/>
                      </a:lnTo>
                      <a:lnTo>
                        <a:pt x="84" y="261"/>
                      </a:lnTo>
                      <a:lnTo>
                        <a:pt x="89" y="280"/>
                      </a:lnTo>
                      <a:lnTo>
                        <a:pt x="95" y="298"/>
                      </a:lnTo>
                      <a:lnTo>
                        <a:pt x="101" y="317"/>
                      </a:lnTo>
                      <a:lnTo>
                        <a:pt x="110" y="335"/>
                      </a:lnTo>
                      <a:lnTo>
                        <a:pt x="118" y="352"/>
                      </a:lnTo>
                      <a:lnTo>
                        <a:pt x="128" y="370"/>
                      </a:lnTo>
                      <a:lnTo>
                        <a:pt x="140" y="386"/>
                      </a:lnTo>
                      <a:lnTo>
                        <a:pt x="152" y="404"/>
                      </a:lnTo>
                      <a:lnTo>
                        <a:pt x="166" y="419"/>
                      </a:lnTo>
                      <a:lnTo>
                        <a:pt x="166" y="244"/>
                      </a:lnTo>
                      <a:lnTo>
                        <a:pt x="67" y="1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58" name="Freeform 191">
                  <a:extLst>
                    <a:ext uri="{FF2B5EF4-FFF2-40B4-BE49-F238E27FC236}">
                      <a16:creationId xmlns:a16="http://schemas.microsoft.com/office/drawing/2014/main" id="{9E66BF07-C699-C803-8860-E37FA5DCD7DE}"/>
                    </a:ext>
                  </a:extLst>
                </p:cNvPr>
                <p:cNvSpPr>
                  <a:spLocks noEditPoints="1"/>
                </p:cNvSpPr>
                <p:nvPr/>
              </p:nvSpPr>
              <p:spPr bwMode="auto">
                <a:xfrm>
                  <a:off x="4554443" y="3264216"/>
                  <a:ext cx="51240" cy="118007"/>
                </a:xfrm>
                <a:custGeom>
                  <a:avLst/>
                  <a:gdLst>
                    <a:gd name="T0" fmla="*/ 199 w 232"/>
                    <a:gd name="T1" fmla="*/ 530 h 530"/>
                    <a:gd name="T2" fmla="*/ 187 w 232"/>
                    <a:gd name="T3" fmla="*/ 528 h 530"/>
                    <a:gd name="T4" fmla="*/ 178 w 232"/>
                    <a:gd name="T5" fmla="*/ 523 h 530"/>
                    <a:gd name="T6" fmla="*/ 161 w 232"/>
                    <a:gd name="T7" fmla="*/ 509 h 530"/>
                    <a:gd name="T8" fmla="*/ 132 w 232"/>
                    <a:gd name="T9" fmla="*/ 481 h 530"/>
                    <a:gd name="T10" fmla="*/ 107 w 232"/>
                    <a:gd name="T11" fmla="*/ 453 h 530"/>
                    <a:gd name="T12" fmla="*/ 85 w 232"/>
                    <a:gd name="T13" fmla="*/ 425 h 530"/>
                    <a:gd name="T14" fmla="*/ 66 w 232"/>
                    <a:gd name="T15" fmla="*/ 395 h 530"/>
                    <a:gd name="T16" fmla="*/ 51 w 232"/>
                    <a:gd name="T17" fmla="*/ 365 h 530"/>
                    <a:gd name="T18" fmla="*/ 37 w 232"/>
                    <a:gd name="T19" fmla="*/ 335 h 530"/>
                    <a:gd name="T20" fmla="*/ 23 w 232"/>
                    <a:gd name="T21" fmla="*/ 289 h 530"/>
                    <a:gd name="T22" fmla="*/ 9 w 232"/>
                    <a:gd name="T23" fmla="*/ 226 h 530"/>
                    <a:gd name="T24" fmla="*/ 3 w 232"/>
                    <a:gd name="T25" fmla="*/ 163 h 530"/>
                    <a:gd name="T26" fmla="*/ 0 w 232"/>
                    <a:gd name="T27" fmla="*/ 97 h 530"/>
                    <a:gd name="T28" fmla="*/ 0 w 232"/>
                    <a:gd name="T29" fmla="*/ 33 h 530"/>
                    <a:gd name="T30" fmla="*/ 2 w 232"/>
                    <a:gd name="T31" fmla="*/ 24 h 530"/>
                    <a:gd name="T32" fmla="*/ 6 w 232"/>
                    <a:gd name="T33" fmla="*/ 15 h 530"/>
                    <a:gd name="T34" fmla="*/ 13 w 232"/>
                    <a:gd name="T35" fmla="*/ 7 h 530"/>
                    <a:gd name="T36" fmla="*/ 22 w 232"/>
                    <a:gd name="T37" fmla="*/ 2 h 530"/>
                    <a:gd name="T38" fmla="*/ 27 w 232"/>
                    <a:gd name="T39" fmla="*/ 1 h 530"/>
                    <a:gd name="T40" fmla="*/ 37 w 232"/>
                    <a:gd name="T41" fmla="*/ 1 h 530"/>
                    <a:gd name="T42" fmla="*/ 47 w 232"/>
                    <a:gd name="T43" fmla="*/ 3 h 530"/>
                    <a:gd name="T44" fmla="*/ 55 w 232"/>
                    <a:gd name="T45" fmla="*/ 8 h 530"/>
                    <a:gd name="T46" fmla="*/ 223 w 232"/>
                    <a:gd name="T47" fmla="*/ 210 h 530"/>
                    <a:gd name="T48" fmla="*/ 228 w 232"/>
                    <a:gd name="T49" fmla="*/ 215 h 530"/>
                    <a:gd name="T50" fmla="*/ 231 w 232"/>
                    <a:gd name="T51" fmla="*/ 226 h 530"/>
                    <a:gd name="T52" fmla="*/ 232 w 232"/>
                    <a:gd name="T53" fmla="*/ 497 h 530"/>
                    <a:gd name="T54" fmla="*/ 231 w 232"/>
                    <a:gd name="T55" fmla="*/ 501 h 530"/>
                    <a:gd name="T56" fmla="*/ 229 w 232"/>
                    <a:gd name="T57" fmla="*/ 510 h 530"/>
                    <a:gd name="T58" fmla="*/ 223 w 232"/>
                    <a:gd name="T59" fmla="*/ 518 h 530"/>
                    <a:gd name="T60" fmla="*/ 217 w 232"/>
                    <a:gd name="T61" fmla="*/ 524 h 530"/>
                    <a:gd name="T62" fmla="*/ 213 w 232"/>
                    <a:gd name="T63" fmla="*/ 526 h 530"/>
                    <a:gd name="T64" fmla="*/ 199 w 232"/>
                    <a:gd name="T65" fmla="*/ 530 h 530"/>
                    <a:gd name="T66" fmla="*/ 67 w 232"/>
                    <a:gd name="T67" fmla="*/ 126 h 530"/>
                    <a:gd name="T68" fmla="*/ 69 w 232"/>
                    <a:gd name="T69" fmla="*/ 166 h 530"/>
                    <a:gd name="T70" fmla="*/ 77 w 232"/>
                    <a:gd name="T71" fmla="*/ 224 h 530"/>
                    <a:gd name="T72" fmla="*/ 84 w 232"/>
                    <a:gd name="T73" fmla="*/ 262 h 530"/>
                    <a:gd name="T74" fmla="*/ 95 w 232"/>
                    <a:gd name="T75" fmla="*/ 298 h 530"/>
                    <a:gd name="T76" fmla="*/ 110 w 232"/>
                    <a:gd name="T77" fmla="*/ 334 h 530"/>
                    <a:gd name="T78" fmla="*/ 128 w 232"/>
                    <a:gd name="T79" fmla="*/ 370 h 530"/>
                    <a:gd name="T80" fmla="*/ 152 w 232"/>
                    <a:gd name="T81" fmla="*/ 404 h 530"/>
                    <a:gd name="T82" fmla="*/ 166 w 232"/>
                    <a:gd name="T83" fmla="*/ 244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30">
                      <a:moveTo>
                        <a:pt x="199" y="530"/>
                      </a:moveTo>
                      <a:lnTo>
                        <a:pt x="199" y="530"/>
                      </a:lnTo>
                      <a:lnTo>
                        <a:pt x="193" y="529"/>
                      </a:lnTo>
                      <a:lnTo>
                        <a:pt x="187" y="528"/>
                      </a:lnTo>
                      <a:lnTo>
                        <a:pt x="182" y="526"/>
                      </a:lnTo>
                      <a:lnTo>
                        <a:pt x="178" y="523"/>
                      </a:lnTo>
                      <a:lnTo>
                        <a:pt x="178" y="523"/>
                      </a:lnTo>
                      <a:lnTo>
                        <a:pt x="161" y="509"/>
                      </a:lnTo>
                      <a:lnTo>
                        <a:pt x="147" y="496"/>
                      </a:lnTo>
                      <a:lnTo>
                        <a:pt x="132" y="481"/>
                      </a:lnTo>
                      <a:lnTo>
                        <a:pt x="119" y="468"/>
                      </a:lnTo>
                      <a:lnTo>
                        <a:pt x="107" y="453"/>
                      </a:lnTo>
                      <a:lnTo>
                        <a:pt x="95" y="440"/>
                      </a:lnTo>
                      <a:lnTo>
                        <a:pt x="85" y="425"/>
                      </a:lnTo>
                      <a:lnTo>
                        <a:pt x="75" y="410"/>
                      </a:lnTo>
                      <a:lnTo>
                        <a:pt x="66" y="395"/>
                      </a:lnTo>
                      <a:lnTo>
                        <a:pt x="58" y="381"/>
                      </a:lnTo>
                      <a:lnTo>
                        <a:pt x="51" y="365"/>
                      </a:lnTo>
                      <a:lnTo>
                        <a:pt x="43" y="351"/>
                      </a:lnTo>
                      <a:lnTo>
                        <a:pt x="37" y="335"/>
                      </a:lnTo>
                      <a:lnTo>
                        <a:pt x="32" y="320"/>
                      </a:lnTo>
                      <a:lnTo>
                        <a:pt x="23" y="289"/>
                      </a:lnTo>
                      <a:lnTo>
                        <a:pt x="14" y="258"/>
                      </a:lnTo>
                      <a:lnTo>
                        <a:pt x="9" y="226"/>
                      </a:lnTo>
                      <a:lnTo>
                        <a:pt x="5" y="195"/>
                      </a:lnTo>
                      <a:lnTo>
                        <a:pt x="3" y="163"/>
                      </a:lnTo>
                      <a:lnTo>
                        <a:pt x="1" y="129"/>
                      </a:lnTo>
                      <a:lnTo>
                        <a:pt x="0" y="97"/>
                      </a:lnTo>
                      <a:lnTo>
                        <a:pt x="0" y="33"/>
                      </a:lnTo>
                      <a:lnTo>
                        <a:pt x="0" y="33"/>
                      </a:lnTo>
                      <a:lnTo>
                        <a:pt x="0" y="28"/>
                      </a:lnTo>
                      <a:lnTo>
                        <a:pt x="2" y="24"/>
                      </a:lnTo>
                      <a:lnTo>
                        <a:pt x="3" y="19"/>
                      </a:lnTo>
                      <a:lnTo>
                        <a:pt x="6" y="15"/>
                      </a:lnTo>
                      <a:lnTo>
                        <a:pt x="9" y="10"/>
                      </a:lnTo>
                      <a:lnTo>
                        <a:pt x="13" y="7"/>
                      </a:lnTo>
                      <a:lnTo>
                        <a:pt x="18" y="4"/>
                      </a:lnTo>
                      <a:lnTo>
                        <a:pt x="22" y="2"/>
                      </a:lnTo>
                      <a:lnTo>
                        <a:pt x="22" y="2"/>
                      </a:lnTo>
                      <a:lnTo>
                        <a:pt x="27" y="1"/>
                      </a:lnTo>
                      <a:lnTo>
                        <a:pt x="32" y="0"/>
                      </a:lnTo>
                      <a:lnTo>
                        <a:pt x="37" y="1"/>
                      </a:lnTo>
                      <a:lnTo>
                        <a:pt x="41" y="1"/>
                      </a:lnTo>
                      <a:lnTo>
                        <a:pt x="47" y="3"/>
                      </a:lnTo>
                      <a:lnTo>
                        <a:pt x="51" y="5"/>
                      </a:lnTo>
                      <a:lnTo>
                        <a:pt x="55" y="8"/>
                      </a:lnTo>
                      <a:lnTo>
                        <a:pt x="59" y="13"/>
                      </a:lnTo>
                      <a:lnTo>
                        <a:pt x="223" y="210"/>
                      </a:lnTo>
                      <a:lnTo>
                        <a:pt x="223" y="210"/>
                      </a:lnTo>
                      <a:lnTo>
                        <a:pt x="228" y="215"/>
                      </a:lnTo>
                      <a:lnTo>
                        <a:pt x="230" y="221"/>
                      </a:lnTo>
                      <a:lnTo>
                        <a:pt x="231" y="226"/>
                      </a:lnTo>
                      <a:lnTo>
                        <a:pt x="232" y="232"/>
                      </a:lnTo>
                      <a:lnTo>
                        <a:pt x="232" y="497"/>
                      </a:lnTo>
                      <a:lnTo>
                        <a:pt x="232" y="497"/>
                      </a:lnTo>
                      <a:lnTo>
                        <a:pt x="231" y="501"/>
                      </a:lnTo>
                      <a:lnTo>
                        <a:pt x="230" y="505"/>
                      </a:lnTo>
                      <a:lnTo>
                        <a:pt x="229" y="510"/>
                      </a:lnTo>
                      <a:lnTo>
                        <a:pt x="227" y="514"/>
                      </a:lnTo>
                      <a:lnTo>
                        <a:pt x="223" y="518"/>
                      </a:lnTo>
                      <a:lnTo>
                        <a:pt x="220" y="521"/>
                      </a:lnTo>
                      <a:lnTo>
                        <a:pt x="217" y="524"/>
                      </a:lnTo>
                      <a:lnTo>
                        <a:pt x="213" y="526"/>
                      </a:lnTo>
                      <a:lnTo>
                        <a:pt x="213" y="526"/>
                      </a:lnTo>
                      <a:lnTo>
                        <a:pt x="206" y="529"/>
                      </a:lnTo>
                      <a:lnTo>
                        <a:pt x="199" y="530"/>
                      </a:lnTo>
                      <a:lnTo>
                        <a:pt x="199" y="530"/>
                      </a:lnTo>
                      <a:close/>
                      <a:moveTo>
                        <a:pt x="67" y="126"/>
                      </a:moveTo>
                      <a:lnTo>
                        <a:pt x="67" y="126"/>
                      </a:lnTo>
                      <a:lnTo>
                        <a:pt x="69" y="166"/>
                      </a:lnTo>
                      <a:lnTo>
                        <a:pt x="73" y="205"/>
                      </a:lnTo>
                      <a:lnTo>
                        <a:pt x="77" y="224"/>
                      </a:lnTo>
                      <a:lnTo>
                        <a:pt x="80" y="243"/>
                      </a:lnTo>
                      <a:lnTo>
                        <a:pt x="84" y="262"/>
                      </a:lnTo>
                      <a:lnTo>
                        <a:pt x="89" y="281"/>
                      </a:lnTo>
                      <a:lnTo>
                        <a:pt x="95" y="298"/>
                      </a:lnTo>
                      <a:lnTo>
                        <a:pt x="101" y="317"/>
                      </a:lnTo>
                      <a:lnTo>
                        <a:pt x="110" y="334"/>
                      </a:lnTo>
                      <a:lnTo>
                        <a:pt x="118" y="352"/>
                      </a:lnTo>
                      <a:lnTo>
                        <a:pt x="128" y="370"/>
                      </a:lnTo>
                      <a:lnTo>
                        <a:pt x="140" y="387"/>
                      </a:lnTo>
                      <a:lnTo>
                        <a:pt x="152" y="404"/>
                      </a:lnTo>
                      <a:lnTo>
                        <a:pt x="166" y="420"/>
                      </a:lnTo>
                      <a:lnTo>
                        <a:pt x="166" y="244"/>
                      </a:lnTo>
                      <a:lnTo>
                        <a:pt x="67" y="1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59" name="Freeform 192">
                  <a:extLst>
                    <a:ext uri="{FF2B5EF4-FFF2-40B4-BE49-F238E27FC236}">
                      <a16:creationId xmlns:a16="http://schemas.microsoft.com/office/drawing/2014/main" id="{2C86AEF7-3571-DB79-23D8-8102FACA3D41}"/>
                    </a:ext>
                  </a:extLst>
                </p:cNvPr>
                <p:cNvSpPr>
                  <a:spLocks noEditPoints="1"/>
                </p:cNvSpPr>
                <p:nvPr/>
              </p:nvSpPr>
              <p:spPr bwMode="auto">
                <a:xfrm>
                  <a:off x="4554443" y="3374459"/>
                  <a:ext cx="51240" cy="118007"/>
                </a:xfrm>
                <a:custGeom>
                  <a:avLst/>
                  <a:gdLst>
                    <a:gd name="T0" fmla="*/ 199 w 232"/>
                    <a:gd name="T1" fmla="*/ 529 h 529"/>
                    <a:gd name="T2" fmla="*/ 187 w 232"/>
                    <a:gd name="T3" fmla="*/ 527 h 529"/>
                    <a:gd name="T4" fmla="*/ 178 w 232"/>
                    <a:gd name="T5" fmla="*/ 522 h 529"/>
                    <a:gd name="T6" fmla="*/ 161 w 232"/>
                    <a:gd name="T7" fmla="*/ 508 h 529"/>
                    <a:gd name="T8" fmla="*/ 132 w 232"/>
                    <a:gd name="T9" fmla="*/ 481 h 529"/>
                    <a:gd name="T10" fmla="*/ 107 w 232"/>
                    <a:gd name="T11" fmla="*/ 453 h 529"/>
                    <a:gd name="T12" fmla="*/ 85 w 232"/>
                    <a:gd name="T13" fmla="*/ 424 h 529"/>
                    <a:gd name="T14" fmla="*/ 66 w 232"/>
                    <a:gd name="T15" fmla="*/ 395 h 529"/>
                    <a:gd name="T16" fmla="*/ 51 w 232"/>
                    <a:gd name="T17" fmla="*/ 365 h 529"/>
                    <a:gd name="T18" fmla="*/ 37 w 232"/>
                    <a:gd name="T19" fmla="*/ 334 h 529"/>
                    <a:gd name="T20" fmla="*/ 23 w 232"/>
                    <a:gd name="T21" fmla="*/ 288 h 529"/>
                    <a:gd name="T22" fmla="*/ 9 w 232"/>
                    <a:gd name="T23" fmla="*/ 226 h 529"/>
                    <a:gd name="T24" fmla="*/ 3 w 232"/>
                    <a:gd name="T25" fmla="*/ 161 h 529"/>
                    <a:gd name="T26" fmla="*/ 0 w 232"/>
                    <a:gd name="T27" fmla="*/ 97 h 529"/>
                    <a:gd name="T28" fmla="*/ 0 w 232"/>
                    <a:gd name="T29" fmla="*/ 33 h 529"/>
                    <a:gd name="T30" fmla="*/ 2 w 232"/>
                    <a:gd name="T31" fmla="*/ 23 h 529"/>
                    <a:gd name="T32" fmla="*/ 6 w 232"/>
                    <a:gd name="T33" fmla="*/ 13 h 529"/>
                    <a:gd name="T34" fmla="*/ 13 w 232"/>
                    <a:gd name="T35" fmla="*/ 6 h 529"/>
                    <a:gd name="T36" fmla="*/ 22 w 232"/>
                    <a:gd name="T37" fmla="*/ 1 h 529"/>
                    <a:gd name="T38" fmla="*/ 27 w 232"/>
                    <a:gd name="T39" fmla="*/ 0 h 529"/>
                    <a:gd name="T40" fmla="*/ 37 w 232"/>
                    <a:gd name="T41" fmla="*/ 0 h 529"/>
                    <a:gd name="T42" fmla="*/ 47 w 232"/>
                    <a:gd name="T43" fmla="*/ 2 h 529"/>
                    <a:gd name="T44" fmla="*/ 55 w 232"/>
                    <a:gd name="T45" fmla="*/ 7 h 529"/>
                    <a:gd name="T46" fmla="*/ 223 w 232"/>
                    <a:gd name="T47" fmla="*/ 210 h 529"/>
                    <a:gd name="T48" fmla="*/ 228 w 232"/>
                    <a:gd name="T49" fmla="*/ 214 h 529"/>
                    <a:gd name="T50" fmla="*/ 231 w 232"/>
                    <a:gd name="T51" fmla="*/ 226 h 529"/>
                    <a:gd name="T52" fmla="*/ 232 w 232"/>
                    <a:gd name="T53" fmla="*/ 496 h 529"/>
                    <a:gd name="T54" fmla="*/ 231 w 232"/>
                    <a:gd name="T55" fmla="*/ 500 h 529"/>
                    <a:gd name="T56" fmla="*/ 229 w 232"/>
                    <a:gd name="T57" fmla="*/ 509 h 529"/>
                    <a:gd name="T58" fmla="*/ 223 w 232"/>
                    <a:gd name="T59" fmla="*/ 516 h 529"/>
                    <a:gd name="T60" fmla="*/ 217 w 232"/>
                    <a:gd name="T61" fmla="*/ 523 h 529"/>
                    <a:gd name="T62" fmla="*/ 213 w 232"/>
                    <a:gd name="T63" fmla="*/ 526 h 529"/>
                    <a:gd name="T64" fmla="*/ 199 w 232"/>
                    <a:gd name="T65" fmla="*/ 529 h 529"/>
                    <a:gd name="T66" fmla="*/ 67 w 232"/>
                    <a:gd name="T67" fmla="*/ 125 h 529"/>
                    <a:gd name="T68" fmla="*/ 69 w 232"/>
                    <a:gd name="T69" fmla="*/ 164 h 529"/>
                    <a:gd name="T70" fmla="*/ 77 w 232"/>
                    <a:gd name="T71" fmla="*/ 222 h 529"/>
                    <a:gd name="T72" fmla="*/ 84 w 232"/>
                    <a:gd name="T73" fmla="*/ 261 h 529"/>
                    <a:gd name="T74" fmla="*/ 95 w 232"/>
                    <a:gd name="T75" fmla="*/ 298 h 529"/>
                    <a:gd name="T76" fmla="*/ 110 w 232"/>
                    <a:gd name="T77" fmla="*/ 334 h 529"/>
                    <a:gd name="T78" fmla="*/ 128 w 232"/>
                    <a:gd name="T79" fmla="*/ 368 h 529"/>
                    <a:gd name="T80" fmla="*/ 152 w 232"/>
                    <a:gd name="T81" fmla="*/ 403 h 529"/>
                    <a:gd name="T82" fmla="*/ 166 w 232"/>
                    <a:gd name="T83" fmla="*/ 243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29">
                      <a:moveTo>
                        <a:pt x="199" y="529"/>
                      </a:moveTo>
                      <a:lnTo>
                        <a:pt x="199" y="529"/>
                      </a:lnTo>
                      <a:lnTo>
                        <a:pt x="193" y="528"/>
                      </a:lnTo>
                      <a:lnTo>
                        <a:pt x="187" y="527"/>
                      </a:lnTo>
                      <a:lnTo>
                        <a:pt x="182" y="525"/>
                      </a:lnTo>
                      <a:lnTo>
                        <a:pt x="178" y="522"/>
                      </a:lnTo>
                      <a:lnTo>
                        <a:pt x="178" y="522"/>
                      </a:lnTo>
                      <a:lnTo>
                        <a:pt x="161" y="508"/>
                      </a:lnTo>
                      <a:lnTo>
                        <a:pt x="147" y="495"/>
                      </a:lnTo>
                      <a:lnTo>
                        <a:pt x="132" y="481"/>
                      </a:lnTo>
                      <a:lnTo>
                        <a:pt x="119" y="467"/>
                      </a:lnTo>
                      <a:lnTo>
                        <a:pt x="107" y="453"/>
                      </a:lnTo>
                      <a:lnTo>
                        <a:pt x="95" y="439"/>
                      </a:lnTo>
                      <a:lnTo>
                        <a:pt x="85" y="424"/>
                      </a:lnTo>
                      <a:lnTo>
                        <a:pt x="75" y="410"/>
                      </a:lnTo>
                      <a:lnTo>
                        <a:pt x="66" y="395"/>
                      </a:lnTo>
                      <a:lnTo>
                        <a:pt x="58" y="380"/>
                      </a:lnTo>
                      <a:lnTo>
                        <a:pt x="51" y="365"/>
                      </a:lnTo>
                      <a:lnTo>
                        <a:pt x="43" y="350"/>
                      </a:lnTo>
                      <a:lnTo>
                        <a:pt x="37" y="334"/>
                      </a:lnTo>
                      <a:lnTo>
                        <a:pt x="32" y="319"/>
                      </a:lnTo>
                      <a:lnTo>
                        <a:pt x="23" y="288"/>
                      </a:lnTo>
                      <a:lnTo>
                        <a:pt x="14" y="257"/>
                      </a:lnTo>
                      <a:lnTo>
                        <a:pt x="9" y="226"/>
                      </a:lnTo>
                      <a:lnTo>
                        <a:pt x="5" y="193"/>
                      </a:lnTo>
                      <a:lnTo>
                        <a:pt x="3" y="161"/>
                      </a:lnTo>
                      <a:lnTo>
                        <a:pt x="1" y="129"/>
                      </a:lnTo>
                      <a:lnTo>
                        <a:pt x="0" y="97"/>
                      </a:lnTo>
                      <a:lnTo>
                        <a:pt x="0" y="33"/>
                      </a:lnTo>
                      <a:lnTo>
                        <a:pt x="0" y="33"/>
                      </a:lnTo>
                      <a:lnTo>
                        <a:pt x="0" y="28"/>
                      </a:lnTo>
                      <a:lnTo>
                        <a:pt x="2" y="23"/>
                      </a:lnTo>
                      <a:lnTo>
                        <a:pt x="3" y="18"/>
                      </a:lnTo>
                      <a:lnTo>
                        <a:pt x="6" y="13"/>
                      </a:lnTo>
                      <a:lnTo>
                        <a:pt x="9" y="9"/>
                      </a:lnTo>
                      <a:lnTo>
                        <a:pt x="13" y="6"/>
                      </a:lnTo>
                      <a:lnTo>
                        <a:pt x="18" y="4"/>
                      </a:lnTo>
                      <a:lnTo>
                        <a:pt x="22" y="1"/>
                      </a:lnTo>
                      <a:lnTo>
                        <a:pt x="22" y="1"/>
                      </a:lnTo>
                      <a:lnTo>
                        <a:pt x="27" y="0"/>
                      </a:lnTo>
                      <a:lnTo>
                        <a:pt x="32" y="0"/>
                      </a:lnTo>
                      <a:lnTo>
                        <a:pt x="37" y="0"/>
                      </a:lnTo>
                      <a:lnTo>
                        <a:pt x="41" y="1"/>
                      </a:lnTo>
                      <a:lnTo>
                        <a:pt x="47" y="2"/>
                      </a:lnTo>
                      <a:lnTo>
                        <a:pt x="51" y="5"/>
                      </a:lnTo>
                      <a:lnTo>
                        <a:pt x="55" y="7"/>
                      </a:lnTo>
                      <a:lnTo>
                        <a:pt x="59" y="11"/>
                      </a:lnTo>
                      <a:lnTo>
                        <a:pt x="223" y="210"/>
                      </a:lnTo>
                      <a:lnTo>
                        <a:pt x="223" y="210"/>
                      </a:lnTo>
                      <a:lnTo>
                        <a:pt x="228" y="214"/>
                      </a:lnTo>
                      <a:lnTo>
                        <a:pt x="230" y="219"/>
                      </a:lnTo>
                      <a:lnTo>
                        <a:pt x="231" y="226"/>
                      </a:lnTo>
                      <a:lnTo>
                        <a:pt x="232" y="231"/>
                      </a:lnTo>
                      <a:lnTo>
                        <a:pt x="232" y="496"/>
                      </a:lnTo>
                      <a:lnTo>
                        <a:pt x="232" y="496"/>
                      </a:lnTo>
                      <a:lnTo>
                        <a:pt x="231" y="500"/>
                      </a:lnTo>
                      <a:lnTo>
                        <a:pt x="230" y="505"/>
                      </a:lnTo>
                      <a:lnTo>
                        <a:pt x="229" y="509"/>
                      </a:lnTo>
                      <a:lnTo>
                        <a:pt x="227" y="513"/>
                      </a:lnTo>
                      <a:lnTo>
                        <a:pt x="223" y="516"/>
                      </a:lnTo>
                      <a:lnTo>
                        <a:pt x="220" y="521"/>
                      </a:lnTo>
                      <a:lnTo>
                        <a:pt x="217" y="523"/>
                      </a:lnTo>
                      <a:lnTo>
                        <a:pt x="213" y="526"/>
                      </a:lnTo>
                      <a:lnTo>
                        <a:pt x="213" y="526"/>
                      </a:lnTo>
                      <a:lnTo>
                        <a:pt x="206" y="528"/>
                      </a:lnTo>
                      <a:lnTo>
                        <a:pt x="199" y="529"/>
                      </a:lnTo>
                      <a:lnTo>
                        <a:pt x="199" y="529"/>
                      </a:lnTo>
                      <a:close/>
                      <a:moveTo>
                        <a:pt x="67" y="125"/>
                      </a:moveTo>
                      <a:lnTo>
                        <a:pt x="67" y="125"/>
                      </a:lnTo>
                      <a:lnTo>
                        <a:pt x="69" y="164"/>
                      </a:lnTo>
                      <a:lnTo>
                        <a:pt x="73" y="204"/>
                      </a:lnTo>
                      <a:lnTo>
                        <a:pt x="77" y="222"/>
                      </a:lnTo>
                      <a:lnTo>
                        <a:pt x="80" y="242"/>
                      </a:lnTo>
                      <a:lnTo>
                        <a:pt x="84" y="261"/>
                      </a:lnTo>
                      <a:lnTo>
                        <a:pt x="89" y="279"/>
                      </a:lnTo>
                      <a:lnTo>
                        <a:pt x="95" y="298"/>
                      </a:lnTo>
                      <a:lnTo>
                        <a:pt x="101" y="316"/>
                      </a:lnTo>
                      <a:lnTo>
                        <a:pt x="110" y="334"/>
                      </a:lnTo>
                      <a:lnTo>
                        <a:pt x="118" y="352"/>
                      </a:lnTo>
                      <a:lnTo>
                        <a:pt x="128" y="368"/>
                      </a:lnTo>
                      <a:lnTo>
                        <a:pt x="140" y="386"/>
                      </a:lnTo>
                      <a:lnTo>
                        <a:pt x="152" y="403"/>
                      </a:lnTo>
                      <a:lnTo>
                        <a:pt x="166" y="419"/>
                      </a:lnTo>
                      <a:lnTo>
                        <a:pt x="166" y="243"/>
                      </a:lnTo>
                      <a:lnTo>
                        <a:pt x="67" y="1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60" name="Freeform 193">
                  <a:extLst>
                    <a:ext uri="{FF2B5EF4-FFF2-40B4-BE49-F238E27FC236}">
                      <a16:creationId xmlns:a16="http://schemas.microsoft.com/office/drawing/2014/main" id="{7E9D4842-DC19-C7A6-33AD-EC47CDDFD63C}"/>
                    </a:ext>
                  </a:extLst>
                </p:cNvPr>
                <p:cNvSpPr>
                  <a:spLocks noEditPoints="1"/>
                </p:cNvSpPr>
                <p:nvPr/>
              </p:nvSpPr>
              <p:spPr bwMode="auto">
                <a:xfrm>
                  <a:off x="4649159" y="3153972"/>
                  <a:ext cx="52793" cy="118007"/>
                </a:xfrm>
                <a:custGeom>
                  <a:avLst/>
                  <a:gdLst>
                    <a:gd name="T0" fmla="*/ 34 w 232"/>
                    <a:gd name="T1" fmla="*/ 529 h 529"/>
                    <a:gd name="T2" fmla="*/ 20 w 232"/>
                    <a:gd name="T3" fmla="*/ 526 h 529"/>
                    <a:gd name="T4" fmla="*/ 16 w 232"/>
                    <a:gd name="T5" fmla="*/ 524 h 529"/>
                    <a:gd name="T6" fmla="*/ 9 w 232"/>
                    <a:gd name="T7" fmla="*/ 518 h 529"/>
                    <a:gd name="T8" fmla="*/ 4 w 232"/>
                    <a:gd name="T9" fmla="*/ 510 h 529"/>
                    <a:gd name="T10" fmla="*/ 1 w 232"/>
                    <a:gd name="T11" fmla="*/ 501 h 529"/>
                    <a:gd name="T12" fmla="*/ 0 w 232"/>
                    <a:gd name="T13" fmla="*/ 232 h 529"/>
                    <a:gd name="T14" fmla="*/ 1 w 232"/>
                    <a:gd name="T15" fmla="*/ 226 h 529"/>
                    <a:gd name="T16" fmla="*/ 6 w 232"/>
                    <a:gd name="T17" fmla="*/ 216 h 529"/>
                    <a:gd name="T18" fmla="*/ 174 w 232"/>
                    <a:gd name="T19" fmla="*/ 12 h 529"/>
                    <a:gd name="T20" fmla="*/ 177 w 232"/>
                    <a:gd name="T21" fmla="*/ 9 h 529"/>
                    <a:gd name="T22" fmla="*/ 186 w 232"/>
                    <a:gd name="T23" fmla="*/ 3 h 529"/>
                    <a:gd name="T24" fmla="*/ 196 w 232"/>
                    <a:gd name="T25" fmla="*/ 0 h 529"/>
                    <a:gd name="T26" fmla="*/ 205 w 232"/>
                    <a:gd name="T27" fmla="*/ 1 h 529"/>
                    <a:gd name="T28" fmla="*/ 211 w 232"/>
                    <a:gd name="T29" fmla="*/ 2 h 529"/>
                    <a:gd name="T30" fmla="*/ 220 w 232"/>
                    <a:gd name="T31" fmla="*/ 8 h 529"/>
                    <a:gd name="T32" fmla="*/ 226 w 232"/>
                    <a:gd name="T33" fmla="*/ 15 h 529"/>
                    <a:gd name="T34" fmla="*/ 231 w 232"/>
                    <a:gd name="T35" fmla="*/ 23 h 529"/>
                    <a:gd name="T36" fmla="*/ 232 w 232"/>
                    <a:gd name="T37" fmla="*/ 33 h 529"/>
                    <a:gd name="T38" fmla="*/ 232 w 232"/>
                    <a:gd name="T39" fmla="*/ 98 h 529"/>
                    <a:gd name="T40" fmla="*/ 229 w 232"/>
                    <a:gd name="T41" fmla="*/ 162 h 529"/>
                    <a:gd name="T42" fmla="*/ 223 w 232"/>
                    <a:gd name="T43" fmla="*/ 226 h 529"/>
                    <a:gd name="T44" fmla="*/ 211 w 232"/>
                    <a:gd name="T45" fmla="*/ 289 h 529"/>
                    <a:gd name="T46" fmla="*/ 195 w 232"/>
                    <a:gd name="T47" fmla="*/ 336 h 529"/>
                    <a:gd name="T48" fmla="*/ 183 w 232"/>
                    <a:gd name="T49" fmla="*/ 366 h 529"/>
                    <a:gd name="T50" fmla="*/ 166 w 232"/>
                    <a:gd name="T51" fmla="*/ 396 h 529"/>
                    <a:gd name="T52" fmla="*/ 147 w 232"/>
                    <a:gd name="T53" fmla="*/ 425 h 529"/>
                    <a:gd name="T54" fmla="*/ 126 w 232"/>
                    <a:gd name="T55" fmla="*/ 454 h 529"/>
                    <a:gd name="T56" fmla="*/ 100 w 232"/>
                    <a:gd name="T57" fmla="*/ 482 h 529"/>
                    <a:gd name="T58" fmla="*/ 71 w 232"/>
                    <a:gd name="T59" fmla="*/ 508 h 529"/>
                    <a:gd name="T60" fmla="*/ 54 w 232"/>
                    <a:gd name="T61" fmla="*/ 522 h 529"/>
                    <a:gd name="T62" fmla="*/ 45 w 232"/>
                    <a:gd name="T63" fmla="*/ 527 h 529"/>
                    <a:gd name="T64" fmla="*/ 34 w 232"/>
                    <a:gd name="T65" fmla="*/ 529 h 529"/>
                    <a:gd name="T66" fmla="*/ 67 w 232"/>
                    <a:gd name="T67" fmla="*/ 244 h 529"/>
                    <a:gd name="T68" fmla="*/ 67 w 232"/>
                    <a:gd name="T69" fmla="*/ 419 h 529"/>
                    <a:gd name="T70" fmla="*/ 94 w 232"/>
                    <a:gd name="T71" fmla="*/ 386 h 529"/>
                    <a:gd name="T72" fmla="*/ 114 w 232"/>
                    <a:gd name="T73" fmla="*/ 352 h 529"/>
                    <a:gd name="T74" fmla="*/ 131 w 232"/>
                    <a:gd name="T75" fmla="*/ 317 h 529"/>
                    <a:gd name="T76" fmla="*/ 143 w 232"/>
                    <a:gd name="T77" fmla="*/ 280 h 529"/>
                    <a:gd name="T78" fmla="*/ 153 w 232"/>
                    <a:gd name="T79" fmla="*/ 243 h 529"/>
                    <a:gd name="T80" fmla="*/ 159 w 232"/>
                    <a:gd name="T81" fmla="*/ 204 h 529"/>
                    <a:gd name="T82" fmla="*/ 165 w 232"/>
                    <a:gd name="T83" fmla="*/ 1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29">
                      <a:moveTo>
                        <a:pt x="34" y="529"/>
                      </a:moveTo>
                      <a:lnTo>
                        <a:pt x="34" y="529"/>
                      </a:lnTo>
                      <a:lnTo>
                        <a:pt x="26" y="528"/>
                      </a:lnTo>
                      <a:lnTo>
                        <a:pt x="20" y="526"/>
                      </a:lnTo>
                      <a:lnTo>
                        <a:pt x="20" y="526"/>
                      </a:lnTo>
                      <a:lnTo>
                        <a:pt x="16" y="524"/>
                      </a:lnTo>
                      <a:lnTo>
                        <a:pt x="12" y="521"/>
                      </a:lnTo>
                      <a:lnTo>
                        <a:pt x="9" y="518"/>
                      </a:lnTo>
                      <a:lnTo>
                        <a:pt x="6" y="514"/>
                      </a:lnTo>
                      <a:lnTo>
                        <a:pt x="4" y="510"/>
                      </a:lnTo>
                      <a:lnTo>
                        <a:pt x="2" y="505"/>
                      </a:lnTo>
                      <a:lnTo>
                        <a:pt x="1" y="501"/>
                      </a:lnTo>
                      <a:lnTo>
                        <a:pt x="0" y="496"/>
                      </a:lnTo>
                      <a:lnTo>
                        <a:pt x="0" y="232"/>
                      </a:lnTo>
                      <a:lnTo>
                        <a:pt x="0" y="232"/>
                      </a:lnTo>
                      <a:lnTo>
                        <a:pt x="1" y="226"/>
                      </a:lnTo>
                      <a:lnTo>
                        <a:pt x="2" y="221"/>
                      </a:lnTo>
                      <a:lnTo>
                        <a:pt x="6" y="216"/>
                      </a:lnTo>
                      <a:lnTo>
                        <a:pt x="9" y="210"/>
                      </a:lnTo>
                      <a:lnTo>
                        <a:pt x="174" y="12"/>
                      </a:lnTo>
                      <a:lnTo>
                        <a:pt x="174" y="12"/>
                      </a:lnTo>
                      <a:lnTo>
                        <a:pt x="177" y="9"/>
                      </a:lnTo>
                      <a:lnTo>
                        <a:pt x="182" y="6"/>
                      </a:lnTo>
                      <a:lnTo>
                        <a:pt x="186" y="3"/>
                      </a:lnTo>
                      <a:lnTo>
                        <a:pt x="191" y="1"/>
                      </a:lnTo>
                      <a:lnTo>
                        <a:pt x="196" y="0"/>
                      </a:lnTo>
                      <a:lnTo>
                        <a:pt x="200" y="0"/>
                      </a:lnTo>
                      <a:lnTo>
                        <a:pt x="205" y="1"/>
                      </a:lnTo>
                      <a:lnTo>
                        <a:pt x="211" y="2"/>
                      </a:lnTo>
                      <a:lnTo>
                        <a:pt x="211" y="2"/>
                      </a:lnTo>
                      <a:lnTo>
                        <a:pt x="216" y="4"/>
                      </a:lnTo>
                      <a:lnTo>
                        <a:pt x="220" y="8"/>
                      </a:lnTo>
                      <a:lnTo>
                        <a:pt x="223" y="11"/>
                      </a:lnTo>
                      <a:lnTo>
                        <a:pt x="226" y="15"/>
                      </a:lnTo>
                      <a:lnTo>
                        <a:pt x="229" y="19"/>
                      </a:lnTo>
                      <a:lnTo>
                        <a:pt x="231" y="23"/>
                      </a:lnTo>
                      <a:lnTo>
                        <a:pt x="232" y="28"/>
                      </a:lnTo>
                      <a:lnTo>
                        <a:pt x="232" y="33"/>
                      </a:lnTo>
                      <a:lnTo>
                        <a:pt x="232" y="33"/>
                      </a:lnTo>
                      <a:lnTo>
                        <a:pt x="232" y="98"/>
                      </a:lnTo>
                      <a:lnTo>
                        <a:pt x="231" y="130"/>
                      </a:lnTo>
                      <a:lnTo>
                        <a:pt x="229" y="162"/>
                      </a:lnTo>
                      <a:lnTo>
                        <a:pt x="227" y="194"/>
                      </a:lnTo>
                      <a:lnTo>
                        <a:pt x="223" y="226"/>
                      </a:lnTo>
                      <a:lnTo>
                        <a:pt x="218" y="258"/>
                      </a:lnTo>
                      <a:lnTo>
                        <a:pt x="211" y="289"/>
                      </a:lnTo>
                      <a:lnTo>
                        <a:pt x="201" y="320"/>
                      </a:lnTo>
                      <a:lnTo>
                        <a:pt x="195" y="336"/>
                      </a:lnTo>
                      <a:lnTo>
                        <a:pt x="189" y="350"/>
                      </a:lnTo>
                      <a:lnTo>
                        <a:pt x="183" y="366"/>
                      </a:lnTo>
                      <a:lnTo>
                        <a:pt x="174" y="381"/>
                      </a:lnTo>
                      <a:lnTo>
                        <a:pt x="166" y="396"/>
                      </a:lnTo>
                      <a:lnTo>
                        <a:pt x="158" y="410"/>
                      </a:lnTo>
                      <a:lnTo>
                        <a:pt x="147" y="425"/>
                      </a:lnTo>
                      <a:lnTo>
                        <a:pt x="137" y="439"/>
                      </a:lnTo>
                      <a:lnTo>
                        <a:pt x="126" y="454"/>
                      </a:lnTo>
                      <a:lnTo>
                        <a:pt x="113" y="468"/>
                      </a:lnTo>
                      <a:lnTo>
                        <a:pt x="100" y="482"/>
                      </a:lnTo>
                      <a:lnTo>
                        <a:pt x="86" y="495"/>
                      </a:lnTo>
                      <a:lnTo>
                        <a:pt x="71" y="508"/>
                      </a:lnTo>
                      <a:lnTo>
                        <a:pt x="54" y="522"/>
                      </a:lnTo>
                      <a:lnTo>
                        <a:pt x="54" y="522"/>
                      </a:lnTo>
                      <a:lnTo>
                        <a:pt x="50" y="525"/>
                      </a:lnTo>
                      <a:lnTo>
                        <a:pt x="45" y="527"/>
                      </a:lnTo>
                      <a:lnTo>
                        <a:pt x="40" y="529"/>
                      </a:lnTo>
                      <a:lnTo>
                        <a:pt x="34" y="529"/>
                      </a:lnTo>
                      <a:lnTo>
                        <a:pt x="34" y="529"/>
                      </a:lnTo>
                      <a:close/>
                      <a:moveTo>
                        <a:pt x="67" y="244"/>
                      </a:moveTo>
                      <a:lnTo>
                        <a:pt x="67" y="419"/>
                      </a:lnTo>
                      <a:lnTo>
                        <a:pt x="67" y="419"/>
                      </a:lnTo>
                      <a:lnTo>
                        <a:pt x="81" y="404"/>
                      </a:lnTo>
                      <a:lnTo>
                        <a:pt x="94" y="386"/>
                      </a:lnTo>
                      <a:lnTo>
                        <a:pt x="104" y="370"/>
                      </a:lnTo>
                      <a:lnTo>
                        <a:pt x="114" y="352"/>
                      </a:lnTo>
                      <a:lnTo>
                        <a:pt x="124" y="335"/>
                      </a:lnTo>
                      <a:lnTo>
                        <a:pt x="131" y="317"/>
                      </a:lnTo>
                      <a:lnTo>
                        <a:pt x="138" y="298"/>
                      </a:lnTo>
                      <a:lnTo>
                        <a:pt x="143" y="280"/>
                      </a:lnTo>
                      <a:lnTo>
                        <a:pt x="148" y="261"/>
                      </a:lnTo>
                      <a:lnTo>
                        <a:pt x="153" y="243"/>
                      </a:lnTo>
                      <a:lnTo>
                        <a:pt x="157" y="224"/>
                      </a:lnTo>
                      <a:lnTo>
                        <a:pt x="159" y="204"/>
                      </a:lnTo>
                      <a:lnTo>
                        <a:pt x="163" y="166"/>
                      </a:lnTo>
                      <a:lnTo>
                        <a:pt x="165" y="126"/>
                      </a:lnTo>
                      <a:lnTo>
                        <a:pt x="67"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61" name="Freeform 194">
                  <a:extLst>
                    <a:ext uri="{FF2B5EF4-FFF2-40B4-BE49-F238E27FC236}">
                      <a16:creationId xmlns:a16="http://schemas.microsoft.com/office/drawing/2014/main" id="{2EB58A2E-1E2B-AABC-A89F-C0FCA135473C}"/>
                    </a:ext>
                  </a:extLst>
                </p:cNvPr>
                <p:cNvSpPr>
                  <a:spLocks noEditPoints="1"/>
                </p:cNvSpPr>
                <p:nvPr/>
              </p:nvSpPr>
              <p:spPr bwMode="auto">
                <a:xfrm>
                  <a:off x="4649159" y="3264216"/>
                  <a:ext cx="52793" cy="118007"/>
                </a:xfrm>
                <a:custGeom>
                  <a:avLst/>
                  <a:gdLst>
                    <a:gd name="T0" fmla="*/ 34 w 232"/>
                    <a:gd name="T1" fmla="*/ 530 h 530"/>
                    <a:gd name="T2" fmla="*/ 20 w 232"/>
                    <a:gd name="T3" fmla="*/ 526 h 530"/>
                    <a:gd name="T4" fmla="*/ 16 w 232"/>
                    <a:gd name="T5" fmla="*/ 524 h 530"/>
                    <a:gd name="T6" fmla="*/ 9 w 232"/>
                    <a:gd name="T7" fmla="*/ 518 h 530"/>
                    <a:gd name="T8" fmla="*/ 4 w 232"/>
                    <a:gd name="T9" fmla="*/ 510 h 530"/>
                    <a:gd name="T10" fmla="*/ 1 w 232"/>
                    <a:gd name="T11" fmla="*/ 501 h 530"/>
                    <a:gd name="T12" fmla="*/ 0 w 232"/>
                    <a:gd name="T13" fmla="*/ 232 h 530"/>
                    <a:gd name="T14" fmla="*/ 1 w 232"/>
                    <a:gd name="T15" fmla="*/ 226 h 530"/>
                    <a:gd name="T16" fmla="*/ 6 w 232"/>
                    <a:gd name="T17" fmla="*/ 215 h 530"/>
                    <a:gd name="T18" fmla="*/ 174 w 232"/>
                    <a:gd name="T19" fmla="*/ 13 h 530"/>
                    <a:gd name="T20" fmla="*/ 177 w 232"/>
                    <a:gd name="T21" fmla="*/ 8 h 530"/>
                    <a:gd name="T22" fmla="*/ 186 w 232"/>
                    <a:gd name="T23" fmla="*/ 3 h 530"/>
                    <a:gd name="T24" fmla="*/ 196 w 232"/>
                    <a:gd name="T25" fmla="*/ 1 h 530"/>
                    <a:gd name="T26" fmla="*/ 205 w 232"/>
                    <a:gd name="T27" fmla="*/ 1 h 530"/>
                    <a:gd name="T28" fmla="*/ 211 w 232"/>
                    <a:gd name="T29" fmla="*/ 2 h 530"/>
                    <a:gd name="T30" fmla="*/ 220 w 232"/>
                    <a:gd name="T31" fmla="*/ 7 h 530"/>
                    <a:gd name="T32" fmla="*/ 226 w 232"/>
                    <a:gd name="T33" fmla="*/ 15 h 530"/>
                    <a:gd name="T34" fmla="*/ 231 w 232"/>
                    <a:gd name="T35" fmla="*/ 24 h 530"/>
                    <a:gd name="T36" fmla="*/ 232 w 232"/>
                    <a:gd name="T37" fmla="*/ 33 h 530"/>
                    <a:gd name="T38" fmla="*/ 232 w 232"/>
                    <a:gd name="T39" fmla="*/ 97 h 530"/>
                    <a:gd name="T40" fmla="*/ 229 w 232"/>
                    <a:gd name="T41" fmla="*/ 163 h 530"/>
                    <a:gd name="T42" fmla="*/ 223 w 232"/>
                    <a:gd name="T43" fmla="*/ 226 h 530"/>
                    <a:gd name="T44" fmla="*/ 211 w 232"/>
                    <a:gd name="T45" fmla="*/ 289 h 530"/>
                    <a:gd name="T46" fmla="*/ 195 w 232"/>
                    <a:gd name="T47" fmla="*/ 335 h 530"/>
                    <a:gd name="T48" fmla="*/ 183 w 232"/>
                    <a:gd name="T49" fmla="*/ 365 h 530"/>
                    <a:gd name="T50" fmla="*/ 166 w 232"/>
                    <a:gd name="T51" fmla="*/ 395 h 530"/>
                    <a:gd name="T52" fmla="*/ 147 w 232"/>
                    <a:gd name="T53" fmla="*/ 425 h 530"/>
                    <a:gd name="T54" fmla="*/ 126 w 232"/>
                    <a:gd name="T55" fmla="*/ 453 h 530"/>
                    <a:gd name="T56" fmla="*/ 100 w 232"/>
                    <a:gd name="T57" fmla="*/ 481 h 530"/>
                    <a:gd name="T58" fmla="*/ 71 w 232"/>
                    <a:gd name="T59" fmla="*/ 509 h 530"/>
                    <a:gd name="T60" fmla="*/ 54 w 232"/>
                    <a:gd name="T61" fmla="*/ 523 h 530"/>
                    <a:gd name="T62" fmla="*/ 45 w 232"/>
                    <a:gd name="T63" fmla="*/ 528 h 530"/>
                    <a:gd name="T64" fmla="*/ 34 w 232"/>
                    <a:gd name="T65" fmla="*/ 530 h 530"/>
                    <a:gd name="T66" fmla="*/ 67 w 232"/>
                    <a:gd name="T67" fmla="*/ 244 h 530"/>
                    <a:gd name="T68" fmla="*/ 67 w 232"/>
                    <a:gd name="T69" fmla="*/ 420 h 530"/>
                    <a:gd name="T70" fmla="*/ 94 w 232"/>
                    <a:gd name="T71" fmla="*/ 387 h 530"/>
                    <a:gd name="T72" fmla="*/ 114 w 232"/>
                    <a:gd name="T73" fmla="*/ 352 h 530"/>
                    <a:gd name="T74" fmla="*/ 131 w 232"/>
                    <a:gd name="T75" fmla="*/ 317 h 530"/>
                    <a:gd name="T76" fmla="*/ 143 w 232"/>
                    <a:gd name="T77" fmla="*/ 281 h 530"/>
                    <a:gd name="T78" fmla="*/ 153 w 232"/>
                    <a:gd name="T79" fmla="*/ 243 h 530"/>
                    <a:gd name="T80" fmla="*/ 159 w 232"/>
                    <a:gd name="T81" fmla="*/ 205 h 530"/>
                    <a:gd name="T82" fmla="*/ 165 w 232"/>
                    <a:gd name="T83" fmla="*/ 12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30">
                      <a:moveTo>
                        <a:pt x="34" y="530"/>
                      </a:moveTo>
                      <a:lnTo>
                        <a:pt x="34" y="530"/>
                      </a:lnTo>
                      <a:lnTo>
                        <a:pt x="26" y="529"/>
                      </a:lnTo>
                      <a:lnTo>
                        <a:pt x="20" y="526"/>
                      </a:lnTo>
                      <a:lnTo>
                        <a:pt x="20" y="526"/>
                      </a:lnTo>
                      <a:lnTo>
                        <a:pt x="16" y="524"/>
                      </a:lnTo>
                      <a:lnTo>
                        <a:pt x="12" y="521"/>
                      </a:lnTo>
                      <a:lnTo>
                        <a:pt x="9" y="518"/>
                      </a:lnTo>
                      <a:lnTo>
                        <a:pt x="6" y="514"/>
                      </a:lnTo>
                      <a:lnTo>
                        <a:pt x="4" y="510"/>
                      </a:lnTo>
                      <a:lnTo>
                        <a:pt x="2" y="505"/>
                      </a:lnTo>
                      <a:lnTo>
                        <a:pt x="1" y="501"/>
                      </a:lnTo>
                      <a:lnTo>
                        <a:pt x="0" y="497"/>
                      </a:lnTo>
                      <a:lnTo>
                        <a:pt x="0" y="232"/>
                      </a:lnTo>
                      <a:lnTo>
                        <a:pt x="0" y="232"/>
                      </a:lnTo>
                      <a:lnTo>
                        <a:pt x="1" y="226"/>
                      </a:lnTo>
                      <a:lnTo>
                        <a:pt x="2" y="221"/>
                      </a:lnTo>
                      <a:lnTo>
                        <a:pt x="6" y="215"/>
                      </a:lnTo>
                      <a:lnTo>
                        <a:pt x="9" y="210"/>
                      </a:lnTo>
                      <a:lnTo>
                        <a:pt x="174" y="13"/>
                      </a:lnTo>
                      <a:lnTo>
                        <a:pt x="174" y="13"/>
                      </a:lnTo>
                      <a:lnTo>
                        <a:pt x="177" y="8"/>
                      </a:lnTo>
                      <a:lnTo>
                        <a:pt x="182" y="5"/>
                      </a:lnTo>
                      <a:lnTo>
                        <a:pt x="186" y="3"/>
                      </a:lnTo>
                      <a:lnTo>
                        <a:pt x="191" y="1"/>
                      </a:lnTo>
                      <a:lnTo>
                        <a:pt x="196" y="1"/>
                      </a:lnTo>
                      <a:lnTo>
                        <a:pt x="200" y="0"/>
                      </a:lnTo>
                      <a:lnTo>
                        <a:pt x="205" y="1"/>
                      </a:lnTo>
                      <a:lnTo>
                        <a:pt x="211" y="2"/>
                      </a:lnTo>
                      <a:lnTo>
                        <a:pt x="211" y="2"/>
                      </a:lnTo>
                      <a:lnTo>
                        <a:pt x="216" y="4"/>
                      </a:lnTo>
                      <a:lnTo>
                        <a:pt x="220" y="7"/>
                      </a:lnTo>
                      <a:lnTo>
                        <a:pt x="223" y="10"/>
                      </a:lnTo>
                      <a:lnTo>
                        <a:pt x="226" y="15"/>
                      </a:lnTo>
                      <a:lnTo>
                        <a:pt x="229" y="19"/>
                      </a:lnTo>
                      <a:lnTo>
                        <a:pt x="231" y="24"/>
                      </a:lnTo>
                      <a:lnTo>
                        <a:pt x="232" y="28"/>
                      </a:lnTo>
                      <a:lnTo>
                        <a:pt x="232" y="33"/>
                      </a:lnTo>
                      <a:lnTo>
                        <a:pt x="232" y="33"/>
                      </a:lnTo>
                      <a:lnTo>
                        <a:pt x="232" y="97"/>
                      </a:lnTo>
                      <a:lnTo>
                        <a:pt x="231" y="129"/>
                      </a:lnTo>
                      <a:lnTo>
                        <a:pt x="229" y="163"/>
                      </a:lnTo>
                      <a:lnTo>
                        <a:pt x="227" y="195"/>
                      </a:lnTo>
                      <a:lnTo>
                        <a:pt x="223" y="226"/>
                      </a:lnTo>
                      <a:lnTo>
                        <a:pt x="218" y="258"/>
                      </a:lnTo>
                      <a:lnTo>
                        <a:pt x="211" y="289"/>
                      </a:lnTo>
                      <a:lnTo>
                        <a:pt x="201" y="320"/>
                      </a:lnTo>
                      <a:lnTo>
                        <a:pt x="195" y="335"/>
                      </a:lnTo>
                      <a:lnTo>
                        <a:pt x="189" y="351"/>
                      </a:lnTo>
                      <a:lnTo>
                        <a:pt x="183" y="365"/>
                      </a:lnTo>
                      <a:lnTo>
                        <a:pt x="174" y="381"/>
                      </a:lnTo>
                      <a:lnTo>
                        <a:pt x="166" y="395"/>
                      </a:lnTo>
                      <a:lnTo>
                        <a:pt x="158" y="410"/>
                      </a:lnTo>
                      <a:lnTo>
                        <a:pt x="147" y="425"/>
                      </a:lnTo>
                      <a:lnTo>
                        <a:pt x="137" y="440"/>
                      </a:lnTo>
                      <a:lnTo>
                        <a:pt x="126" y="453"/>
                      </a:lnTo>
                      <a:lnTo>
                        <a:pt x="113" y="468"/>
                      </a:lnTo>
                      <a:lnTo>
                        <a:pt x="100" y="481"/>
                      </a:lnTo>
                      <a:lnTo>
                        <a:pt x="86" y="496"/>
                      </a:lnTo>
                      <a:lnTo>
                        <a:pt x="71" y="509"/>
                      </a:lnTo>
                      <a:lnTo>
                        <a:pt x="54" y="523"/>
                      </a:lnTo>
                      <a:lnTo>
                        <a:pt x="54" y="523"/>
                      </a:lnTo>
                      <a:lnTo>
                        <a:pt x="50" y="526"/>
                      </a:lnTo>
                      <a:lnTo>
                        <a:pt x="45" y="528"/>
                      </a:lnTo>
                      <a:lnTo>
                        <a:pt x="40" y="529"/>
                      </a:lnTo>
                      <a:lnTo>
                        <a:pt x="34" y="530"/>
                      </a:lnTo>
                      <a:lnTo>
                        <a:pt x="34" y="530"/>
                      </a:lnTo>
                      <a:close/>
                      <a:moveTo>
                        <a:pt x="67" y="244"/>
                      </a:moveTo>
                      <a:lnTo>
                        <a:pt x="67" y="420"/>
                      </a:lnTo>
                      <a:lnTo>
                        <a:pt x="67" y="420"/>
                      </a:lnTo>
                      <a:lnTo>
                        <a:pt x="81" y="404"/>
                      </a:lnTo>
                      <a:lnTo>
                        <a:pt x="94" y="387"/>
                      </a:lnTo>
                      <a:lnTo>
                        <a:pt x="104" y="370"/>
                      </a:lnTo>
                      <a:lnTo>
                        <a:pt x="114" y="352"/>
                      </a:lnTo>
                      <a:lnTo>
                        <a:pt x="124" y="334"/>
                      </a:lnTo>
                      <a:lnTo>
                        <a:pt x="131" y="317"/>
                      </a:lnTo>
                      <a:lnTo>
                        <a:pt x="138" y="298"/>
                      </a:lnTo>
                      <a:lnTo>
                        <a:pt x="143" y="281"/>
                      </a:lnTo>
                      <a:lnTo>
                        <a:pt x="148" y="262"/>
                      </a:lnTo>
                      <a:lnTo>
                        <a:pt x="153" y="243"/>
                      </a:lnTo>
                      <a:lnTo>
                        <a:pt x="157" y="224"/>
                      </a:lnTo>
                      <a:lnTo>
                        <a:pt x="159" y="205"/>
                      </a:lnTo>
                      <a:lnTo>
                        <a:pt x="163" y="166"/>
                      </a:lnTo>
                      <a:lnTo>
                        <a:pt x="165" y="126"/>
                      </a:lnTo>
                      <a:lnTo>
                        <a:pt x="67"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62" name="Freeform 195">
                  <a:extLst>
                    <a:ext uri="{FF2B5EF4-FFF2-40B4-BE49-F238E27FC236}">
                      <a16:creationId xmlns:a16="http://schemas.microsoft.com/office/drawing/2014/main" id="{2FA9D7CA-1D9B-1B80-2D55-2D9D3A41F21E}"/>
                    </a:ext>
                  </a:extLst>
                </p:cNvPr>
                <p:cNvSpPr>
                  <a:spLocks noEditPoints="1"/>
                </p:cNvSpPr>
                <p:nvPr/>
              </p:nvSpPr>
              <p:spPr bwMode="auto">
                <a:xfrm>
                  <a:off x="4649159" y="3374459"/>
                  <a:ext cx="52793" cy="118007"/>
                </a:xfrm>
                <a:custGeom>
                  <a:avLst/>
                  <a:gdLst>
                    <a:gd name="T0" fmla="*/ 34 w 232"/>
                    <a:gd name="T1" fmla="*/ 529 h 529"/>
                    <a:gd name="T2" fmla="*/ 20 w 232"/>
                    <a:gd name="T3" fmla="*/ 526 h 529"/>
                    <a:gd name="T4" fmla="*/ 16 w 232"/>
                    <a:gd name="T5" fmla="*/ 523 h 529"/>
                    <a:gd name="T6" fmla="*/ 9 w 232"/>
                    <a:gd name="T7" fmla="*/ 516 h 529"/>
                    <a:gd name="T8" fmla="*/ 4 w 232"/>
                    <a:gd name="T9" fmla="*/ 509 h 529"/>
                    <a:gd name="T10" fmla="*/ 1 w 232"/>
                    <a:gd name="T11" fmla="*/ 500 h 529"/>
                    <a:gd name="T12" fmla="*/ 0 w 232"/>
                    <a:gd name="T13" fmla="*/ 231 h 529"/>
                    <a:gd name="T14" fmla="*/ 1 w 232"/>
                    <a:gd name="T15" fmla="*/ 226 h 529"/>
                    <a:gd name="T16" fmla="*/ 6 w 232"/>
                    <a:gd name="T17" fmla="*/ 214 h 529"/>
                    <a:gd name="T18" fmla="*/ 174 w 232"/>
                    <a:gd name="T19" fmla="*/ 11 h 529"/>
                    <a:gd name="T20" fmla="*/ 177 w 232"/>
                    <a:gd name="T21" fmla="*/ 7 h 529"/>
                    <a:gd name="T22" fmla="*/ 186 w 232"/>
                    <a:gd name="T23" fmla="*/ 2 h 529"/>
                    <a:gd name="T24" fmla="*/ 196 w 232"/>
                    <a:gd name="T25" fmla="*/ 0 h 529"/>
                    <a:gd name="T26" fmla="*/ 205 w 232"/>
                    <a:gd name="T27" fmla="*/ 0 h 529"/>
                    <a:gd name="T28" fmla="*/ 211 w 232"/>
                    <a:gd name="T29" fmla="*/ 1 h 529"/>
                    <a:gd name="T30" fmla="*/ 220 w 232"/>
                    <a:gd name="T31" fmla="*/ 6 h 529"/>
                    <a:gd name="T32" fmla="*/ 226 w 232"/>
                    <a:gd name="T33" fmla="*/ 13 h 529"/>
                    <a:gd name="T34" fmla="*/ 231 w 232"/>
                    <a:gd name="T35" fmla="*/ 23 h 529"/>
                    <a:gd name="T36" fmla="*/ 232 w 232"/>
                    <a:gd name="T37" fmla="*/ 33 h 529"/>
                    <a:gd name="T38" fmla="*/ 232 w 232"/>
                    <a:gd name="T39" fmla="*/ 97 h 529"/>
                    <a:gd name="T40" fmla="*/ 229 w 232"/>
                    <a:gd name="T41" fmla="*/ 161 h 529"/>
                    <a:gd name="T42" fmla="*/ 223 w 232"/>
                    <a:gd name="T43" fmla="*/ 226 h 529"/>
                    <a:gd name="T44" fmla="*/ 211 w 232"/>
                    <a:gd name="T45" fmla="*/ 288 h 529"/>
                    <a:gd name="T46" fmla="*/ 195 w 232"/>
                    <a:gd name="T47" fmla="*/ 334 h 529"/>
                    <a:gd name="T48" fmla="*/ 183 w 232"/>
                    <a:gd name="T49" fmla="*/ 365 h 529"/>
                    <a:gd name="T50" fmla="*/ 166 w 232"/>
                    <a:gd name="T51" fmla="*/ 395 h 529"/>
                    <a:gd name="T52" fmla="*/ 147 w 232"/>
                    <a:gd name="T53" fmla="*/ 424 h 529"/>
                    <a:gd name="T54" fmla="*/ 126 w 232"/>
                    <a:gd name="T55" fmla="*/ 453 h 529"/>
                    <a:gd name="T56" fmla="*/ 100 w 232"/>
                    <a:gd name="T57" fmla="*/ 481 h 529"/>
                    <a:gd name="T58" fmla="*/ 71 w 232"/>
                    <a:gd name="T59" fmla="*/ 508 h 529"/>
                    <a:gd name="T60" fmla="*/ 54 w 232"/>
                    <a:gd name="T61" fmla="*/ 522 h 529"/>
                    <a:gd name="T62" fmla="*/ 45 w 232"/>
                    <a:gd name="T63" fmla="*/ 527 h 529"/>
                    <a:gd name="T64" fmla="*/ 34 w 232"/>
                    <a:gd name="T65" fmla="*/ 529 h 529"/>
                    <a:gd name="T66" fmla="*/ 67 w 232"/>
                    <a:gd name="T67" fmla="*/ 243 h 529"/>
                    <a:gd name="T68" fmla="*/ 67 w 232"/>
                    <a:gd name="T69" fmla="*/ 419 h 529"/>
                    <a:gd name="T70" fmla="*/ 94 w 232"/>
                    <a:gd name="T71" fmla="*/ 386 h 529"/>
                    <a:gd name="T72" fmla="*/ 114 w 232"/>
                    <a:gd name="T73" fmla="*/ 352 h 529"/>
                    <a:gd name="T74" fmla="*/ 131 w 232"/>
                    <a:gd name="T75" fmla="*/ 316 h 529"/>
                    <a:gd name="T76" fmla="*/ 143 w 232"/>
                    <a:gd name="T77" fmla="*/ 279 h 529"/>
                    <a:gd name="T78" fmla="*/ 153 w 232"/>
                    <a:gd name="T79" fmla="*/ 242 h 529"/>
                    <a:gd name="T80" fmla="*/ 159 w 232"/>
                    <a:gd name="T81" fmla="*/ 204 h 529"/>
                    <a:gd name="T82" fmla="*/ 165 w 232"/>
                    <a:gd name="T83" fmla="*/ 12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29">
                      <a:moveTo>
                        <a:pt x="34" y="529"/>
                      </a:moveTo>
                      <a:lnTo>
                        <a:pt x="34" y="529"/>
                      </a:lnTo>
                      <a:lnTo>
                        <a:pt x="26" y="528"/>
                      </a:lnTo>
                      <a:lnTo>
                        <a:pt x="20" y="526"/>
                      </a:lnTo>
                      <a:lnTo>
                        <a:pt x="20" y="526"/>
                      </a:lnTo>
                      <a:lnTo>
                        <a:pt x="16" y="523"/>
                      </a:lnTo>
                      <a:lnTo>
                        <a:pt x="12" y="521"/>
                      </a:lnTo>
                      <a:lnTo>
                        <a:pt x="9" y="516"/>
                      </a:lnTo>
                      <a:lnTo>
                        <a:pt x="6" y="513"/>
                      </a:lnTo>
                      <a:lnTo>
                        <a:pt x="4" y="509"/>
                      </a:lnTo>
                      <a:lnTo>
                        <a:pt x="2" y="505"/>
                      </a:lnTo>
                      <a:lnTo>
                        <a:pt x="1" y="500"/>
                      </a:lnTo>
                      <a:lnTo>
                        <a:pt x="0" y="496"/>
                      </a:lnTo>
                      <a:lnTo>
                        <a:pt x="0" y="231"/>
                      </a:lnTo>
                      <a:lnTo>
                        <a:pt x="0" y="231"/>
                      </a:lnTo>
                      <a:lnTo>
                        <a:pt x="1" y="226"/>
                      </a:lnTo>
                      <a:lnTo>
                        <a:pt x="2" y="219"/>
                      </a:lnTo>
                      <a:lnTo>
                        <a:pt x="6" y="214"/>
                      </a:lnTo>
                      <a:lnTo>
                        <a:pt x="9" y="210"/>
                      </a:lnTo>
                      <a:lnTo>
                        <a:pt x="174" y="11"/>
                      </a:lnTo>
                      <a:lnTo>
                        <a:pt x="174" y="11"/>
                      </a:lnTo>
                      <a:lnTo>
                        <a:pt x="177" y="7"/>
                      </a:lnTo>
                      <a:lnTo>
                        <a:pt x="182" y="5"/>
                      </a:lnTo>
                      <a:lnTo>
                        <a:pt x="186" y="2"/>
                      </a:lnTo>
                      <a:lnTo>
                        <a:pt x="191" y="1"/>
                      </a:lnTo>
                      <a:lnTo>
                        <a:pt x="196" y="0"/>
                      </a:lnTo>
                      <a:lnTo>
                        <a:pt x="200" y="0"/>
                      </a:lnTo>
                      <a:lnTo>
                        <a:pt x="205" y="0"/>
                      </a:lnTo>
                      <a:lnTo>
                        <a:pt x="211" y="1"/>
                      </a:lnTo>
                      <a:lnTo>
                        <a:pt x="211" y="1"/>
                      </a:lnTo>
                      <a:lnTo>
                        <a:pt x="216" y="4"/>
                      </a:lnTo>
                      <a:lnTo>
                        <a:pt x="220" y="6"/>
                      </a:lnTo>
                      <a:lnTo>
                        <a:pt x="223" y="9"/>
                      </a:lnTo>
                      <a:lnTo>
                        <a:pt x="226" y="13"/>
                      </a:lnTo>
                      <a:lnTo>
                        <a:pt x="229" y="18"/>
                      </a:lnTo>
                      <a:lnTo>
                        <a:pt x="231" y="23"/>
                      </a:lnTo>
                      <a:lnTo>
                        <a:pt x="232" y="28"/>
                      </a:lnTo>
                      <a:lnTo>
                        <a:pt x="232" y="33"/>
                      </a:lnTo>
                      <a:lnTo>
                        <a:pt x="232" y="33"/>
                      </a:lnTo>
                      <a:lnTo>
                        <a:pt x="232" y="97"/>
                      </a:lnTo>
                      <a:lnTo>
                        <a:pt x="231" y="129"/>
                      </a:lnTo>
                      <a:lnTo>
                        <a:pt x="229" y="161"/>
                      </a:lnTo>
                      <a:lnTo>
                        <a:pt x="227" y="193"/>
                      </a:lnTo>
                      <a:lnTo>
                        <a:pt x="223" y="226"/>
                      </a:lnTo>
                      <a:lnTo>
                        <a:pt x="218" y="257"/>
                      </a:lnTo>
                      <a:lnTo>
                        <a:pt x="211" y="288"/>
                      </a:lnTo>
                      <a:lnTo>
                        <a:pt x="201" y="319"/>
                      </a:lnTo>
                      <a:lnTo>
                        <a:pt x="195" y="334"/>
                      </a:lnTo>
                      <a:lnTo>
                        <a:pt x="189" y="350"/>
                      </a:lnTo>
                      <a:lnTo>
                        <a:pt x="183" y="365"/>
                      </a:lnTo>
                      <a:lnTo>
                        <a:pt x="174" y="380"/>
                      </a:lnTo>
                      <a:lnTo>
                        <a:pt x="166" y="395"/>
                      </a:lnTo>
                      <a:lnTo>
                        <a:pt x="158" y="410"/>
                      </a:lnTo>
                      <a:lnTo>
                        <a:pt x="147" y="424"/>
                      </a:lnTo>
                      <a:lnTo>
                        <a:pt x="137" y="439"/>
                      </a:lnTo>
                      <a:lnTo>
                        <a:pt x="126" y="453"/>
                      </a:lnTo>
                      <a:lnTo>
                        <a:pt x="113" y="467"/>
                      </a:lnTo>
                      <a:lnTo>
                        <a:pt x="100" y="481"/>
                      </a:lnTo>
                      <a:lnTo>
                        <a:pt x="86" y="495"/>
                      </a:lnTo>
                      <a:lnTo>
                        <a:pt x="71" y="508"/>
                      </a:lnTo>
                      <a:lnTo>
                        <a:pt x="54" y="522"/>
                      </a:lnTo>
                      <a:lnTo>
                        <a:pt x="54" y="522"/>
                      </a:lnTo>
                      <a:lnTo>
                        <a:pt x="50" y="525"/>
                      </a:lnTo>
                      <a:lnTo>
                        <a:pt x="45" y="527"/>
                      </a:lnTo>
                      <a:lnTo>
                        <a:pt x="40" y="528"/>
                      </a:lnTo>
                      <a:lnTo>
                        <a:pt x="34" y="529"/>
                      </a:lnTo>
                      <a:lnTo>
                        <a:pt x="34" y="529"/>
                      </a:lnTo>
                      <a:close/>
                      <a:moveTo>
                        <a:pt x="67" y="243"/>
                      </a:moveTo>
                      <a:lnTo>
                        <a:pt x="67" y="419"/>
                      </a:lnTo>
                      <a:lnTo>
                        <a:pt x="67" y="419"/>
                      </a:lnTo>
                      <a:lnTo>
                        <a:pt x="81" y="403"/>
                      </a:lnTo>
                      <a:lnTo>
                        <a:pt x="94" y="386"/>
                      </a:lnTo>
                      <a:lnTo>
                        <a:pt x="104" y="368"/>
                      </a:lnTo>
                      <a:lnTo>
                        <a:pt x="114" y="352"/>
                      </a:lnTo>
                      <a:lnTo>
                        <a:pt x="124" y="334"/>
                      </a:lnTo>
                      <a:lnTo>
                        <a:pt x="131" y="316"/>
                      </a:lnTo>
                      <a:lnTo>
                        <a:pt x="138" y="298"/>
                      </a:lnTo>
                      <a:lnTo>
                        <a:pt x="143" y="279"/>
                      </a:lnTo>
                      <a:lnTo>
                        <a:pt x="148" y="261"/>
                      </a:lnTo>
                      <a:lnTo>
                        <a:pt x="153" y="242"/>
                      </a:lnTo>
                      <a:lnTo>
                        <a:pt x="157" y="222"/>
                      </a:lnTo>
                      <a:lnTo>
                        <a:pt x="159" y="204"/>
                      </a:lnTo>
                      <a:lnTo>
                        <a:pt x="163" y="164"/>
                      </a:lnTo>
                      <a:lnTo>
                        <a:pt x="165" y="125"/>
                      </a:lnTo>
                      <a:lnTo>
                        <a:pt x="67" y="2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63" name="Freeform 196">
                  <a:extLst>
                    <a:ext uri="{FF2B5EF4-FFF2-40B4-BE49-F238E27FC236}">
                      <a16:creationId xmlns:a16="http://schemas.microsoft.com/office/drawing/2014/main" id="{16235BE3-72F2-D64A-5441-2EBDE64BA57D}"/>
                    </a:ext>
                  </a:extLst>
                </p:cNvPr>
                <p:cNvSpPr>
                  <a:spLocks/>
                </p:cNvSpPr>
                <p:nvPr/>
              </p:nvSpPr>
              <p:spPr bwMode="auto">
                <a:xfrm>
                  <a:off x="4810642" y="3147761"/>
                  <a:ext cx="15527" cy="350916"/>
                </a:xfrm>
                <a:custGeom>
                  <a:avLst/>
                  <a:gdLst>
                    <a:gd name="T0" fmla="*/ 33 w 66"/>
                    <a:gd name="T1" fmla="*/ 1587 h 1587"/>
                    <a:gd name="T2" fmla="*/ 33 w 66"/>
                    <a:gd name="T3" fmla="*/ 1587 h 1587"/>
                    <a:gd name="T4" fmla="*/ 27 w 66"/>
                    <a:gd name="T5" fmla="*/ 1586 h 1587"/>
                    <a:gd name="T6" fmla="*/ 21 w 66"/>
                    <a:gd name="T7" fmla="*/ 1584 h 1587"/>
                    <a:gd name="T8" fmla="*/ 14 w 66"/>
                    <a:gd name="T9" fmla="*/ 1581 h 1587"/>
                    <a:gd name="T10" fmla="*/ 10 w 66"/>
                    <a:gd name="T11" fmla="*/ 1576 h 1587"/>
                    <a:gd name="T12" fmla="*/ 6 w 66"/>
                    <a:gd name="T13" fmla="*/ 1572 h 1587"/>
                    <a:gd name="T14" fmla="*/ 3 w 66"/>
                    <a:gd name="T15" fmla="*/ 1566 h 1587"/>
                    <a:gd name="T16" fmla="*/ 1 w 66"/>
                    <a:gd name="T17" fmla="*/ 1560 h 1587"/>
                    <a:gd name="T18" fmla="*/ 0 w 66"/>
                    <a:gd name="T19" fmla="*/ 1554 h 1587"/>
                    <a:gd name="T20" fmla="*/ 0 w 66"/>
                    <a:gd name="T21" fmla="*/ 33 h 1587"/>
                    <a:gd name="T22" fmla="*/ 0 w 66"/>
                    <a:gd name="T23" fmla="*/ 33 h 1587"/>
                    <a:gd name="T24" fmla="*/ 1 w 66"/>
                    <a:gd name="T25" fmla="*/ 27 h 1587"/>
                    <a:gd name="T26" fmla="*/ 3 w 66"/>
                    <a:gd name="T27" fmla="*/ 21 h 1587"/>
                    <a:gd name="T28" fmla="*/ 6 w 66"/>
                    <a:gd name="T29" fmla="*/ 15 h 1587"/>
                    <a:gd name="T30" fmla="*/ 10 w 66"/>
                    <a:gd name="T31" fmla="*/ 10 h 1587"/>
                    <a:gd name="T32" fmla="*/ 14 w 66"/>
                    <a:gd name="T33" fmla="*/ 6 h 1587"/>
                    <a:gd name="T34" fmla="*/ 21 w 66"/>
                    <a:gd name="T35" fmla="*/ 3 h 1587"/>
                    <a:gd name="T36" fmla="*/ 27 w 66"/>
                    <a:gd name="T37" fmla="*/ 1 h 1587"/>
                    <a:gd name="T38" fmla="*/ 33 w 66"/>
                    <a:gd name="T39" fmla="*/ 0 h 1587"/>
                    <a:gd name="T40" fmla="*/ 33 w 66"/>
                    <a:gd name="T41" fmla="*/ 0 h 1587"/>
                    <a:gd name="T42" fmla="*/ 40 w 66"/>
                    <a:gd name="T43" fmla="*/ 1 h 1587"/>
                    <a:gd name="T44" fmla="*/ 47 w 66"/>
                    <a:gd name="T45" fmla="*/ 3 h 1587"/>
                    <a:gd name="T46" fmla="*/ 52 w 66"/>
                    <a:gd name="T47" fmla="*/ 6 h 1587"/>
                    <a:gd name="T48" fmla="*/ 57 w 66"/>
                    <a:gd name="T49" fmla="*/ 10 h 1587"/>
                    <a:gd name="T50" fmla="*/ 61 w 66"/>
                    <a:gd name="T51" fmla="*/ 15 h 1587"/>
                    <a:gd name="T52" fmla="*/ 64 w 66"/>
                    <a:gd name="T53" fmla="*/ 21 h 1587"/>
                    <a:gd name="T54" fmla="*/ 66 w 66"/>
                    <a:gd name="T55" fmla="*/ 27 h 1587"/>
                    <a:gd name="T56" fmla="*/ 66 w 66"/>
                    <a:gd name="T57" fmla="*/ 33 h 1587"/>
                    <a:gd name="T58" fmla="*/ 66 w 66"/>
                    <a:gd name="T59" fmla="*/ 1554 h 1587"/>
                    <a:gd name="T60" fmla="*/ 66 w 66"/>
                    <a:gd name="T61" fmla="*/ 1554 h 1587"/>
                    <a:gd name="T62" fmla="*/ 66 w 66"/>
                    <a:gd name="T63" fmla="*/ 1560 h 1587"/>
                    <a:gd name="T64" fmla="*/ 64 w 66"/>
                    <a:gd name="T65" fmla="*/ 1566 h 1587"/>
                    <a:gd name="T66" fmla="*/ 61 w 66"/>
                    <a:gd name="T67" fmla="*/ 1572 h 1587"/>
                    <a:gd name="T68" fmla="*/ 57 w 66"/>
                    <a:gd name="T69" fmla="*/ 1576 h 1587"/>
                    <a:gd name="T70" fmla="*/ 52 w 66"/>
                    <a:gd name="T71" fmla="*/ 1581 h 1587"/>
                    <a:gd name="T72" fmla="*/ 47 w 66"/>
                    <a:gd name="T73" fmla="*/ 1584 h 1587"/>
                    <a:gd name="T74" fmla="*/ 40 w 66"/>
                    <a:gd name="T75" fmla="*/ 1586 h 1587"/>
                    <a:gd name="T76" fmla="*/ 33 w 66"/>
                    <a:gd name="T77" fmla="*/ 1587 h 1587"/>
                    <a:gd name="T78" fmla="*/ 33 w 66"/>
                    <a:gd name="T79" fmla="*/ 1587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587">
                      <a:moveTo>
                        <a:pt x="33" y="1587"/>
                      </a:moveTo>
                      <a:lnTo>
                        <a:pt x="33" y="1587"/>
                      </a:lnTo>
                      <a:lnTo>
                        <a:pt x="27" y="1586"/>
                      </a:lnTo>
                      <a:lnTo>
                        <a:pt x="21" y="1584"/>
                      </a:lnTo>
                      <a:lnTo>
                        <a:pt x="14" y="1581"/>
                      </a:lnTo>
                      <a:lnTo>
                        <a:pt x="10" y="1576"/>
                      </a:lnTo>
                      <a:lnTo>
                        <a:pt x="6" y="1572"/>
                      </a:lnTo>
                      <a:lnTo>
                        <a:pt x="3" y="1566"/>
                      </a:lnTo>
                      <a:lnTo>
                        <a:pt x="1" y="1560"/>
                      </a:lnTo>
                      <a:lnTo>
                        <a:pt x="0" y="1554"/>
                      </a:lnTo>
                      <a:lnTo>
                        <a:pt x="0" y="33"/>
                      </a:lnTo>
                      <a:lnTo>
                        <a:pt x="0" y="33"/>
                      </a:lnTo>
                      <a:lnTo>
                        <a:pt x="1" y="27"/>
                      </a:lnTo>
                      <a:lnTo>
                        <a:pt x="3" y="21"/>
                      </a:lnTo>
                      <a:lnTo>
                        <a:pt x="6" y="15"/>
                      </a:lnTo>
                      <a:lnTo>
                        <a:pt x="10" y="10"/>
                      </a:lnTo>
                      <a:lnTo>
                        <a:pt x="14" y="6"/>
                      </a:lnTo>
                      <a:lnTo>
                        <a:pt x="21" y="3"/>
                      </a:lnTo>
                      <a:lnTo>
                        <a:pt x="27" y="1"/>
                      </a:lnTo>
                      <a:lnTo>
                        <a:pt x="33" y="0"/>
                      </a:lnTo>
                      <a:lnTo>
                        <a:pt x="33" y="0"/>
                      </a:lnTo>
                      <a:lnTo>
                        <a:pt x="40" y="1"/>
                      </a:lnTo>
                      <a:lnTo>
                        <a:pt x="47" y="3"/>
                      </a:lnTo>
                      <a:lnTo>
                        <a:pt x="52" y="6"/>
                      </a:lnTo>
                      <a:lnTo>
                        <a:pt x="57" y="10"/>
                      </a:lnTo>
                      <a:lnTo>
                        <a:pt x="61" y="15"/>
                      </a:lnTo>
                      <a:lnTo>
                        <a:pt x="64" y="21"/>
                      </a:lnTo>
                      <a:lnTo>
                        <a:pt x="66" y="27"/>
                      </a:lnTo>
                      <a:lnTo>
                        <a:pt x="66" y="33"/>
                      </a:lnTo>
                      <a:lnTo>
                        <a:pt x="66" y="1554"/>
                      </a:lnTo>
                      <a:lnTo>
                        <a:pt x="66" y="1554"/>
                      </a:lnTo>
                      <a:lnTo>
                        <a:pt x="66" y="1560"/>
                      </a:lnTo>
                      <a:lnTo>
                        <a:pt x="64" y="1566"/>
                      </a:lnTo>
                      <a:lnTo>
                        <a:pt x="61" y="1572"/>
                      </a:lnTo>
                      <a:lnTo>
                        <a:pt x="57" y="1576"/>
                      </a:lnTo>
                      <a:lnTo>
                        <a:pt x="52" y="1581"/>
                      </a:lnTo>
                      <a:lnTo>
                        <a:pt x="47" y="1584"/>
                      </a:lnTo>
                      <a:lnTo>
                        <a:pt x="40" y="1586"/>
                      </a:lnTo>
                      <a:lnTo>
                        <a:pt x="33" y="1587"/>
                      </a:lnTo>
                      <a:lnTo>
                        <a:pt x="33" y="158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64" name="Freeform 197">
                  <a:extLst>
                    <a:ext uri="{FF2B5EF4-FFF2-40B4-BE49-F238E27FC236}">
                      <a16:creationId xmlns:a16="http://schemas.microsoft.com/office/drawing/2014/main" id="{2A74E19A-6441-A21F-019F-78A7AAFC50E0}"/>
                    </a:ext>
                  </a:extLst>
                </p:cNvPr>
                <p:cNvSpPr>
                  <a:spLocks noEditPoints="1"/>
                </p:cNvSpPr>
                <p:nvPr/>
              </p:nvSpPr>
              <p:spPr bwMode="auto">
                <a:xfrm>
                  <a:off x="4745428" y="3153972"/>
                  <a:ext cx="51240" cy="118007"/>
                </a:xfrm>
                <a:custGeom>
                  <a:avLst/>
                  <a:gdLst>
                    <a:gd name="T0" fmla="*/ 199 w 231"/>
                    <a:gd name="T1" fmla="*/ 529 h 529"/>
                    <a:gd name="T2" fmla="*/ 187 w 231"/>
                    <a:gd name="T3" fmla="*/ 527 h 529"/>
                    <a:gd name="T4" fmla="*/ 178 w 231"/>
                    <a:gd name="T5" fmla="*/ 522 h 529"/>
                    <a:gd name="T6" fmla="*/ 161 w 231"/>
                    <a:gd name="T7" fmla="*/ 508 h 529"/>
                    <a:gd name="T8" fmla="*/ 132 w 231"/>
                    <a:gd name="T9" fmla="*/ 482 h 529"/>
                    <a:gd name="T10" fmla="*/ 107 w 231"/>
                    <a:gd name="T11" fmla="*/ 454 h 529"/>
                    <a:gd name="T12" fmla="*/ 85 w 231"/>
                    <a:gd name="T13" fmla="*/ 425 h 529"/>
                    <a:gd name="T14" fmla="*/ 66 w 231"/>
                    <a:gd name="T15" fmla="*/ 396 h 529"/>
                    <a:gd name="T16" fmla="*/ 50 w 231"/>
                    <a:gd name="T17" fmla="*/ 366 h 529"/>
                    <a:gd name="T18" fmla="*/ 37 w 231"/>
                    <a:gd name="T19" fmla="*/ 336 h 529"/>
                    <a:gd name="T20" fmla="*/ 22 w 231"/>
                    <a:gd name="T21" fmla="*/ 289 h 529"/>
                    <a:gd name="T22" fmla="*/ 9 w 231"/>
                    <a:gd name="T23" fmla="*/ 226 h 529"/>
                    <a:gd name="T24" fmla="*/ 3 w 231"/>
                    <a:gd name="T25" fmla="*/ 162 h 529"/>
                    <a:gd name="T26" fmla="*/ 0 w 231"/>
                    <a:gd name="T27" fmla="*/ 98 h 529"/>
                    <a:gd name="T28" fmla="*/ 0 w 231"/>
                    <a:gd name="T29" fmla="*/ 33 h 529"/>
                    <a:gd name="T30" fmla="*/ 1 w 231"/>
                    <a:gd name="T31" fmla="*/ 23 h 529"/>
                    <a:gd name="T32" fmla="*/ 6 w 231"/>
                    <a:gd name="T33" fmla="*/ 15 h 529"/>
                    <a:gd name="T34" fmla="*/ 12 w 231"/>
                    <a:gd name="T35" fmla="*/ 8 h 529"/>
                    <a:gd name="T36" fmla="*/ 22 w 231"/>
                    <a:gd name="T37" fmla="*/ 2 h 529"/>
                    <a:gd name="T38" fmla="*/ 27 w 231"/>
                    <a:gd name="T39" fmla="*/ 1 h 529"/>
                    <a:gd name="T40" fmla="*/ 36 w 231"/>
                    <a:gd name="T41" fmla="*/ 0 h 529"/>
                    <a:gd name="T42" fmla="*/ 46 w 231"/>
                    <a:gd name="T43" fmla="*/ 3 h 529"/>
                    <a:gd name="T44" fmla="*/ 55 w 231"/>
                    <a:gd name="T45" fmla="*/ 9 h 529"/>
                    <a:gd name="T46" fmla="*/ 223 w 231"/>
                    <a:gd name="T47" fmla="*/ 210 h 529"/>
                    <a:gd name="T48" fmla="*/ 227 w 231"/>
                    <a:gd name="T49" fmla="*/ 216 h 529"/>
                    <a:gd name="T50" fmla="*/ 231 w 231"/>
                    <a:gd name="T51" fmla="*/ 226 h 529"/>
                    <a:gd name="T52" fmla="*/ 231 w 231"/>
                    <a:gd name="T53" fmla="*/ 496 h 529"/>
                    <a:gd name="T54" fmla="*/ 231 w 231"/>
                    <a:gd name="T55" fmla="*/ 501 h 529"/>
                    <a:gd name="T56" fmla="*/ 229 w 231"/>
                    <a:gd name="T57" fmla="*/ 510 h 529"/>
                    <a:gd name="T58" fmla="*/ 223 w 231"/>
                    <a:gd name="T59" fmla="*/ 518 h 529"/>
                    <a:gd name="T60" fmla="*/ 216 w 231"/>
                    <a:gd name="T61" fmla="*/ 524 h 529"/>
                    <a:gd name="T62" fmla="*/ 212 w 231"/>
                    <a:gd name="T63" fmla="*/ 526 h 529"/>
                    <a:gd name="T64" fmla="*/ 199 w 231"/>
                    <a:gd name="T65" fmla="*/ 529 h 529"/>
                    <a:gd name="T66" fmla="*/ 67 w 231"/>
                    <a:gd name="T67" fmla="*/ 126 h 529"/>
                    <a:gd name="T68" fmla="*/ 69 w 231"/>
                    <a:gd name="T69" fmla="*/ 166 h 529"/>
                    <a:gd name="T70" fmla="*/ 75 w 231"/>
                    <a:gd name="T71" fmla="*/ 224 h 529"/>
                    <a:gd name="T72" fmla="*/ 84 w 231"/>
                    <a:gd name="T73" fmla="*/ 261 h 529"/>
                    <a:gd name="T74" fmla="*/ 94 w 231"/>
                    <a:gd name="T75" fmla="*/ 298 h 529"/>
                    <a:gd name="T76" fmla="*/ 109 w 231"/>
                    <a:gd name="T77" fmla="*/ 335 h 529"/>
                    <a:gd name="T78" fmla="*/ 127 w 231"/>
                    <a:gd name="T79" fmla="*/ 370 h 529"/>
                    <a:gd name="T80" fmla="*/ 151 w 231"/>
                    <a:gd name="T81" fmla="*/ 404 h 529"/>
                    <a:gd name="T82" fmla="*/ 166 w 231"/>
                    <a:gd name="T83" fmla="*/ 24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1" h="529">
                      <a:moveTo>
                        <a:pt x="199" y="529"/>
                      </a:moveTo>
                      <a:lnTo>
                        <a:pt x="199" y="529"/>
                      </a:lnTo>
                      <a:lnTo>
                        <a:pt x="192" y="529"/>
                      </a:lnTo>
                      <a:lnTo>
                        <a:pt x="187" y="527"/>
                      </a:lnTo>
                      <a:lnTo>
                        <a:pt x="182" y="525"/>
                      </a:lnTo>
                      <a:lnTo>
                        <a:pt x="178" y="522"/>
                      </a:lnTo>
                      <a:lnTo>
                        <a:pt x="178" y="522"/>
                      </a:lnTo>
                      <a:lnTo>
                        <a:pt x="161" y="508"/>
                      </a:lnTo>
                      <a:lnTo>
                        <a:pt x="146" y="495"/>
                      </a:lnTo>
                      <a:lnTo>
                        <a:pt x="132" y="482"/>
                      </a:lnTo>
                      <a:lnTo>
                        <a:pt x="119" y="468"/>
                      </a:lnTo>
                      <a:lnTo>
                        <a:pt x="107" y="454"/>
                      </a:lnTo>
                      <a:lnTo>
                        <a:pt x="95" y="439"/>
                      </a:lnTo>
                      <a:lnTo>
                        <a:pt x="85" y="425"/>
                      </a:lnTo>
                      <a:lnTo>
                        <a:pt x="74" y="410"/>
                      </a:lnTo>
                      <a:lnTo>
                        <a:pt x="66" y="396"/>
                      </a:lnTo>
                      <a:lnTo>
                        <a:pt x="58" y="381"/>
                      </a:lnTo>
                      <a:lnTo>
                        <a:pt x="50" y="366"/>
                      </a:lnTo>
                      <a:lnTo>
                        <a:pt x="43" y="350"/>
                      </a:lnTo>
                      <a:lnTo>
                        <a:pt x="37" y="336"/>
                      </a:lnTo>
                      <a:lnTo>
                        <a:pt x="31" y="320"/>
                      </a:lnTo>
                      <a:lnTo>
                        <a:pt x="22" y="289"/>
                      </a:lnTo>
                      <a:lnTo>
                        <a:pt x="14" y="258"/>
                      </a:lnTo>
                      <a:lnTo>
                        <a:pt x="9" y="226"/>
                      </a:lnTo>
                      <a:lnTo>
                        <a:pt x="5" y="194"/>
                      </a:lnTo>
                      <a:lnTo>
                        <a:pt x="3" y="162"/>
                      </a:lnTo>
                      <a:lnTo>
                        <a:pt x="1" y="130"/>
                      </a:lnTo>
                      <a:lnTo>
                        <a:pt x="0" y="98"/>
                      </a:lnTo>
                      <a:lnTo>
                        <a:pt x="0" y="33"/>
                      </a:lnTo>
                      <a:lnTo>
                        <a:pt x="0" y="33"/>
                      </a:lnTo>
                      <a:lnTo>
                        <a:pt x="0" y="28"/>
                      </a:lnTo>
                      <a:lnTo>
                        <a:pt x="1" y="23"/>
                      </a:lnTo>
                      <a:lnTo>
                        <a:pt x="3" y="19"/>
                      </a:lnTo>
                      <a:lnTo>
                        <a:pt x="6" y="15"/>
                      </a:lnTo>
                      <a:lnTo>
                        <a:pt x="9" y="11"/>
                      </a:lnTo>
                      <a:lnTo>
                        <a:pt x="12" y="8"/>
                      </a:lnTo>
                      <a:lnTo>
                        <a:pt x="16" y="4"/>
                      </a:lnTo>
                      <a:lnTo>
                        <a:pt x="22" y="2"/>
                      </a:lnTo>
                      <a:lnTo>
                        <a:pt x="22" y="2"/>
                      </a:lnTo>
                      <a:lnTo>
                        <a:pt x="27" y="1"/>
                      </a:lnTo>
                      <a:lnTo>
                        <a:pt x="32" y="0"/>
                      </a:lnTo>
                      <a:lnTo>
                        <a:pt x="36" y="0"/>
                      </a:lnTo>
                      <a:lnTo>
                        <a:pt x="41" y="1"/>
                      </a:lnTo>
                      <a:lnTo>
                        <a:pt x="46" y="3"/>
                      </a:lnTo>
                      <a:lnTo>
                        <a:pt x="51" y="6"/>
                      </a:lnTo>
                      <a:lnTo>
                        <a:pt x="55" y="9"/>
                      </a:lnTo>
                      <a:lnTo>
                        <a:pt x="58" y="12"/>
                      </a:lnTo>
                      <a:lnTo>
                        <a:pt x="223" y="210"/>
                      </a:lnTo>
                      <a:lnTo>
                        <a:pt x="223" y="210"/>
                      </a:lnTo>
                      <a:lnTo>
                        <a:pt x="227" y="216"/>
                      </a:lnTo>
                      <a:lnTo>
                        <a:pt x="230" y="221"/>
                      </a:lnTo>
                      <a:lnTo>
                        <a:pt x="231" y="226"/>
                      </a:lnTo>
                      <a:lnTo>
                        <a:pt x="231" y="232"/>
                      </a:lnTo>
                      <a:lnTo>
                        <a:pt x="231" y="496"/>
                      </a:lnTo>
                      <a:lnTo>
                        <a:pt x="231" y="496"/>
                      </a:lnTo>
                      <a:lnTo>
                        <a:pt x="231" y="501"/>
                      </a:lnTo>
                      <a:lnTo>
                        <a:pt x="230" y="505"/>
                      </a:lnTo>
                      <a:lnTo>
                        <a:pt x="229" y="510"/>
                      </a:lnTo>
                      <a:lnTo>
                        <a:pt x="227" y="514"/>
                      </a:lnTo>
                      <a:lnTo>
                        <a:pt x="223" y="518"/>
                      </a:lnTo>
                      <a:lnTo>
                        <a:pt x="220" y="521"/>
                      </a:lnTo>
                      <a:lnTo>
                        <a:pt x="216" y="524"/>
                      </a:lnTo>
                      <a:lnTo>
                        <a:pt x="212" y="526"/>
                      </a:lnTo>
                      <a:lnTo>
                        <a:pt x="212" y="526"/>
                      </a:lnTo>
                      <a:lnTo>
                        <a:pt x="206" y="528"/>
                      </a:lnTo>
                      <a:lnTo>
                        <a:pt x="199" y="529"/>
                      </a:lnTo>
                      <a:lnTo>
                        <a:pt x="199" y="529"/>
                      </a:lnTo>
                      <a:close/>
                      <a:moveTo>
                        <a:pt x="67" y="126"/>
                      </a:moveTo>
                      <a:lnTo>
                        <a:pt x="67" y="126"/>
                      </a:lnTo>
                      <a:lnTo>
                        <a:pt x="69" y="166"/>
                      </a:lnTo>
                      <a:lnTo>
                        <a:pt x="73" y="204"/>
                      </a:lnTo>
                      <a:lnTo>
                        <a:pt x="75" y="224"/>
                      </a:lnTo>
                      <a:lnTo>
                        <a:pt x="80" y="243"/>
                      </a:lnTo>
                      <a:lnTo>
                        <a:pt x="84" y="261"/>
                      </a:lnTo>
                      <a:lnTo>
                        <a:pt x="89" y="280"/>
                      </a:lnTo>
                      <a:lnTo>
                        <a:pt x="94" y="298"/>
                      </a:lnTo>
                      <a:lnTo>
                        <a:pt x="101" y="317"/>
                      </a:lnTo>
                      <a:lnTo>
                        <a:pt x="109" y="335"/>
                      </a:lnTo>
                      <a:lnTo>
                        <a:pt x="118" y="352"/>
                      </a:lnTo>
                      <a:lnTo>
                        <a:pt x="127" y="370"/>
                      </a:lnTo>
                      <a:lnTo>
                        <a:pt x="139" y="386"/>
                      </a:lnTo>
                      <a:lnTo>
                        <a:pt x="151" y="404"/>
                      </a:lnTo>
                      <a:lnTo>
                        <a:pt x="166" y="419"/>
                      </a:lnTo>
                      <a:lnTo>
                        <a:pt x="166" y="244"/>
                      </a:lnTo>
                      <a:lnTo>
                        <a:pt x="67" y="1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65" name="Freeform 198">
                  <a:extLst>
                    <a:ext uri="{FF2B5EF4-FFF2-40B4-BE49-F238E27FC236}">
                      <a16:creationId xmlns:a16="http://schemas.microsoft.com/office/drawing/2014/main" id="{50C82389-1AD0-BED5-C7BB-901AD8024AFE}"/>
                    </a:ext>
                  </a:extLst>
                </p:cNvPr>
                <p:cNvSpPr>
                  <a:spLocks noEditPoints="1"/>
                </p:cNvSpPr>
                <p:nvPr/>
              </p:nvSpPr>
              <p:spPr bwMode="auto">
                <a:xfrm>
                  <a:off x="4745428" y="3264216"/>
                  <a:ext cx="51240" cy="118007"/>
                </a:xfrm>
                <a:custGeom>
                  <a:avLst/>
                  <a:gdLst>
                    <a:gd name="T0" fmla="*/ 199 w 231"/>
                    <a:gd name="T1" fmla="*/ 530 h 530"/>
                    <a:gd name="T2" fmla="*/ 187 w 231"/>
                    <a:gd name="T3" fmla="*/ 528 h 530"/>
                    <a:gd name="T4" fmla="*/ 178 w 231"/>
                    <a:gd name="T5" fmla="*/ 523 h 530"/>
                    <a:gd name="T6" fmla="*/ 161 w 231"/>
                    <a:gd name="T7" fmla="*/ 509 h 530"/>
                    <a:gd name="T8" fmla="*/ 132 w 231"/>
                    <a:gd name="T9" fmla="*/ 481 h 530"/>
                    <a:gd name="T10" fmla="*/ 107 w 231"/>
                    <a:gd name="T11" fmla="*/ 453 h 530"/>
                    <a:gd name="T12" fmla="*/ 85 w 231"/>
                    <a:gd name="T13" fmla="*/ 425 h 530"/>
                    <a:gd name="T14" fmla="*/ 66 w 231"/>
                    <a:gd name="T15" fmla="*/ 395 h 530"/>
                    <a:gd name="T16" fmla="*/ 50 w 231"/>
                    <a:gd name="T17" fmla="*/ 365 h 530"/>
                    <a:gd name="T18" fmla="*/ 37 w 231"/>
                    <a:gd name="T19" fmla="*/ 335 h 530"/>
                    <a:gd name="T20" fmla="*/ 22 w 231"/>
                    <a:gd name="T21" fmla="*/ 289 h 530"/>
                    <a:gd name="T22" fmla="*/ 9 w 231"/>
                    <a:gd name="T23" fmla="*/ 226 h 530"/>
                    <a:gd name="T24" fmla="*/ 3 w 231"/>
                    <a:gd name="T25" fmla="*/ 163 h 530"/>
                    <a:gd name="T26" fmla="*/ 0 w 231"/>
                    <a:gd name="T27" fmla="*/ 97 h 530"/>
                    <a:gd name="T28" fmla="*/ 0 w 231"/>
                    <a:gd name="T29" fmla="*/ 33 h 530"/>
                    <a:gd name="T30" fmla="*/ 1 w 231"/>
                    <a:gd name="T31" fmla="*/ 24 h 530"/>
                    <a:gd name="T32" fmla="*/ 6 w 231"/>
                    <a:gd name="T33" fmla="*/ 15 h 530"/>
                    <a:gd name="T34" fmla="*/ 12 w 231"/>
                    <a:gd name="T35" fmla="*/ 7 h 530"/>
                    <a:gd name="T36" fmla="*/ 22 w 231"/>
                    <a:gd name="T37" fmla="*/ 2 h 530"/>
                    <a:gd name="T38" fmla="*/ 27 w 231"/>
                    <a:gd name="T39" fmla="*/ 1 h 530"/>
                    <a:gd name="T40" fmla="*/ 36 w 231"/>
                    <a:gd name="T41" fmla="*/ 1 h 530"/>
                    <a:gd name="T42" fmla="*/ 46 w 231"/>
                    <a:gd name="T43" fmla="*/ 3 h 530"/>
                    <a:gd name="T44" fmla="*/ 55 w 231"/>
                    <a:gd name="T45" fmla="*/ 8 h 530"/>
                    <a:gd name="T46" fmla="*/ 223 w 231"/>
                    <a:gd name="T47" fmla="*/ 210 h 530"/>
                    <a:gd name="T48" fmla="*/ 227 w 231"/>
                    <a:gd name="T49" fmla="*/ 215 h 530"/>
                    <a:gd name="T50" fmla="*/ 231 w 231"/>
                    <a:gd name="T51" fmla="*/ 226 h 530"/>
                    <a:gd name="T52" fmla="*/ 231 w 231"/>
                    <a:gd name="T53" fmla="*/ 497 h 530"/>
                    <a:gd name="T54" fmla="*/ 231 w 231"/>
                    <a:gd name="T55" fmla="*/ 501 h 530"/>
                    <a:gd name="T56" fmla="*/ 229 w 231"/>
                    <a:gd name="T57" fmla="*/ 510 h 530"/>
                    <a:gd name="T58" fmla="*/ 223 w 231"/>
                    <a:gd name="T59" fmla="*/ 518 h 530"/>
                    <a:gd name="T60" fmla="*/ 216 w 231"/>
                    <a:gd name="T61" fmla="*/ 524 h 530"/>
                    <a:gd name="T62" fmla="*/ 212 w 231"/>
                    <a:gd name="T63" fmla="*/ 526 h 530"/>
                    <a:gd name="T64" fmla="*/ 199 w 231"/>
                    <a:gd name="T65" fmla="*/ 530 h 530"/>
                    <a:gd name="T66" fmla="*/ 67 w 231"/>
                    <a:gd name="T67" fmla="*/ 126 h 530"/>
                    <a:gd name="T68" fmla="*/ 69 w 231"/>
                    <a:gd name="T69" fmla="*/ 166 h 530"/>
                    <a:gd name="T70" fmla="*/ 75 w 231"/>
                    <a:gd name="T71" fmla="*/ 224 h 530"/>
                    <a:gd name="T72" fmla="*/ 84 w 231"/>
                    <a:gd name="T73" fmla="*/ 262 h 530"/>
                    <a:gd name="T74" fmla="*/ 94 w 231"/>
                    <a:gd name="T75" fmla="*/ 298 h 530"/>
                    <a:gd name="T76" fmla="*/ 109 w 231"/>
                    <a:gd name="T77" fmla="*/ 334 h 530"/>
                    <a:gd name="T78" fmla="*/ 127 w 231"/>
                    <a:gd name="T79" fmla="*/ 370 h 530"/>
                    <a:gd name="T80" fmla="*/ 151 w 231"/>
                    <a:gd name="T81" fmla="*/ 404 h 530"/>
                    <a:gd name="T82" fmla="*/ 166 w 231"/>
                    <a:gd name="T83" fmla="*/ 244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1" h="530">
                      <a:moveTo>
                        <a:pt x="199" y="530"/>
                      </a:moveTo>
                      <a:lnTo>
                        <a:pt x="199" y="530"/>
                      </a:lnTo>
                      <a:lnTo>
                        <a:pt x="192" y="529"/>
                      </a:lnTo>
                      <a:lnTo>
                        <a:pt x="187" y="528"/>
                      </a:lnTo>
                      <a:lnTo>
                        <a:pt x="182" y="526"/>
                      </a:lnTo>
                      <a:lnTo>
                        <a:pt x="178" y="523"/>
                      </a:lnTo>
                      <a:lnTo>
                        <a:pt x="178" y="523"/>
                      </a:lnTo>
                      <a:lnTo>
                        <a:pt x="161" y="509"/>
                      </a:lnTo>
                      <a:lnTo>
                        <a:pt x="146" y="496"/>
                      </a:lnTo>
                      <a:lnTo>
                        <a:pt x="132" y="481"/>
                      </a:lnTo>
                      <a:lnTo>
                        <a:pt x="119" y="468"/>
                      </a:lnTo>
                      <a:lnTo>
                        <a:pt x="107" y="453"/>
                      </a:lnTo>
                      <a:lnTo>
                        <a:pt x="95" y="440"/>
                      </a:lnTo>
                      <a:lnTo>
                        <a:pt x="85" y="425"/>
                      </a:lnTo>
                      <a:lnTo>
                        <a:pt x="74" y="410"/>
                      </a:lnTo>
                      <a:lnTo>
                        <a:pt x="66" y="395"/>
                      </a:lnTo>
                      <a:lnTo>
                        <a:pt x="58" y="381"/>
                      </a:lnTo>
                      <a:lnTo>
                        <a:pt x="50" y="365"/>
                      </a:lnTo>
                      <a:lnTo>
                        <a:pt x="43" y="351"/>
                      </a:lnTo>
                      <a:lnTo>
                        <a:pt x="37" y="335"/>
                      </a:lnTo>
                      <a:lnTo>
                        <a:pt x="31" y="320"/>
                      </a:lnTo>
                      <a:lnTo>
                        <a:pt x="22" y="289"/>
                      </a:lnTo>
                      <a:lnTo>
                        <a:pt x="14" y="258"/>
                      </a:lnTo>
                      <a:lnTo>
                        <a:pt x="9" y="226"/>
                      </a:lnTo>
                      <a:lnTo>
                        <a:pt x="5" y="195"/>
                      </a:lnTo>
                      <a:lnTo>
                        <a:pt x="3" y="163"/>
                      </a:lnTo>
                      <a:lnTo>
                        <a:pt x="1" y="129"/>
                      </a:lnTo>
                      <a:lnTo>
                        <a:pt x="0" y="97"/>
                      </a:lnTo>
                      <a:lnTo>
                        <a:pt x="0" y="33"/>
                      </a:lnTo>
                      <a:lnTo>
                        <a:pt x="0" y="33"/>
                      </a:lnTo>
                      <a:lnTo>
                        <a:pt x="0" y="28"/>
                      </a:lnTo>
                      <a:lnTo>
                        <a:pt x="1" y="24"/>
                      </a:lnTo>
                      <a:lnTo>
                        <a:pt x="3" y="19"/>
                      </a:lnTo>
                      <a:lnTo>
                        <a:pt x="6" y="15"/>
                      </a:lnTo>
                      <a:lnTo>
                        <a:pt x="9" y="10"/>
                      </a:lnTo>
                      <a:lnTo>
                        <a:pt x="12" y="7"/>
                      </a:lnTo>
                      <a:lnTo>
                        <a:pt x="16" y="4"/>
                      </a:lnTo>
                      <a:lnTo>
                        <a:pt x="22" y="2"/>
                      </a:lnTo>
                      <a:lnTo>
                        <a:pt x="22" y="2"/>
                      </a:lnTo>
                      <a:lnTo>
                        <a:pt x="27" y="1"/>
                      </a:lnTo>
                      <a:lnTo>
                        <a:pt x="32" y="0"/>
                      </a:lnTo>
                      <a:lnTo>
                        <a:pt x="36" y="1"/>
                      </a:lnTo>
                      <a:lnTo>
                        <a:pt x="41" y="1"/>
                      </a:lnTo>
                      <a:lnTo>
                        <a:pt x="46" y="3"/>
                      </a:lnTo>
                      <a:lnTo>
                        <a:pt x="51" y="5"/>
                      </a:lnTo>
                      <a:lnTo>
                        <a:pt x="55" y="8"/>
                      </a:lnTo>
                      <a:lnTo>
                        <a:pt x="58" y="13"/>
                      </a:lnTo>
                      <a:lnTo>
                        <a:pt x="223" y="210"/>
                      </a:lnTo>
                      <a:lnTo>
                        <a:pt x="223" y="210"/>
                      </a:lnTo>
                      <a:lnTo>
                        <a:pt x="227" y="215"/>
                      </a:lnTo>
                      <a:lnTo>
                        <a:pt x="230" y="221"/>
                      </a:lnTo>
                      <a:lnTo>
                        <a:pt x="231" y="226"/>
                      </a:lnTo>
                      <a:lnTo>
                        <a:pt x="231" y="232"/>
                      </a:lnTo>
                      <a:lnTo>
                        <a:pt x="231" y="497"/>
                      </a:lnTo>
                      <a:lnTo>
                        <a:pt x="231" y="497"/>
                      </a:lnTo>
                      <a:lnTo>
                        <a:pt x="231" y="501"/>
                      </a:lnTo>
                      <a:lnTo>
                        <a:pt x="230" y="505"/>
                      </a:lnTo>
                      <a:lnTo>
                        <a:pt x="229" y="510"/>
                      </a:lnTo>
                      <a:lnTo>
                        <a:pt x="227" y="514"/>
                      </a:lnTo>
                      <a:lnTo>
                        <a:pt x="223" y="518"/>
                      </a:lnTo>
                      <a:lnTo>
                        <a:pt x="220" y="521"/>
                      </a:lnTo>
                      <a:lnTo>
                        <a:pt x="216" y="524"/>
                      </a:lnTo>
                      <a:lnTo>
                        <a:pt x="212" y="526"/>
                      </a:lnTo>
                      <a:lnTo>
                        <a:pt x="212" y="526"/>
                      </a:lnTo>
                      <a:lnTo>
                        <a:pt x="206" y="529"/>
                      </a:lnTo>
                      <a:lnTo>
                        <a:pt x="199" y="530"/>
                      </a:lnTo>
                      <a:lnTo>
                        <a:pt x="199" y="530"/>
                      </a:lnTo>
                      <a:close/>
                      <a:moveTo>
                        <a:pt x="67" y="126"/>
                      </a:moveTo>
                      <a:lnTo>
                        <a:pt x="67" y="126"/>
                      </a:lnTo>
                      <a:lnTo>
                        <a:pt x="69" y="166"/>
                      </a:lnTo>
                      <a:lnTo>
                        <a:pt x="73" y="205"/>
                      </a:lnTo>
                      <a:lnTo>
                        <a:pt x="75" y="224"/>
                      </a:lnTo>
                      <a:lnTo>
                        <a:pt x="80" y="243"/>
                      </a:lnTo>
                      <a:lnTo>
                        <a:pt x="84" y="262"/>
                      </a:lnTo>
                      <a:lnTo>
                        <a:pt x="89" y="281"/>
                      </a:lnTo>
                      <a:lnTo>
                        <a:pt x="94" y="298"/>
                      </a:lnTo>
                      <a:lnTo>
                        <a:pt x="101" y="317"/>
                      </a:lnTo>
                      <a:lnTo>
                        <a:pt x="109" y="334"/>
                      </a:lnTo>
                      <a:lnTo>
                        <a:pt x="118" y="352"/>
                      </a:lnTo>
                      <a:lnTo>
                        <a:pt x="127" y="370"/>
                      </a:lnTo>
                      <a:lnTo>
                        <a:pt x="139" y="387"/>
                      </a:lnTo>
                      <a:lnTo>
                        <a:pt x="151" y="404"/>
                      </a:lnTo>
                      <a:lnTo>
                        <a:pt x="166" y="420"/>
                      </a:lnTo>
                      <a:lnTo>
                        <a:pt x="166" y="244"/>
                      </a:lnTo>
                      <a:lnTo>
                        <a:pt x="67" y="1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66" name="Freeform 199">
                  <a:extLst>
                    <a:ext uri="{FF2B5EF4-FFF2-40B4-BE49-F238E27FC236}">
                      <a16:creationId xmlns:a16="http://schemas.microsoft.com/office/drawing/2014/main" id="{E38CA8AF-09E7-24F5-28F1-2BBC6FB074F7}"/>
                    </a:ext>
                  </a:extLst>
                </p:cNvPr>
                <p:cNvSpPr>
                  <a:spLocks noEditPoints="1"/>
                </p:cNvSpPr>
                <p:nvPr/>
              </p:nvSpPr>
              <p:spPr bwMode="auto">
                <a:xfrm>
                  <a:off x="4745428" y="3374459"/>
                  <a:ext cx="51240" cy="118007"/>
                </a:xfrm>
                <a:custGeom>
                  <a:avLst/>
                  <a:gdLst>
                    <a:gd name="T0" fmla="*/ 199 w 231"/>
                    <a:gd name="T1" fmla="*/ 529 h 529"/>
                    <a:gd name="T2" fmla="*/ 187 w 231"/>
                    <a:gd name="T3" fmla="*/ 527 h 529"/>
                    <a:gd name="T4" fmla="*/ 178 w 231"/>
                    <a:gd name="T5" fmla="*/ 522 h 529"/>
                    <a:gd name="T6" fmla="*/ 161 w 231"/>
                    <a:gd name="T7" fmla="*/ 508 h 529"/>
                    <a:gd name="T8" fmla="*/ 132 w 231"/>
                    <a:gd name="T9" fmla="*/ 481 h 529"/>
                    <a:gd name="T10" fmla="*/ 107 w 231"/>
                    <a:gd name="T11" fmla="*/ 453 h 529"/>
                    <a:gd name="T12" fmla="*/ 85 w 231"/>
                    <a:gd name="T13" fmla="*/ 424 h 529"/>
                    <a:gd name="T14" fmla="*/ 66 w 231"/>
                    <a:gd name="T15" fmla="*/ 395 h 529"/>
                    <a:gd name="T16" fmla="*/ 50 w 231"/>
                    <a:gd name="T17" fmla="*/ 365 h 529"/>
                    <a:gd name="T18" fmla="*/ 37 w 231"/>
                    <a:gd name="T19" fmla="*/ 334 h 529"/>
                    <a:gd name="T20" fmla="*/ 22 w 231"/>
                    <a:gd name="T21" fmla="*/ 288 h 529"/>
                    <a:gd name="T22" fmla="*/ 9 w 231"/>
                    <a:gd name="T23" fmla="*/ 226 h 529"/>
                    <a:gd name="T24" fmla="*/ 3 w 231"/>
                    <a:gd name="T25" fmla="*/ 161 h 529"/>
                    <a:gd name="T26" fmla="*/ 0 w 231"/>
                    <a:gd name="T27" fmla="*/ 97 h 529"/>
                    <a:gd name="T28" fmla="*/ 0 w 231"/>
                    <a:gd name="T29" fmla="*/ 33 h 529"/>
                    <a:gd name="T30" fmla="*/ 1 w 231"/>
                    <a:gd name="T31" fmla="*/ 23 h 529"/>
                    <a:gd name="T32" fmla="*/ 6 w 231"/>
                    <a:gd name="T33" fmla="*/ 13 h 529"/>
                    <a:gd name="T34" fmla="*/ 12 w 231"/>
                    <a:gd name="T35" fmla="*/ 6 h 529"/>
                    <a:gd name="T36" fmla="*/ 22 w 231"/>
                    <a:gd name="T37" fmla="*/ 1 h 529"/>
                    <a:gd name="T38" fmla="*/ 27 w 231"/>
                    <a:gd name="T39" fmla="*/ 0 h 529"/>
                    <a:gd name="T40" fmla="*/ 36 w 231"/>
                    <a:gd name="T41" fmla="*/ 0 h 529"/>
                    <a:gd name="T42" fmla="*/ 46 w 231"/>
                    <a:gd name="T43" fmla="*/ 2 h 529"/>
                    <a:gd name="T44" fmla="*/ 55 w 231"/>
                    <a:gd name="T45" fmla="*/ 7 h 529"/>
                    <a:gd name="T46" fmla="*/ 223 w 231"/>
                    <a:gd name="T47" fmla="*/ 210 h 529"/>
                    <a:gd name="T48" fmla="*/ 227 w 231"/>
                    <a:gd name="T49" fmla="*/ 214 h 529"/>
                    <a:gd name="T50" fmla="*/ 231 w 231"/>
                    <a:gd name="T51" fmla="*/ 226 h 529"/>
                    <a:gd name="T52" fmla="*/ 231 w 231"/>
                    <a:gd name="T53" fmla="*/ 496 h 529"/>
                    <a:gd name="T54" fmla="*/ 231 w 231"/>
                    <a:gd name="T55" fmla="*/ 500 h 529"/>
                    <a:gd name="T56" fmla="*/ 229 w 231"/>
                    <a:gd name="T57" fmla="*/ 509 h 529"/>
                    <a:gd name="T58" fmla="*/ 223 w 231"/>
                    <a:gd name="T59" fmla="*/ 516 h 529"/>
                    <a:gd name="T60" fmla="*/ 216 w 231"/>
                    <a:gd name="T61" fmla="*/ 523 h 529"/>
                    <a:gd name="T62" fmla="*/ 212 w 231"/>
                    <a:gd name="T63" fmla="*/ 526 h 529"/>
                    <a:gd name="T64" fmla="*/ 199 w 231"/>
                    <a:gd name="T65" fmla="*/ 529 h 529"/>
                    <a:gd name="T66" fmla="*/ 67 w 231"/>
                    <a:gd name="T67" fmla="*/ 125 h 529"/>
                    <a:gd name="T68" fmla="*/ 69 w 231"/>
                    <a:gd name="T69" fmla="*/ 164 h 529"/>
                    <a:gd name="T70" fmla="*/ 75 w 231"/>
                    <a:gd name="T71" fmla="*/ 222 h 529"/>
                    <a:gd name="T72" fmla="*/ 84 w 231"/>
                    <a:gd name="T73" fmla="*/ 261 h 529"/>
                    <a:gd name="T74" fmla="*/ 94 w 231"/>
                    <a:gd name="T75" fmla="*/ 298 h 529"/>
                    <a:gd name="T76" fmla="*/ 109 w 231"/>
                    <a:gd name="T77" fmla="*/ 334 h 529"/>
                    <a:gd name="T78" fmla="*/ 127 w 231"/>
                    <a:gd name="T79" fmla="*/ 368 h 529"/>
                    <a:gd name="T80" fmla="*/ 151 w 231"/>
                    <a:gd name="T81" fmla="*/ 403 h 529"/>
                    <a:gd name="T82" fmla="*/ 166 w 231"/>
                    <a:gd name="T83" fmla="*/ 243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1" h="529">
                      <a:moveTo>
                        <a:pt x="199" y="529"/>
                      </a:moveTo>
                      <a:lnTo>
                        <a:pt x="199" y="529"/>
                      </a:lnTo>
                      <a:lnTo>
                        <a:pt x="192" y="528"/>
                      </a:lnTo>
                      <a:lnTo>
                        <a:pt x="187" y="527"/>
                      </a:lnTo>
                      <a:lnTo>
                        <a:pt x="182" y="525"/>
                      </a:lnTo>
                      <a:lnTo>
                        <a:pt x="178" y="522"/>
                      </a:lnTo>
                      <a:lnTo>
                        <a:pt x="178" y="522"/>
                      </a:lnTo>
                      <a:lnTo>
                        <a:pt x="161" y="508"/>
                      </a:lnTo>
                      <a:lnTo>
                        <a:pt x="146" y="495"/>
                      </a:lnTo>
                      <a:lnTo>
                        <a:pt x="132" y="481"/>
                      </a:lnTo>
                      <a:lnTo>
                        <a:pt x="119" y="467"/>
                      </a:lnTo>
                      <a:lnTo>
                        <a:pt x="107" y="453"/>
                      </a:lnTo>
                      <a:lnTo>
                        <a:pt x="95" y="439"/>
                      </a:lnTo>
                      <a:lnTo>
                        <a:pt x="85" y="424"/>
                      </a:lnTo>
                      <a:lnTo>
                        <a:pt x="74" y="410"/>
                      </a:lnTo>
                      <a:lnTo>
                        <a:pt x="66" y="395"/>
                      </a:lnTo>
                      <a:lnTo>
                        <a:pt x="58" y="380"/>
                      </a:lnTo>
                      <a:lnTo>
                        <a:pt x="50" y="365"/>
                      </a:lnTo>
                      <a:lnTo>
                        <a:pt x="43" y="350"/>
                      </a:lnTo>
                      <a:lnTo>
                        <a:pt x="37" y="334"/>
                      </a:lnTo>
                      <a:lnTo>
                        <a:pt x="31" y="319"/>
                      </a:lnTo>
                      <a:lnTo>
                        <a:pt x="22" y="288"/>
                      </a:lnTo>
                      <a:lnTo>
                        <a:pt x="14" y="257"/>
                      </a:lnTo>
                      <a:lnTo>
                        <a:pt x="9" y="226"/>
                      </a:lnTo>
                      <a:lnTo>
                        <a:pt x="5" y="193"/>
                      </a:lnTo>
                      <a:lnTo>
                        <a:pt x="3" y="161"/>
                      </a:lnTo>
                      <a:lnTo>
                        <a:pt x="1" y="129"/>
                      </a:lnTo>
                      <a:lnTo>
                        <a:pt x="0" y="97"/>
                      </a:lnTo>
                      <a:lnTo>
                        <a:pt x="0" y="33"/>
                      </a:lnTo>
                      <a:lnTo>
                        <a:pt x="0" y="33"/>
                      </a:lnTo>
                      <a:lnTo>
                        <a:pt x="0" y="28"/>
                      </a:lnTo>
                      <a:lnTo>
                        <a:pt x="1" y="23"/>
                      </a:lnTo>
                      <a:lnTo>
                        <a:pt x="3" y="18"/>
                      </a:lnTo>
                      <a:lnTo>
                        <a:pt x="6" y="13"/>
                      </a:lnTo>
                      <a:lnTo>
                        <a:pt x="9" y="9"/>
                      </a:lnTo>
                      <a:lnTo>
                        <a:pt x="12" y="6"/>
                      </a:lnTo>
                      <a:lnTo>
                        <a:pt x="16" y="4"/>
                      </a:lnTo>
                      <a:lnTo>
                        <a:pt x="22" y="1"/>
                      </a:lnTo>
                      <a:lnTo>
                        <a:pt x="22" y="1"/>
                      </a:lnTo>
                      <a:lnTo>
                        <a:pt x="27" y="0"/>
                      </a:lnTo>
                      <a:lnTo>
                        <a:pt x="32" y="0"/>
                      </a:lnTo>
                      <a:lnTo>
                        <a:pt x="36" y="0"/>
                      </a:lnTo>
                      <a:lnTo>
                        <a:pt x="41" y="1"/>
                      </a:lnTo>
                      <a:lnTo>
                        <a:pt x="46" y="2"/>
                      </a:lnTo>
                      <a:lnTo>
                        <a:pt x="51" y="5"/>
                      </a:lnTo>
                      <a:lnTo>
                        <a:pt x="55" y="7"/>
                      </a:lnTo>
                      <a:lnTo>
                        <a:pt x="58" y="11"/>
                      </a:lnTo>
                      <a:lnTo>
                        <a:pt x="223" y="210"/>
                      </a:lnTo>
                      <a:lnTo>
                        <a:pt x="223" y="210"/>
                      </a:lnTo>
                      <a:lnTo>
                        <a:pt x="227" y="214"/>
                      </a:lnTo>
                      <a:lnTo>
                        <a:pt x="230" y="219"/>
                      </a:lnTo>
                      <a:lnTo>
                        <a:pt x="231" y="226"/>
                      </a:lnTo>
                      <a:lnTo>
                        <a:pt x="231" y="231"/>
                      </a:lnTo>
                      <a:lnTo>
                        <a:pt x="231" y="496"/>
                      </a:lnTo>
                      <a:lnTo>
                        <a:pt x="231" y="496"/>
                      </a:lnTo>
                      <a:lnTo>
                        <a:pt x="231" y="500"/>
                      </a:lnTo>
                      <a:lnTo>
                        <a:pt x="230" y="505"/>
                      </a:lnTo>
                      <a:lnTo>
                        <a:pt x="229" y="509"/>
                      </a:lnTo>
                      <a:lnTo>
                        <a:pt x="227" y="513"/>
                      </a:lnTo>
                      <a:lnTo>
                        <a:pt x="223" y="516"/>
                      </a:lnTo>
                      <a:lnTo>
                        <a:pt x="220" y="521"/>
                      </a:lnTo>
                      <a:lnTo>
                        <a:pt x="216" y="523"/>
                      </a:lnTo>
                      <a:lnTo>
                        <a:pt x="212" y="526"/>
                      </a:lnTo>
                      <a:lnTo>
                        <a:pt x="212" y="526"/>
                      </a:lnTo>
                      <a:lnTo>
                        <a:pt x="206" y="528"/>
                      </a:lnTo>
                      <a:lnTo>
                        <a:pt x="199" y="529"/>
                      </a:lnTo>
                      <a:lnTo>
                        <a:pt x="199" y="529"/>
                      </a:lnTo>
                      <a:close/>
                      <a:moveTo>
                        <a:pt x="67" y="125"/>
                      </a:moveTo>
                      <a:lnTo>
                        <a:pt x="67" y="125"/>
                      </a:lnTo>
                      <a:lnTo>
                        <a:pt x="69" y="164"/>
                      </a:lnTo>
                      <a:lnTo>
                        <a:pt x="73" y="204"/>
                      </a:lnTo>
                      <a:lnTo>
                        <a:pt x="75" y="222"/>
                      </a:lnTo>
                      <a:lnTo>
                        <a:pt x="80" y="242"/>
                      </a:lnTo>
                      <a:lnTo>
                        <a:pt x="84" y="261"/>
                      </a:lnTo>
                      <a:lnTo>
                        <a:pt x="89" y="279"/>
                      </a:lnTo>
                      <a:lnTo>
                        <a:pt x="94" y="298"/>
                      </a:lnTo>
                      <a:lnTo>
                        <a:pt x="101" y="316"/>
                      </a:lnTo>
                      <a:lnTo>
                        <a:pt x="109" y="334"/>
                      </a:lnTo>
                      <a:lnTo>
                        <a:pt x="118" y="352"/>
                      </a:lnTo>
                      <a:lnTo>
                        <a:pt x="127" y="368"/>
                      </a:lnTo>
                      <a:lnTo>
                        <a:pt x="139" y="386"/>
                      </a:lnTo>
                      <a:lnTo>
                        <a:pt x="151" y="403"/>
                      </a:lnTo>
                      <a:lnTo>
                        <a:pt x="166" y="419"/>
                      </a:lnTo>
                      <a:lnTo>
                        <a:pt x="166" y="243"/>
                      </a:lnTo>
                      <a:lnTo>
                        <a:pt x="67" y="1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67" name="Freeform 200">
                  <a:extLst>
                    <a:ext uri="{FF2B5EF4-FFF2-40B4-BE49-F238E27FC236}">
                      <a16:creationId xmlns:a16="http://schemas.microsoft.com/office/drawing/2014/main" id="{1A86BBA3-EF1C-46F8-7BFB-84120967189B}"/>
                    </a:ext>
                  </a:extLst>
                </p:cNvPr>
                <p:cNvSpPr>
                  <a:spLocks noEditPoints="1"/>
                </p:cNvSpPr>
                <p:nvPr/>
              </p:nvSpPr>
              <p:spPr bwMode="auto">
                <a:xfrm>
                  <a:off x="4840145" y="3153972"/>
                  <a:ext cx="51240" cy="118007"/>
                </a:xfrm>
                <a:custGeom>
                  <a:avLst/>
                  <a:gdLst>
                    <a:gd name="T0" fmla="*/ 34 w 232"/>
                    <a:gd name="T1" fmla="*/ 529 h 529"/>
                    <a:gd name="T2" fmla="*/ 19 w 232"/>
                    <a:gd name="T3" fmla="*/ 526 h 529"/>
                    <a:gd name="T4" fmla="*/ 15 w 232"/>
                    <a:gd name="T5" fmla="*/ 524 h 529"/>
                    <a:gd name="T6" fmla="*/ 9 w 232"/>
                    <a:gd name="T7" fmla="*/ 518 h 529"/>
                    <a:gd name="T8" fmla="*/ 4 w 232"/>
                    <a:gd name="T9" fmla="*/ 510 h 529"/>
                    <a:gd name="T10" fmla="*/ 1 w 232"/>
                    <a:gd name="T11" fmla="*/ 501 h 529"/>
                    <a:gd name="T12" fmla="*/ 0 w 232"/>
                    <a:gd name="T13" fmla="*/ 232 h 529"/>
                    <a:gd name="T14" fmla="*/ 1 w 232"/>
                    <a:gd name="T15" fmla="*/ 226 h 529"/>
                    <a:gd name="T16" fmla="*/ 5 w 232"/>
                    <a:gd name="T17" fmla="*/ 216 h 529"/>
                    <a:gd name="T18" fmla="*/ 173 w 232"/>
                    <a:gd name="T19" fmla="*/ 12 h 529"/>
                    <a:gd name="T20" fmla="*/ 177 w 232"/>
                    <a:gd name="T21" fmla="*/ 9 h 529"/>
                    <a:gd name="T22" fmla="*/ 186 w 232"/>
                    <a:gd name="T23" fmla="*/ 3 h 529"/>
                    <a:gd name="T24" fmla="*/ 195 w 232"/>
                    <a:gd name="T25" fmla="*/ 0 h 529"/>
                    <a:gd name="T26" fmla="*/ 205 w 232"/>
                    <a:gd name="T27" fmla="*/ 1 h 529"/>
                    <a:gd name="T28" fmla="*/ 210 w 232"/>
                    <a:gd name="T29" fmla="*/ 2 h 529"/>
                    <a:gd name="T30" fmla="*/ 219 w 232"/>
                    <a:gd name="T31" fmla="*/ 8 h 529"/>
                    <a:gd name="T32" fmla="*/ 226 w 232"/>
                    <a:gd name="T33" fmla="*/ 15 h 529"/>
                    <a:gd name="T34" fmla="*/ 230 w 232"/>
                    <a:gd name="T35" fmla="*/ 23 h 529"/>
                    <a:gd name="T36" fmla="*/ 232 w 232"/>
                    <a:gd name="T37" fmla="*/ 33 h 529"/>
                    <a:gd name="T38" fmla="*/ 232 w 232"/>
                    <a:gd name="T39" fmla="*/ 98 h 529"/>
                    <a:gd name="T40" fmla="*/ 229 w 232"/>
                    <a:gd name="T41" fmla="*/ 162 h 529"/>
                    <a:gd name="T42" fmla="*/ 223 w 232"/>
                    <a:gd name="T43" fmla="*/ 226 h 529"/>
                    <a:gd name="T44" fmla="*/ 209 w 232"/>
                    <a:gd name="T45" fmla="*/ 289 h 529"/>
                    <a:gd name="T46" fmla="*/ 195 w 232"/>
                    <a:gd name="T47" fmla="*/ 336 h 529"/>
                    <a:gd name="T48" fmla="*/ 181 w 232"/>
                    <a:gd name="T49" fmla="*/ 366 h 529"/>
                    <a:gd name="T50" fmla="*/ 166 w 232"/>
                    <a:gd name="T51" fmla="*/ 396 h 529"/>
                    <a:gd name="T52" fmla="*/ 147 w 232"/>
                    <a:gd name="T53" fmla="*/ 425 h 529"/>
                    <a:gd name="T54" fmla="*/ 126 w 232"/>
                    <a:gd name="T55" fmla="*/ 454 h 529"/>
                    <a:gd name="T56" fmla="*/ 100 w 232"/>
                    <a:gd name="T57" fmla="*/ 482 h 529"/>
                    <a:gd name="T58" fmla="*/ 71 w 232"/>
                    <a:gd name="T59" fmla="*/ 508 h 529"/>
                    <a:gd name="T60" fmla="*/ 54 w 232"/>
                    <a:gd name="T61" fmla="*/ 522 h 529"/>
                    <a:gd name="T62" fmla="*/ 45 w 232"/>
                    <a:gd name="T63" fmla="*/ 527 h 529"/>
                    <a:gd name="T64" fmla="*/ 34 w 232"/>
                    <a:gd name="T65" fmla="*/ 529 h 529"/>
                    <a:gd name="T66" fmla="*/ 67 w 232"/>
                    <a:gd name="T67" fmla="*/ 244 h 529"/>
                    <a:gd name="T68" fmla="*/ 67 w 232"/>
                    <a:gd name="T69" fmla="*/ 419 h 529"/>
                    <a:gd name="T70" fmla="*/ 93 w 232"/>
                    <a:gd name="T71" fmla="*/ 386 h 529"/>
                    <a:gd name="T72" fmla="*/ 114 w 232"/>
                    <a:gd name="T73" fmla="*/ 352 h 529"/>
                    <a:gd name="T74" fmla="*/ 131 w 232"/>
                    <a:gd name="T75" fmla="*/ 317 h 529"/>
                    <a:gd name="T76" fmla="*/ 143 w 232"/>
                    <a:gd name="T77" fmla="*/ 280 h 529"/>
                    <a:gd name="T78" fmla="*/ 153 w 232"/>
                    <a:gd name="T79" fmla="*/ 243 h 529"/>
                    <a:gd name="T80" fmla="*/ 159 w 232"/>
                    <a:gd name="T81" fmla="*/ 204 h 529"/>
                    <a:gd name="T82" fmla="*/ 165 w 232"/>
                    <a:gd name="T83" fmla="*/ 1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29">
                      <a:moveTo>
                        <a:pt x="34" y="529"/>
                      </a:moveTo>
                      <a:lnTo>
                        <a:pt x="34" y="529"/>
                      </a:lnTo>
                      <a:lnTo>
                        <a:pt x="26" y="528"/>
                      </a:lnTo>
                      <a:lnTo>
                        <a:pt x="19" y="526"/>
                      </a:lnTo>
                      <a:lnTo>
                        <a:pt x="19" y="526"/>
                      </a:lnTo>
                      <a:lnTo>
                        <a:pt x="15" y="524"/>
                      </a:lnTo>
                      <a:lnTo>
                        <a:pt x="12" y="521"/>
                      </a:lnTo>
                      <a:lnTo>
                        <a:pt x="9" y="518"/>
                      </a:lnTo>
                      <a:lnTo>
                        <a:pt x="6" y="514"/>
                      </a:lnTo>
                      <a:lnTo>
                        <a:pt x="4" y="510"/>
                      </a:lnTo>
                      <a:lnTo>
                        <a:pt x="1" y="505"/>
                      </a:lnTo>
                      <a:lnTo>
                        <a:pt x="1" y="501"/>
                      </a:lnTo>
                      <a:lnTo>
                        <a:pt x="0" y="496"/>
                      </a:lnTo>
                      <a:lnTo>
                        <a:pt x="0" y="232"/>
                      </a:lnTo>
                      <a:lnTo>
                        <a:pt x="0" y="232"/>
                      </a:lnTo>
                      <a:lnTo>
                        <a:pt x="1" y="226"/>
                      </a:lnTo>
                      <a:lnTo>
                        <a:pt x="2" y="221"/>
                      </a:lnTo>
                      <a:lnTo>
                        <a:pt x="5" y="216"/>
                      </a:lnTo>
                      <a:lnTo>
                        <a:pt x="9" y="210"/>
                      </a:lnTo>
                      <a:lnTo>
                        <a:pt x="173" y="12"/>
                      </a:lnTo>
                      <a:lnTo>
                        <a:pt x="173" y="12"/>
                      </a:lnTo>
                      <a:lnTo>
                        <a:pt x="177" y="9"/>
                      </a:lnTo>
                      <a:lnTo>
                        <a:pt x="181" y="6"/>
                      </a:lnTo>
                      <a:lnTo>
                        <a:pt x="186" y="3"/>
                      </a:lnTo>
                      <a:lnTo>
                        <a:pt x="191" y="1"/>
                      </a:lnTo>
                      <a:lnTo>
                        <a:pt x="195" y="0"/>
                      </a:lnTo>
                      <a:lnTo>
                        <a:pt x="200" y="0"/>
                      </a:lnTo>
                      <a:lnTo>
                        <a:pt x="205" y="1"/>
                      </a:lnTo>
                      <a:lnTo>
                        <a:pt x="210" y="2"/>
                      </a:lnTo>
                      <a:lnTo>
                        <a:pt x="210" y="2"/>
                      </a:lnTo>
                      <a:lnTo>
                        <a:pt x="215" y="4"/>
                      </a:lnTo>
                      <a:lnTo>
                        <a:pt x="219" y="8"/>
                      </a:lnTo>
                      <a:lnTo>
                        <a:pt x="223" y="11"/>
                      </a:lnTo>
                      <a:lnTo>
                        <a:pt x="226" y="15"/>
                      </a:lnTo>
                      <a:lnTo>
                        <a:pt x="229" y="19"/>
                      </a:lnTo>
                      <a:lnTo>
                        <a:pt x="230" y="23"/>
                      </a:lnTo>
                      <a:lnTo>
                        <a:pt x="231" y="28"/>
                      </a:lnTo>
                      <a:lnTo>
                        <a:pt x="232" y="33"/>
                      </a:lnTo>
                      <a:lnTo>
                        <a:pt x="232" y="33"/>
                      </a:lnTo>
                      <a:lnTo>
                        <a:pt x="232" y="98"/>
                      </a:lnTo>
                      <a:lnTo>
                        <a:pt x="231" y="130"/>
                      </a:lnTo>
                      <a:lnTo>
                        <a:pt x="229" y="162"/>
                      </a:lnTo>
                      <a:lnTo>
                        <a:pt x="227" y="194"/>
                      </a:lnTo>
                      <a:lnTo>
                        <a:pt x="223" y="226"/>
                      </a:lnTo>
                      <a:lnTo>
                        <a:pt x="217" y="258"/>
                      </a:lnTo>
                      <a:lnTo>
                        <a:pt x="209" y="289"/>
                      </a:lnTo>
                      <a:lnTo>
                        <a:pt x="200" y="320"/>
                      </a:lnTo>
                      <a:lnTo>
                        <a:pt x="195" y="336"/>
                      </a:lnTo>
                      <a:lnTo>
                        <a:pt x="189" y="350"/>
                      </a:lnTo>
                      <a:lnTo>
                        <a:pt x="181" y="366"/>
                      </a:lnTo>
                      <a:lnTo>
                        <a:pt x="174" y="381"/>
                      </a:lnTo>
                      <a:lnTo>
                        <a:pt x="166" y="396"/>
                      </a:lnTo>
                      <a:lnTo>
                        <a:pt x="157" y="410"/>
                      </a:lnTo>
                      <a:lnTo>
                        <a:pt x="147" y="425"/>
                      </a:lnTo>
                      <a:lnTo>
                        <a:pt x="137" y="439"/>
                      </a:lnTo>
                      <a:lnTo>
                        <a:pt x="126" y="454"/>
                      </a:lnTo>
                      <a:lnTo>
                        <a:pt x="113" y="468"/>
                      </a:lnTo>
                      <a:lnTo>
                        <a:pt x="100" y="482"/>
                      </a:lnTo>
                      <a:lnTo>
                        <a:pt x="85" y="495"/>
                      </a:lnTo>
                      <a:lnTo>
                        <a:pt x="71" y="508"/>
                      </a:lnTo>
                      <a:lnTo>
                        <a:pt x="54" y="522"/>
                      </a:lnTo>
                      <a:lnTo>
                        <a:pt x="54" y="522"/>
                      </a:lnTo>
                      <a:lnTo>
                        <a:pt x="49" y="525"/>
                      </a:lnTo>
                      <a:lnTo>
                        <a:pt x="45" y="527"/>
                      </a:lnTo>
                      <a:lnTo>
                        <a:pt x="39" y="529"/>
                      </a:lnTo>
                      <a:lnTo>
                        <a:pt x="34" y="529"/>
                      </a:lnTo>
                      <a:lnTo>
                        <a:pt x="34" y="529"/>
                      </a:lnTo>
                      <a:close/>
                      <a:moveTo>
                        <a:pt x="67" y="244"/>
                      </a:moveTo>
                      <a:lnTo>
                        <a:pt x="67" y="419"/>
                      </a:lnTo>
                      <a:lnTo>
                        <a:pt x="67" y="419"/>
                      </a:lnTo>
                      <a:lnTo>
                        <a:pt x="80" y="404"/>
                      </a:lnTo>
                      <a:lnTo>
                        <a:pt x="93" y="386"/>
                      </a:lnTo>
                      <a:lnTo>
                        <a:pt x="104" y="370"/>
                      </a:lnTo>
                      <a:lnTo>
                        <a:pt x="114" y="352"/>
                      </a:lnTo>
                      <a:lnTo>
                        <a:pt x="123" y="335"/>
                      </a:lnTo>
                      <a:lnTo>
                        <a:pt x="131" y="317"/>
                      </a:lnTo>
                      <a:lnTo>
                        <a:pt x="137" y="298"/>
                      </a:lnTo>
                      <a:lnTo>
                        <a:pt x="143" y="280"/>
                      </a:lnTo>
                      <a:lnTo>
                        <a:pt x="148" y="261"/>
                      </a:lnTo>
                      <a:lnTo>
                        <a:pt x="153" y="243"/>
                      </a:lnTo>
                      <a:lnTo>
                        <a:pt x="156" y="224"/>
                      </a:lnTo>
                      <a:lnTo>
                        <a:pt x="159" y="204"/>
                      </a:lnTo>
                      <a:lnTo>
                        <a:pt x="163" y="166"/>
                      </a:lnTo>
                      <a:lnTo>
                        <a:pt x="165" y="126"/>
                      </a:lnTo>
                      <a:lnTo>
                        <a:pt x="67"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68" name="Freeform 201">
                  <a:extLst>
                    <a:ext uri="{FF2B5EF4-FFF2-40B4-BE49-F238E27FC236}">
                      <a16:creationId xmlns:a16="http://schemas.microsoft.com/office/drawing/2014/main" id="{BC9B00AC-75F5-DA7F-D017-839A4BAC8F62}"/>
                    </a:ext>
                  </a:extLst>
                </p:cNvPr>
                <p:cNvSpPr>
                  <a:spLocks noEditPoints="1"/>
                </p:cNvSpPr>
                <p:nvPr/>
              </p:nvSpPr>
              <p:spPr bwMode="auto">
                <a:xfrm>
                  <a:off x="4840145" y="3264216"/>
                  <a:ext cx="51240" cy="118007"/>
                </a:xfrm>
                <a:custGeom>
                  <a:avLst/>
                  <a:gdLst>
                    <a:gd name="T0" fmla="*/ 34 w 232"/>
                    <a:gd name="T1" fmla="*/ 530 h 530"/>
                    <a:gd name="T2" fmla="*/ 19 w 232"/>
                    <a:gd name="T3" fmla="*/ 526 h 530"/>
                    <a:gd name="T4" fmla="*/ 15 w 232"/>
                    <a:gd name="T5" fmla="*/ 524 h 530"/>
                    <a:gd name="T6" fmla="*/ 9 w 232"/>
                    <a:gd name="T7" fmla="*/ 518 h 530"/>
                    <a:gd name="T8" fmla="*/ 4 w 232"/>
                    <a:gd name="T9" fmla="*/ 510 h 530"/>
                    <a:gd name="T10" fmla="*/ 1 w 232"/>
                    <a:gd name="T11" fmla="*/ 501 h 530"/>
                    <a:gd name="T12" fmla="*/ 0 w 232"/>
                    <a:gd name="T13" fmla="*/ 232 h 530"/>
                    <a:gd name="T14" fmla="*/ 1 w 232"/>
                    <a:gd name="T15" fmla="*/ 226 h 530"/>
                    <a:gd name="T16" fmla="*/ 5 w 232"/>
                    <a:gd name="T17" fmla="*/ 215 h 530"/>
                    <a:gd name="T18" fmla="*/ 173 w 232"/>
                    <a:gd name="T19" fmla="*/ 13 h 530"/>
                    <a:gd name="T20" fmla="*/ 177 w 232"/>
                    <a:gd name="T21" fmla="*/ 8 h 530"/>
                    <a:gd name="T22" fmla="*/ 186 w 232"/>
                    <a:gd name="T23" fmla="*/ 3 h 530"/>
                    <a:gd name="T24" fmla="*/ 195 w 232"/>
                    <a:gd name="T25" fmla="*/ 1 h 530"/>
                    <a:gd name="T26" fmla="*/ 205 w 232"/>
                    <a:gd name="T27" fmla="*/ 1 h 530"/>
                    <a:gd name="T28" fmla="*/ 210 w 232"/>
                    <a:gd name="T29" fmla="*/ 2 h 530"/>
                    <a:gd name="T30" fmla="*/ 219 w 232"/>
                    <a:gd name="T31" fmla="*/ 7 h 530"/>
                    <a:gd name="T32" fmla="*/ 226 w 232"/>
                    <a:gd name="T33" fmla="*/ 15 h 530"/>
                    <a:gd name="T34" fmla="*/ 230 w 232"/>
                    <a:gd name="T35" fmla="*/ 24 h 530"/>
                    <a:gd name="T36" fmla="*/ 232 w 232"/>
                    <a:gd name="T37" fmla="*/ 33 h 530"/>
                    <a:gd name="T38" fmla="*/ 232 w 232"/>
                    <a:gd name="T39" fmla="*/ 97 h 530"/>
                    <a:gd name="T40" fmla="*/ 229 w 232"/>
                    <a:gd name="T41" fmla="*/ 163 h 530"/>
                    <a:gd name="T42" fmla="*/ 223 w 232"/>
                    <a:gd name="T43" fmla="*/ 226 h 530"/>
                    <a:gd name="T44" fmla="*/ 209 w 232"/>
                    <a:gd name="T45" fmla="*/ 289 h 530"/>
                    <a:gd name="T46" fmla="*/ 195 w 232"/>
                    <a:gd name="T47" fmla="*/ 335 h 530"/>
                    <a:gd name="T48" fmla="*/ 181 w 232"/>
                    <a:gd name="T49" fmla="*/ 365 h 530"/>
                    <a:gd name="T50" fmla="*/ 166 w 232"/>
                    <a:gd name="T51" fmla="*/ 395 h 530"/>
                    <a:gd name="T52" fmla="*/ 147 w 232"/>
                    <a:gd name="T53" fmla="*/ 425 h 530"/>
                    <a:gd name="T54" fmla="*/ 126 w 232"/>
                    <a:gd name="T55" fmla="*/ 453 h 530"/>
                    <a:gd name="T56" fmla="*/ 100 w 232"/>
                    <a:gd name="T57" fmla="*/ 481 h 530"/>
                    <a:gd name="T58" fmla="*/ 71 w 232"/>
                    <a:gd name="T59" fmla="*/ 509 h 530"/>
                    <a:gd name="T60" fmla="*/ 54 w 232"/>
                    <a:gd name="T61" fmla="*/ 523 h 530"/>
                    <a:gd name="T62" fmla="*/ 45 w 232"/>
                    <a:gd name="T63" fmla="*/ 528 h 530"/>
                    <a:gd name="T64" fmla="*/ 34 w 232"/>
                    <a:gd name="T65" fmla="*/ 530 h 530"/>
                    <a:gd name="T66" fmla="*/ 67 w 232"/>
                    <a:gd name="T67" fmla="*/ 244 h 530"/>
                    <a:gd name="T68" fmla="*/ 67 w 232"/>
                    <a:gd name="T69" fmla="*/ 420 h 530"/>
                    <a:gd name="T70" fmla="*/ 93 w 232"/>
                    <a:gd name="T71" fmla="*/ 387 h 530"/>
                    <a:gd name="T72" fmla="*/ 114 w 232"/>
                    <a:gd name="T73" fmla="*/ 352 h 530"/>
                    <a:gd name="T74" fmla="*/ 131 w 232"/>
                    <a:gd name="T75" fmla="*/ 317 h 530"/>
                    <a:gd name="T76" fmla="*/ 143 w 232"/>
                    <a:gd name="T77" fmla="*/ 281 h 530"/>
                    <a:gd name="T78" fmla="*/ 153 w 232"/>
                    <a:gd name="T79" fmla="*/ 243 h 530"/>
                    <a:gd name="T80" fmla="*/ 159 w 232"/>
                    <a:gd name="T81" fmla="*/ 205 h 530"/>
                    <a:gd name="T82" fmla="*/ 165 w 232"/>
                    <a:gd name="T83" fmla="*/ 12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30">
                      <a:moveTo>
                        <a:pt x="34" y="530"/>
                      </a:moveTo>
                      <a:lnTo>
                        <a:pt x="34" y="530"/>
                      </a:lnTo>
                      <a:lnTo>
                        <a:pt x="26" y="529"/>
                      </a:lnTo>
                      <a:lnTo>
                        <a:pt x="19" y="526"/>
                      </a:lnTo>
                      <a:lnTo>
                        <a:pt x="19" y="526"/>
                      </a:lnTo>
                      <a:lnTo>
                        <a:pt x="15" y="524"/>
                      </a:lnTo>
                      <a:lnTo>
                        <a:pt x="12" y="521"/>
                      </a:lnTo>
                      <a:lnTo>
                        <a:pt x="9" y="518"/>
                      </a:lnTo>
                      <a:lnTo>
                        <a:pt x="6" y="514"/>
                      </a:lnTo>
                      <a:lnTo>
                        <a:pt x="4" y="510"/>
                      </a:lnTo>
                      <a:lnTo>
                        <a:pt x="1" y="505"/>
                      </a:lnTo>
                      <a:lnTo>
                        <a:pt x="1" y="501"/>
                      </a:lnTo>
                      <a:lnTo>
                        <a:pt x="0" y="497"/>
                      </a:lnTo>
                      <a:lnTo>
                        <a:pt x="0" y="232"/>
                      </a:lnTo>
                      <a:lnTo>
                        <a:pt x="0" y="232"/>
                      </a:lnTo>
                      <a:lnTo>
                        <a:pt x="1" y="226"/>
                      </a:lnTo>
                      <a:lnTo>
                        <a:pt x="2" y="221"/>
                      </a:lnTo>
                      <a:lnTo>
                        <a:pt x="5" y="215"/>
                      </a:lnTo>
                      <a:lnTo>
                        <a:pt x="9" y="210"/>
                      </a:lnTo>
                      <a:lnTo>
                        <a:pt x="173" y="13"/>
                      </a:lnTo>
                      <a:lnTo>
                        <a:pt x="173" y="13"/>
                      </a:lnTo>
                      <a:lnTo>
                        <a:pt x="177" y="8"/>
                      </a:lnTo>
                      <a:lnTo>
                        <a:pt x="181" y="5"/>
                      </a:lnTo>
                      <a:lnTo>
                        <a:pt x="186" y="3"/>
                      </a:lnTo>
                      <a:lnTo>
                        <a:pt x="191" y="1"/>
                      </a:lnTo>
                      <a:lnTo>
                        <a:pt x="195" y="1"/>
                      </a:lnTo>
                      <a:lnTo>
                        <a:pt x="200" y="0"/>
                      </a:lnTo>
                      <a:lnTo>
                        <a:pt x="205" y="1"/>
                      </a:lnTo>
                      <a:lnTo>
                        <a:pt x="210" y="2"/>
                      </a:lnTo>
                      <a:lnTo>
                        <a:pt x="210" y="2"/>
                      </a:lnTo>
                      <a:lnTo>
                        <a:pt x="215" y="4"/>
                      </a:lnTo>
                      <a:lnTo>
                        <a:pt x="219" y="7"/>
                      </a:lnTo>
                      <a:lnTo>
                        <a:pt x="223" y="10"/>
                      </a:lnTo>
                      <a:lnTo>
                        <a:pt x="226" y="15"/>
                      </a:lnTo>
                      <a:lnTo>
                        <a:pt x="229" y="19"/>
                      </a:lnTo>
                      <a:lnTo>
                        <a:pt x="230" y="24"/>
                      </a:lnTo>
                      <a:lnTo>
                        <a:pt x="231" y="28"/>
                      </a:lnTo>
                      <a:lnTo>
                        <a:pt x="232" y="33"/>
                      </a:lnTo>
                      <a:lnTo>
                        <a:pt x="232" y="33"/>
                      </a:lnTo>
                      <a:lnTo>
                        <a:pt x="232" y="97"/>
                      </a:lnTo>
                      <a:lnTo>
                        <a:pt x="231" y="129"/>
                      </a:lnTo>
                      <a:lnTo>
                        <a:pt x="229" y="163"/>
                      </a:lnTo>
                      <a:lnTo>
                        <a:pt x="227" y="195"/>
                      </a:lnTo>
                      <a:lnTo>
                        <a:pt x="223" y="226"/>
                      </a:lnTo>
                      <a:lnTo>
                        <a:pt x="217" y="258"/>
                      </a:lnTo>
                      <a:lnTo>
                        <a:pt x="209" y="289"/>
                      </a:lnTo>
                      <a:lnTo>
                        <a:pt x="200" y="320"/>
                      </a:lnTo>
                      <a:lnTo>
                        <a:pt x="195" y="335"/>
                      </a:lnTo>
                      <a:lnTo>
                        <a:pt x="189" y="351"/>
                      </a:lnTo>
                      <a:lnTo>
                        <a:pt x="181" y="365"/>
                      </a:lnTo>
                      <a:lnTo>
                        <a:pt x="174" y="381"/>
                      </a:lnTo>
                      <a:lnTo>
                        <a:pt x="166" y="395"/>
                      </a:lnTo>
                      <a:lnTo>
                        <a:pt x="157" y="410"/>
                      </a:lnTo>
                      <a:lnTo>
                        <a:pt x="147" y="425"/>
                      </a:lnTo>
                      <a:lnTo>
                        <a:pt x="137" y="440"/>
                      </a:lnTo>
                      <a:lnTo>
                        <a:pt x="126" y="453"/>
                      </a:lnTo>
                      <a:lnTo>
                        <a:pt x="113" y="468"/>
                      </a:lnTo>
                      <a:lnTo>
                        <a:pt x="100" y="481"/>
                      </a:lnTo>
                      <a:lnTo>
                        <a:pt x="85" y="496"/>
                      </a:lnTo>
                      <a:lnTo>
                        <a:pt x="71" y="509"/>
                      </a:lnTo>
                      <a:lnTo>
                        <a:pt x="54" y="523"/>
                      </a:lnTo>
                      <a:lnTo>
                        <a:pt x="54" y="523"/>
                      </a:lnTo>
                      <a:lnTo>
                        <a:pt x="49" y="526"/>
                      </a:lnTo>
                      <a:lnTo>
                        <a:pt x="45" y="528"/>
                      </a:lnTo>
                      <a:lnTo>
                        <a:pt x="39" y="529"/>
                      </a:lnTo>
                      <a:lnTo>
                        <a:pt x="34" y="530"/>
                      </a:lnTo>
                      <a:lnTo>
                        <a:pt x="34" y="530"/>
                      </a:lnTo>
                      <a:close/>
                      <a:moveTo>
                        <a:pt x="67" y="244"/>
                      </a:moveTo>
                      <a:lnTo>
                        <a:pt x="67" y="420"/>
                      </a:lnTo>
                      <a:lnTo>
                        <a:pt x="67" y="420"/>
                      </a:lnTo>
                      <a:lnTo>
                        <a:pt x="80" y="404"/>
                      </a:lnTo>
                      <a:lnTo>
                        <a:pt x="93" y="387"/>
                      </a:lnTo>
                      <a:lnTo>
                        <a:pt x="104" y="370"/>
                      </a:lnTo>
                      <a:lnTo>
                        <a:pt x="114" y="352"/>
                      </a:lnTo>
                      <a:lnTo>
                        <a:pt x="123" y="334"/>
                      </a:lnTo>
                      <a:lnTo>
                        <a:pt x="131" y="317"/>
                      </a:lnTo>
                      <a:lnTo>
                        <a:pt x="137" y="298"/>
                      </a:lnTo>
                      <a:lnTo>
                        <a:pt x="143" y="281"/>
                      </a:lnTo>
                      <a:lnTo>
                        <a:pt x="148" y="262"/>
                      </a:lnTo>
                      <a:lnTo>
                        <a:pt x="153" y="243"/>
                      </a:lnTo>
                      <a:lnTo>
                        <a:pt x="156" y="224"/>
                      </a:lnTo>
                      <a:lnTo>
                        <a:pt x="159" y="205"/>
                      </a:lnTo>
                      <a:lnTo>
                        <a:pt x="163" y="166"/>
                      </a:lnTo>
                      <a:lnTo>
                        <a:pt x="165" y="126"/>
                      </a:lnTo>
                      <a:lnTo>
                        <a:pt x="67"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69" name="Freeform 202">
                  <a:extLst>
                    <a:ext uri="{FF2B5EF4-FFF2-40B4-BE49-F238E27FC236}">
                      <a16:creationId xmlns:a16="http://schemas.microsoft.com/office/drawing/2014/main" id="{F8B4A885-FAC8-DBB5-A598-36589D0C57DF}"/>
                    </a:ext>
                  </a:extLst>
                </p:cNvPr>
                <p:cNvSpPr>
                  <a:spLocks noEditPoints="1"/>
                </p:cNvSpPr>
                <p:nvPr/>
              </p:nvSpPr>
              <p:spPr bwMode="auto">
                <a:xfrm>
                  <a:off x="4840145" y="3374459"/>
                  <a:ext cx="51240" cy="118007"/>
                </a:xfrm>
                <a:custGeom>
                  <a:avLst/>
                  <a:gdLst>
                    <a:gd name="T0" fmla="*/ 34 w 232"/>
                    <a:gd name="T1" fmla="*/ 529 h 529"/>
                    <a:gd name="T2" fmla="*/ 19 w 232"/>
                    <a:gd name="T3" fmla="*/ 526 h 529"/>
                    <a:gd name="T4" fmla="*/ 15 w 232"/>
                    <a:gd name="T5" fmla="*/ 523 h 529"/>
                    <a:gd name="T6" fmla="*/ 9 w 232"/>
                    <a:gd name="T7" fmla="*/ 516 h 529"/>
                    <a:gd name="T8" fmla="*/ 4 w 232"/>
                    <a:gd name="T9" fmla="*/ 509 h 529"/>
                    <a:gd name="T10" fmla="*/ 1 w 232"/>
                    <a:gd name="T11" fmla="*/ 500 h 529"/>
                    <a:gd name="T12" fmla="*/ 0 w 232"/>
                    <a:gd name="T13" fmla="*/ 231 h 529"/>
                    <a:gd name="T14" fmla="*/ 1 w 232"/>
                    <a:gd name="T15" fmla="*/ 226 h 529"/>
                    <a:gd name="T16" fmla="*/ 5 w 232"/>
                    <a:gd name="T17" fmla="*/ 214 h 529"/>
                    <a:gd name="T18" fmla="*/ 173 w 232"/>
                    <a:gd name="T19" fmla="*/ 11 h 529"/>
                    <a:gd name="T20" fmla="*/ 177 w 232"/>
                    <a:gd name="T21" fmla="*/ 7 h 529"/>
                    <a:gd name="T22" fmla="*/ 186 w 232"/>
                    <a:gd name="T23" fmla="*/ 2 h 529"/>
                    <a:gd name="T24" fmla="*/ 195 w 232"/>
                    <a:gd name="T25" fmla="*/ 0 h 529"/>
                    <a:gd name="T26" fmla="*/ 205 w 232"/>
                    <a:gd name="T27" fmla="*/ 0 h 529"/>
                    <a:gd name="T28" fmla="*/ 210 w 232"/>
                    <a:gd name="T29" fmla="*/ 1 h 529"/>
                    <a:gd name="T30" fmla="*/ 219 w 232"/>
                    <a:gd name="T31" fmla="*/ 6 h 529"/>
                    <a:gd name="T32" fmla="*/ 226 w 232"/>
                    <a:gd name="T33" fmla="*/ 13 h 529"/>
                    <a:gd name="T34" fmla="*/ 230 w 232"/>
                    <a:gd name="T35" fmla="*/ 23 h 529"/>
                    <a:gd name="T36" fmla="*/ 232 w 232"/>
                    <a:gd name="T37" fmla="*/ 33 h 529"/>
                    <a:gd name="T38" fmla="*/ 232 w 232"/>
                    <a:gd name="T39" fmla="*/ 97 h 529"/>
                    <a:gd name="T40" fmla="*/ 229 w 232"/>
                    <a:gd name="T41" fmla="*/ 161 h 529"/>
                    <a:gd name="T42" fmla="*/ 223 w 232"/>
                    <a:gd name="T43" fmla="*/ 226 h 529"/>
                    <a:gd name="T44" fmla="*/ 209 w 232"/>
                    <a:gd name="T45" fmla="*/ 288 h 529"/>
                    <a:gd name="T46" fmla="*/ 195 w 232"/>
                    <a:gd name="T47" fmla="*/ 334 h 529"/>
                    <a:gd name="T48" fmla="*/ 181 w 232"/>
                    <a:gd name="T49" fmla="*/ 365 h 529"/>
                    <a:gd name="T50" fmla="*/ 166 w 232"/>
                    <a:gd name="T51" fmla="*/ 395 h 529"/>
                    <a:gd name="T52" fmla="*/ 147 w 232"/>
                    <a:gd name="T53" fmla="*/ 424 h 529"/>
                    <a:gd name="T54" fmla="*/ 126 w 232"/>
                    <a:gd name="T55" fmla="*/ 453 h 529"/>
                    <a:gd name="T56" fmla="*/ 100 w 232"/>
                    <a:gd name="T57" fmla="*/ 481 h 529"/>
                    <a:gd name="T58" fmla="*/ 71 w 232"/>
                    <a:gd name="T59" fmla="*/ 508 h 529"/>
                    <a:gd name="T60" fmla="*/ 54 w 232"/>
                    <a:gd name="T61" fmla="*/ 522 h 529"/>
                    <a:gd name="T62" fmla="*/ 45 w 232"/>
                    <a:gd name="T63" fmla="*/ 527 h 529"/>
                    <a:gd name="T64" fmla="*/ 34 w 232"/>
                    <a:gd name="T65" fmla="*/ 529 h 529"/>
                    <a:gd name="T66" fmla="*/ 67 w 232"/>
                    <a:gd name="T67" fmla="*/ 243 h 529"/>
                    <a:gd name="T68" fmla="*/ 67 w 232"/>
                    <a:gd name="T69" fmla="*/ 419 h 529"/>
                    <a:gd name="T70" fmla="*/ 93 w 232"/>
                    <a:gd name="T71" fmla="*/ 386 h 529"/>
                    <a:gd name="T72" fmla="*/ 114 w 232"/>
                    <a:gd name="T73" fmla="*/ 352 h 529"/>
                    <a:gd name="T74" fmla="*/ 131 w 232"/>
                    <a:gd name="T75" fmla="*/ 316 h 529"/>
                    <a:gd name="T76" fmla="*/ 143 w 232"/>
                    <a:gd name="T77" fmla="*/ 279 h 529"/>
                    <a:gd name="T78" fmla="*/ 153 w 232"/>
                    <a:gd name="T79" fmla="*/ 242 h 529"/>
                    <a:gd name="T80" fmla="*/ 159 w 232"/>
                    <a:gd name="T81" fmla="*/ 204 h 529"/>
                    <a:gd name="T82" fmla="*/ 165 w 232"/>
                    <a:gd name="T83" fmla="*/ 12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529">
                      <a:moveTo>
                        <a:pt x="34" y="529"/>
                      </a:moveTo>
                      <a:lnTo>
                        <a:pt x="34" y="529"/>
                      </a:lnTo>
                      <a:lnTo>
                        <a:pt x="26" y="528"/>
                      </a:lnTo>
                      <a:lnTo>
                        <a:pt x="19" y="526"/>
                      </a:lnTo>
                      <a:lnTo>
                        <a:pt x="19" y="526"/>
                      </a:lnTo>
                      <a:lnTo>
                        <a:pt x="15" y="523"/>
                      </a:lnTo>
                      <a:lnTo>
                        <a:pt x="12" y="521"/>
                      </a:lnTo>
                      <a:lnTo>
                        <a:pt x="9" y="516"/>
                      </a:lnTo>
                      <a:lnTo>
                        <a:pt x="6" y="513"/>
                      </a:lnTo>
                      <a:lnTo>
                        <a:pt x="4" y="509"/>
                      </a:lnTo>
                      <a:lnTo>
                        <a:pt x="1" y="505"/>
                      </a:lnTo>
                      <a:lnTo>
                        <a:pt x="1" y="500"/>
                      </a:lnTo>
                      <a:lnTo>
                        <a:pt x="0" y="496"/>
                      </a:lnTo>
                      <a:lnTo>
                        <a:pt x="0" y="231"/>
                      </a:lnTo>
                      <a:lnTo>
                        <a:pt x="0" y="231"/>
                      </a:lnTo>
                      <a:lnTo>
                        <a:pt x="1" y="226"/>
                      </a:lnTo>
                      <a:lnTo>
                        <a:pt x="2" y="219"/>
                      </a:lnTo>
                      <a:lnTo>
                        <a:pt x="5" y="214"/>
                      </a:lnTo>
                      <a:lnTo>
                        <a:pt x="9" y="210"/>
                      </a:lnTo>
                      <a:lnTo>
                        <a:pt x="173" y="11"/>
                      </a:lnTo>
                      <a:lnTo>
                        <a:pt x="173" y="11"/>
                      </a:lnTo>
                      <a:lnTo>
                        <a:pt x="177" y="7"/>
                      </a:lnTo>
                      <a:lnTo>
                        <a:pt x="181" y="5"/>
                      </a:lnTo>
                      <a:lnTo>
                        <a:pt x="186" y="2"/>
                      </a:lnTo>
                      <a:lnTo>
                        <a:pt x="191" y="1"/>
                      </a:lnTo>
                      <a:lnTo>
                        <a:pt x="195" y="0"/>
                      </a:lnTo>
                      <a:lnTo>
                        <a:pt x="200" y="0"/>
                      </a:lnTo>
                      <a:lnTo>
                        <a:pt x="205" y="0"/>
                      </a:lnTo>
                      <a:lnTo>
                        <a:pt x="210" y="1"/>
                      </a:lnTo>
                      <a:lnTo>
                        <a:pt x="210" y="1"/>
                      </a:lnTo>
                      <a:lnTo>
                        <a:pt x="215" y="4"/>
                      </a:lnTo>
                      <a:lnTo>
                        <a:pt x="219" y="6"/>
                      </a:lnTo>
                      <a:lnTo>
                        <a:pt x="223" y="9"/>
                      </a:lnTo>
                      <a:lnTo>
                        <a:pt x="226" y="13"/>
                      </a:lnTo>
                      <a:lnTo>
                        <a:pt x="229" y="18"/>
                      </a:lnTo>
                      <a:lnTo>
                        <a:pt x="230" y="23"/>
                      </a:lnTo>
                      <a:lnTo>
                        <a:pt x="231" y="28"/>
                      </a:lnTo>
                      <a:lnTo>
                        <a:pt x="232" y="33"/>
                      </a:lnTo>
                      <a:lnTo>
                        <a:pt x="232" y="33"/>
                      </a:lnTo>
                      <a:lnTo>
                        <a:pt x="232" y="97"/>
                      </a:lnTo>
                      <a:lnTo>
                        <a:pt x="231" y="129"/>
                      </a:lnTo>
                      <a:lnTo>
                        <a:pt x="229" y="161"/>
                      </a:lnTo>
                      <a:lnTo>
                        <a:pt x="227" y="193"/>
                      </a:lnTo>
                      <a:lnTo>
                        <a:pt x="223" y="226"/>
                      </a:lnTo>
                      <a:lnTo>
                        <a:pt x="217" y="257"/>
                      </a:lnTo>
                      <a:lnTo>
                        <a:pt x="209" y="288"/>
                      </a:lnTo>
                      <a:lnTo>
                        <a:pt x="200" y="319"/>
                      </a:lnTo>
                      <a:lnTo>
                        <a:pt x="195" y="334"/>
                      </a:lnTo>
                      <a:lnTo>
                        <a:pt x="189" y="350"/>
                      </a:lnTo>
                      <a:lnTo>
                        <a:pt x="181" y="365"/>
                      </a:lnTo>
                      <a:lnTo>
                        <a:pt x="174" y="380"/>
                      </a:lnTo>
                      <a:lnTo>
                        <a:pt x="166" y="395"/>
                      </a:lnTo>
                      <a:lnTo>
                        <a:pt x="157" y="410"/>
                      </a:lnTo>
                      <a:lnTo>
                        <a:pt x="147" y="424"/>
                      </a:lnTo>
                      <a:lnTo>
                        <a:pt x="137" y="439"/>
                      </a:lnTo>
                      <a:lnTo>
                        <a:pt x="126" y="453"/>
                      </a:lnTo>
                      <a:lnTo>
                        <a:pt x="113" y="467"/>
                      </a:lnTo>
                      <a:lnTo>
                        <a:pt x="100" y="481"/>
                      </a:lnTo>
                      <a:lnTo>
                        <a:pt x="85" y="495"/>
                      </a:lnTo>
                      <a:lnTo>
                        <a:pt x="71" y="508"/>
                      </a:lnTo>
                      <a:lnTo>
                        <a:pt x="54" y="522"/>
                      </a:lnTo>
                      <a:lnTo>
                        <a:pt x="54" y="522"/>
                      </a:lnTo>
                      <a:lnTo>
                        <a:pt x="49" y="525"/>
                      </a:lnTo>
                      <a:lnTo>
                        <a:pt x="45" y="527"/>
                      </a:lnTo>
                      <a:lnTo>
                        <a:pt x="39" y="528"/>
                      </a:lnTo>
                      <a:lnTo>
                        <a:pt x="34" y="529"/>
                      </a:lnTo>
                      <a:lnTo>
                        <a:pt x="34" y="529"/>
                      </a:lnTo>
                      <a:close/>
                      <a:moveTo>
                        <a:pt x="67" y="243"/>
                      </a:moveTo>
                      <a:lnTo>
                        <a:pt x="67" y="419"/>
                      </a:lnTo>
                      <a:lnTo>
                        <a:pt x="67" y="419"/>
                      </a:lnTo>
                      <a:lnTo>
                        <a:pt x="80" y="403"/>
                      </a:lnTo>
                      <a:lnTo>
                        <a:pt x="93" y="386"/>
                      </a:lnTo>
                      <a:lnTo>
                        <a:pt x="104" y="368"/>
                      </a:lnTo>
                      <a:lnTo>
                        <a:pt x="114" y="352"/>
                      </a:lnTo>
                      <a:lnTo>
                        <a:pt x="123" y="334"/>
                      </a:lnTo>
                      <a:lnTo>
                        <a:pt x="131" y="316"/>
                      </a:lnTo>
                      <a:lnTo>
                        <a:pt x="137" y="298"/>
                      </a:lnTo>
                      <a:lnTo>
                        <a:pt x="143" y="279"/>
                      </a:lnTo>
                      <a:lnTo>
                        <a:pt x="148" y="261"/>
                      </a:lnTo>
                      <a:lnTo>
                        <a:pt x="153" y="242"/>
                      </a:lnTo>
                      <a:lnTo>
                        <a:pt x="156" y="222"/>
                      </a:lnTo>
                      <a:lnTo>
                        <a:pt x="159" y="204"/>
                      </a:lnTo>
                      <a:lnTo>
                        <a:pt x="163" y="164"/>
                      </a:lnTo>
                      <a:lnTo>
                        <a:pt x="165" y="125"/>
                      </a:lnTo>
                      <a:lnTo>
                        <a:pt x="67" y="2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grpSp>
          <p:sp>
            <p:nvSpPr>
              <p:cNvPr id="230" name="TextBox 229">
                <a:extLst>
                  <a:ext uri="{FF2B5EF4-FFF2-40B4-BE49-F238E27FC236}">
                    <a16:creationId xmlns:a16="http://schemas.microsoft.com/office/drawing/2014/main" id="{6E9FF746-29FE-3628-6D43-5E12DC8383C2}"/>
                  </a:ext>
                </a:extLst>
              </p:cNvPr>
              <p:cNvSpPr txBox="1"/>
              <p:nvPr/>
            </p:nvSpPr>
            <p:spPr>
              <a:xfrm>
                <a:off x="1881890" y="3621178"/>
                <a:ext cx="2144371"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oboto"/>
                    <a:ea typeface="+mn-ea"/>
                    <a:cs typeface="+mn-cs"/>
                  </a:rPr>
                  <a:t>Agriculture, food &amp; nutrition</a:t>
                </a:r>
              </a:p>
            </p:txBody>
          </p:sp>
        </p:grpSp>
        <p:grpSp>
          <p:nvGrpSpPr>
            <p:cNvPr id="283" name="Group 282">
              <a:extLst>
                <a:ext uri="{FF2B5EF4-FFF2-40B4-BE49-F238E27FC236}">
                  <a16:creationId xmlns:a16="http://schemas.microsoft.com/office/drawing/2014/main" id="{8D7F8018-F9DE-E61C-5C90-55035A815A99}"/>
                </a:ext>
              </a:extLst>
            </p:cNvPr>
            <p:cNvGrpSpPr/>
            <p:nvPr/>
          </p:nvGrpSpPr>
          <p:grpSpPr>
            <a:xfrm>
              <a:off x="1211002" y="3970844"/>
              <a:ext cx="2104638" cy="442150"/>
              <a:chOff x="1285023" y="3952130"/>
              <a:chExt cx="2104638" cy="442150"/>
            </a:xfrm>
          </p:grpSpPr>
          <p:grpSp>
            <p:nvGrpSpPr>
              <p:cNvPr id="170" name="Group 169">
                <a:extLst>
                  <a:ext uri="{FF2B5EF4-FFF2-40B4-BE49-F238E27FC236}">
                    <a16:creationId xmlns:a16="http://schemas.microsoft.com/office/drawing/2014/main" id="{DAE0AD47-52D0-CC52-4FE0-4297071EBA7B}"/>
                  </a:ext>
                </a:extLst>
              </p:cNvPr>
              <p:cNvGrpSpPr/>
              <p:nvPr/>
            </p:nvGrpSpPr>
            <p:grpSpPr>
              <a:xfrm>
                <a:off x="1285023" y="3952130"/>
                <a:ext cx="442151" cy="442150"/>
                <a:chOff x="4404994" y="3976742"/>
                <a:chExt cx="614681" cy="614680"/>
              </a:xfrm>
            </p:grpSpPr>
            <p:sp>
              <p:nvSpPr>
                <p:cNvPr id="171" name="Flowchart: Connector 170">
                  <a:extLst>
                    <a:ext uri="{FF2B5EF4-FFF2-40B4-BE49-F238E27FC236}">
                      <a16:creationId xmlns:a16="http://schemas.microsoft.com/office/drawing/2014/main" id="{759B5BBA-1A66-682B-446B-2836464B4171}"/>
                    </a:ext>
                  </a:extLst>
                </p:cNvPr>
                <p:cNvSpPr/>
                <p:nvPr/>
              </p:nvSpPr>
              <p:spPr>
                <a:xfrm>
                  <a:off x="4404994" y="3976742"/>
                  <a:ext cx="614681" cy="61468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200" b="1" i="0" u="none" strike="noStrike" kern="1200" cap="none" spc="0" normalizeH="0" baseline="0" noProof="0" dirty="0">
                    <a:ln>
                      <a:noFill/>
                    </a:ln>
                    <a:solidFill>
                      <a:prstClr val="white"/>
                    </a:solidFill>
                    <a:effectLst/>
                    <a:uLnTx/>
                    <a:uFillTx/>
                    <a:latin typeface="Roboto"/>
                    <a:ea typeface="+mn-ea"/>
                    <a:cs typeface="+mn-cs"/>
                  </a:endParaRPr>
                </a:p>
              </p:txBody>
            </p:sp>
            <p:sp>
              <p:nvSpPr>
                <p:cNvPr id="172" name="Freeform 11">
                  <a:extLst>
                    <a:ext uri="{FF2B5EF4-FFF2-40B4-BE49-F238E27FC236}">
                      <a16:creationId xmlns:a16="http://schemas.microsoft.com/office/drawing/2014/main" id="{D8A7AFDB-092A-DC1A-4596-876B7C213C3F}"/>
                    </a:ext>
                  </a:extLst>
                </p:cNvPr>
                <p:cNvSpPr>
                  <a:spLocks noEditPoints="1"/>
                </p:cNvSpPr>
                <p:nvPr/>
              </p:nvSpPr>
              <p:spPr bwMode="auto">
                <a:xfrm>
                  <a:off x="4504652" y="4077249"/>
                  <a:ext cx="413666" cy="413666"/>
                </a:xfrm>
                <a:custGeom>
                  <a:avLst/>
                  <a:gdLst>
                    <a:gd name="T0" fmla="*/ 674 w 1589"/>
                    <a:gd name="T1" fmla="*/ 1581 h 1590"/>
                    <a:gd name="T2" fmla="*/ 485 w 1589"/>
                    <a:gd name="T3" fmla="*/ 1527 h 1590"/>
                    <a:gd name="T4" fmla="*/ 320 w 1589"/>
                    <a:gd name="T5" fmla="*/ 1432 h 1590"/>
                    <a:gd name="T6" fmla="*/ 181 w 1589"/>
                    <a:gd name="T7" fmla="*/ 1300 h 1590"/>
                    <a:gd name="T8" fmla="*/ 79 w 1589"/>
                    <a:gd name="T9" fmla="*/ 1139 h 1590"/>
                    <a:gd name="T10" fmla="*/ 15 w 1589"/>
                    <a:gd name="T11" fmla="*/ 955 h 1590"/>
                    <a:gd name="T12" fmla="*/ 0 w 1589"/>
                    <a:gd name="T13" fmla="*/ 796 h 1590"/>
                    <a:gd name="T14" fmla="*/ 25 w 1589"/>
                    <a:gd name="T15" fmla="*/ 597 h 1590"/>
                    <a:gd name="T16" fmla="*/ 96 w 1589"/>
                    <a:gd name="T17" fmla="*/ 417 h 1590"/>
                    <a:gd name="T18" fmla="*/ 207 w 1589"/>
                    <a:gd name="T19" fmla="*/ 261 h 1590"/>
                    <a:gd name="T20" fmla="*/ 351 w 1589"/>
                    <a:gd name="T21" fmla="*/ 137 h 1590"/>
                    <a:gd name="T22" fmla="*/ 521 w 1589"/>
                    <a:gd name="T23" fmla="*/ 49 h 1590"/>
                    <a:gd name="T24" fmla="*/ 714 w 1589"/>
                    <a:gd name="T25" fmla="*/ 4 h 1590"/>
                    <a:gd name="T26" fmla="*/ 875 w 1589"/>
                    <a:gd name="T27" fmla="*/ 4 h 1590"/>
                    <a:gd name="T28" fmla="*/ 1068 w 1589"/>
                    <a:gd name="T29" fmla="*/ 49 h 1590"/>
                    <a:gd name="T30" fmla="*/ 1239 w 1589"/>
                    <a:gd name="T31" fmla="*/ 137 h 1590"/>
                    <a:gd name="T32" fmla="*/ 1382 w 1589"/>
                    <a:gd name="T33" fmla="*/ 261 h 1590"/>
                    <a:gd name="T34" fmla="*/ 1493 w 1589"/>
                    <a:gd name="T35" fmla="*/ 417 h 1590"/>
                    <a:gd name="T36" fmla="*/ 1565 w 1589"/>
                    <a:gd name="T37" fmla="*/ 597 h 1590"/>
                    <a:gd name="T38" fmla="*/ 1589 w 1589"/>
                    <a:gd name="T39" fmla="*/ 796 h 1590"/>
                    <a:gd name="T40" fmla="*/ 1574 w 1589"/>
                    <a:gd name="T41" fmla="*/ 955 h 1590"/>
                    <a:gd name="T42" fmla="*/ 1511 w 1589"/>
                    <a:gd name="T43" fmla="*/ 1139 h 1590"/>
                    <a:gd name="T44" fmla="*/ 1408 w 1589"/>
                    <a:gd name="T45" fmla="*/ 1300 h 1590"/>
                    <a:gd name="T46" fmla="*/ 1270 w 1589"/>
                    <a:gd name="T47" fmla="*/ 1432 h 1590"/>
                    <a:gd name="T48" fmla="*/ 1104 w 1589"/>
                    <a:gd name="T49" fmla="*/ 1527 h 1590"/>
                    <a:gd name="T50" fmla="*/ 916 w 1589"/>
                    <a:gd name="T51" fmla="*/ 1581 h 1590"/>
                    <a:gd name="T52" fmla="*/ 795 w 1589"/>
                    <a:gd name="T53" fmla="*/ 67 h 1590"/>
                    <a:gd name="T54" fmla="*/ 648 w 1589"/>
                    <a:gd name="T55" fmla="*/ 82 h 1590"/>
                    <a:gd name="T56" fmla="*/ 479 w 1589"/>
                    <a:gd name="T57" fmla="*/ 139 h 1590"/>
                    <a:gd name="T58" fmla="*/ 331 w 1589"/>
                    <a:gd name="T59" fmla="*/ 234 h 1590"/>
                    <a:gd name="T60" fmla="*/ 211 w 1589"/>
                    <a:gd name="T61" fmla="*/ 360 h 1590"/>
                    <a:gd name="T62" fmla="*/ 123 w 1589"/>
                    <a:gd name="T63" fmla="*/ 512 h 1590"/>
                    <a:gd name="T64" fmla="*/ 74 w 1589"/>
                    <a:gd name="T65" fmla="*/ 685 h 1590"/>
                    <a:gd name="T66" fmla="*/ 67 w 1589"/>
                    <a:gd name="T67" fmla="*/ 833 h 1590"/>
                    <a:gd name="T68" fmla="*/ 99 w 1589"/>
                    <a:gd name="T69" fmla="*/ 1012 h 1590"/>
                    <a:gd name="T70" fmla="*/ 172 w 1589"/>
                    <a:gd name="T71" fmla="*/ 1173 h 1590"/>
                    <a:gd name="T72" fmla="*/ 279 w 1589"/>
                    <a:gd name="T73" fmla="*/ 1310 h 1590"/>
                    <a:gd name="T74" fmla="*/ 417 w 1589"/>
                    <a:gd name="T75" fmla="*/ 1418 h 1590"/>
                    <a:gd name="T76" fmla="*/ 578 w 1589"/>
                    <a:gd name="T77" fmla="*/ 1491 h 1590"/>
                    <a:gd name="T78" fmla="*/ 757 w 1589"/>
                    <a:gd name="T79" fmla="*/ 1523 h 1590"/>
                    <a:gd name="T80" fmla="*/ 905 w 1589"/>
                    <a:gd name="T81" fmla="*/ 1516 h 1590"/>
                    <a:gd name="T82" fmla="*/ 1078 w 1589"/>
                    <a:gd name="T83" fmla="*/ 1467 h 1590"/>
                    <a:gd name="T84" fmla="*/ 1230 w 1589"/>
                    <a:gd name="T85" fmla="*/ 1379 h 1590"/>
                    <a:gd name="T86" fmla="*/ 1357 w 1589"/>
                    <a:gd name="T87" fmla="*/ 1258 h 1590"/>
                    <a:gd name="T88" fmla="*/ 1452 w 1589"/>
                    <a:gd name="T89" fmla="*/ 1111 h 1590"/>
                    <a:gd name="T90" fmla="*/ 1509 w 1589"/>
                    <a:gd name="T91" fmla="*/ 941 h 1590"/>
                    <a:gd name="T92" fmla="*/ 1523 w 1589"/>
                    <a:gd name="T93" fmla="*/ 796 h 1590"/>
                    <a:gd name="T94" fmla="*/ 1500 w 1589"/>
                    <a:gd name="T95" fmla="*/ 613 h 1590"/>
                    <a:gd name="T96" fmla="*/ 1435 w 1589"/>
                    <a:gd name="T97" fmla="*/ 448 h 1590"/>
                    <a:gd name="T98" fmla="*/ 1334 w 1589"/>
                    <a:gd name="T99" fmla="*/ 305 h 1590"/>
                    <a:gd name="T100" fmla="*/ 1201 w 1589"/>
                    <a:gd name="T101" fmla="*/ 191 h 1590"/>
                    <a:gd name="T102" fmla="*/ 1045 w 1589"/>
                    <a:gd name="T103" fmla="*/ 111 h 1590"/>
                    <a:gd name="T104" fmla="*/ 869 w 1589"/>
                    <a:gd name="T105" fmla="*/ 7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89" h="1590">
                      <a:moveTo>
                        <a:pt x="795" y="1590"/>
                      </a:moveTo>
                      <a:lnTo>
                        <a:pt x="795" y="1590"/>
                      </a:lnTo>
                      <a:lnTo>
                        <a:pt x="754" y="1589"/>
                      </a:lnTo>
                      <a:lnTo>
                        <a:pt x="714" y="1586"/>
                      </a:lnTo>
                      <a:lnTo>
                        <a:pt x="674" y="1581"/>
                      </a:lnTo>
                      <a:lnTo>
                        <a:pt x="634" y="1574"/>
                      </a:lnTo>
                      <a:lnTo>
                        <a:pt x="596" y="1565"/>
                      </a:lnTo>
                      <a:lnTo>
                        <a:pt x="559" y="1554"/>
                      </a:lnTo>
                      <a:lnTo>
                        <a:pt x="521" y="1541"/>
                      </a:lnTo>
                      <a:lnTo>
                        <a:pt x="485" y="1527"/>
                      </a:lnTo>
                      <a:lnTo>
                        <a:pt x="450" y="1511"/>
                      </a:lnTo>
                      <a:lnTo>
                        <a:pt x="416" y="1494"/>
                      </a:lnTo>
                      <a:lnTo>
                        <a:pt x="383" y="1475"/>
                      </a:lnTo>
                      <a:lnTo>
                        <a:pt x="351" y="1455"/>
                      </a:lnTo>
                      <a:lnTo>
                        <a:pt x="320" y="1432"/>
                      </a:lnTo>
                      <a:lnTo>
                        <a:pt x="290" y="1408"/>
                      </a:lnTo>
                      <a:lnTo>
                        <a:pt x="261" y="1383"/>
                      </a:lnTo>
                      <a:lnTo>
                        <a:pt x="233" y="1357"/>
                      </a:lnTo>
                      <a:lnTo>
                        <a:pt x="207" y="1329"/>
                      </a:lnTo>
                      <a:lnTo>
                        <a:pt x="181" y="1300"/>
                      </a:lnTo>
                      <a:lnTo>
                        <a:pt x="158" y="1270"/>
                      </a:lnTo>
                      <a:lnTo>
                        <a:pt x="135" y="1239"/>
                      </a:lnTo>
                      <a:lnTo>
                        <a:pt x="115" y="1207"/>
                      </a:lnTo>
                      <a:lnTo>
                        <a:pt x="96" y="1174"/>
                      </a:lnTo>
                      <a:lnTo>
                        <a:pt x="79" y="1139"/>
                      </a:lnTo>
                      <a:lnTo>
                        <a:pt x="62" y="1104"/>
                      </a:lnTo>
                      <a:lnTo>
                        <a:pt x="47" y="1069"/>
                      </a:lnTo>
                      <a:lnTo>
                        <a:pt x="35" y="1031"/>
                      </a:lnTo>
                      <a:lnTo>
                        <a:pt x="25" y="993"/>
                      </a:lnTo>
                      <a:lnTo>
                        <a:pt x="15" y="955"/>
                      </a:lnTo>
                      <a:lnTo>
                        <a:pt x="9" y="917"/>
                      </a:lnTo>
                      <a:lnTo>
                        <a:pt x="4" y="876"/>
                      </a:lnTo>
                      <a:lnTo>
                        <a:pt x="1" y="836"/>
                      </a:lnTo>
                      <a:lnTo>
                        <a:pt x="0" y="796"/>
                      </a:lnTo>
                      <a:lnTo>
                        <a:pt x="0" y="796"/>
                      </a:lnTo>
                      <a:lnTo>
                        <a:pt x="1" y="754"/>
                      </a:lnTo>
                      <a:lnTo>
                        <a:pt x="4" y="714"/>
                      </a:lnTo>
                      <a:lnTo>
                        <a:pt x="9" y="675"/>
                      </a:lnTo>
                      <a:lnTo>
                        <a:pt x="15" y="635"/>
                      </a:lnTo>
                      <a:lnTo>
                        <a:pt x="25" y="597"/>
                      </a:lnTo>
                      <a:lnTo>
                        <a:pt x="35" y="560"/>
                      </a:lnTo>
                      <a:lnTo>
                        <a:pt x="47" y="522"/>
                      </a:lnTo>
                      <a:lnTo>
                        <a:pt x="62" y="486"/>
                      </a:lnTo>
                      <a:lnTo>
                        <a:pt x="79" y="451"/>
                      </a:lnTo>
                      <a:lnTo>
                        <a:pt x="96" y="417"/>
                      </a:lnTo>
                      <a:lnTo>
                        <a:pt x="115" y="384"/>
                      </a:lnTo>
                      <a:lnTo>
                        <a:pt x="135" y="351"/>
                      </a:lnTo>
                      <a:lnTo>
                        <a:pt x="158" y="320"/>
                      </a:lnTo>
                      <a:lnTo>
                        <a:pt x="181" y="290"/>
                      </a:lnTo>
                      <a:lnTo>
                        <a:pt x="207" y="261"/>
                      </a:lnTo>
                      <a:lnTo>
                        <a:pt x="233" y="234"/>
                      </a:lnTo>
                      <a:lnTo>
                        <a:pt x="261" y="207"/>
                      </a:lnTo>
                      <a:lnTo>
                        <a:pt x="290" y="182"/>
                      </a:lnTo>
                      <a:lnTo>
                        <a:pt x="320" y="158"/>
                      </a:lnTo>
                      <a:lnTo>
                        <a:pt x="351" y="137"/>
                      </a:lnTo>
                      <a:lnTo>
                        <a:pt x="383" y="116"/>
                      </a:lnTo>
                      <a:lnTo>
                        <a:pt x="416" y="96"/>
                      </a:lnTo>
                      <a:lnTo>
                        <a:pt x="450" y="79"/>
                      </a:lnTo>
                      <a:lnTo>
                        <a:pt x="485" y="63"/>
                      </a:lnTo>
                      <a:lnTo>
                        <a:pt x="521" y="49"/>
                      </a:lnTo>
                      <a:lnTo>
                        <a:pt x="559" y="36"/>
                      </a:lnTo>
                      <a:lnTo>
                        <a:pt x="596" y="26"/>
                      </a:lnTo>
                      <a:lnTo>
                        <a:pt x="634" y="17"/>
                      </a:lnTo>
                      <a:lnTo>
                        <a:pt x="674" y="9"/>
                      </a:lnTo>
                      <a:lnTo>
                        <a:pt x="714" y="4"/>
                      </a:lnTo>
                      <a:lnTo>
                        <a:pt x="754" y="1"/>
                      </a:lnTo>
                      <a:lnTo>
                        <a:pt x="795" y="0"/>
                      </a:lnTo>
                      <a:lnTo>
                        <a:pt x="795" y="0"/>
                      </a:lnTo>
                      <a:lnTo>
                        <a:pt x="835" y="1"/>
                      </a:lnTo>
                      <a:lnTo>
                        <a:pt x="875" y="4"/>
                      </a:lnTo>
                      <a:lnTo>
                        <a:pt x="916" y="9"/>
                      </a:lnTo>
                      <a:lnTo>
                        <a:pt x="955" y="17"/>
                      </a:lnTo>
                      <a:lnTo>
                        <a:pt x="993" y="26"/>
                      </a:lnTo>
                      <a:lnTo>
                        <a:pt x="1031" y="36"/>
                      </a:lnTo>
                      <a:lnTo>
                        <a:pt x="1068" y="49"/>
                      </a:lnTo>
                      <a:lnTo>
                        <a:pt x="1104" y="63"/>
                      </a:lnTo>
                      <a:lnTo>
                        <a:pt x="1139" y="79"/>
                      </a:lnTo>
                      <a:lnTo>
                        <a:pt x="1173" y="96"/>
                      </a:lnTo>
                      <a:lnTo>
                        <a:pt x="1207" y="116"/>
                      </a:lnTo>
                      <a:lnTo>
                        <a:pt x="1239" y="137"/>
                      </a:lnTo>
                      <a:lnTo>
                        <a:pt x="1270" y="158"/>
                      </a:lnTo>
                      <a:lnTo>
                        <a:pt x="1300" y="182"/>
                      </a:lnTo>
                      <a:lnTo>
                        <a:pt x="1329" y="207"/>
                      </a:lnTo>
                      <a:lnTo>
                        <a:pt x="1357" y="234"/>
                      </a:lnTo>
                      <a:lnTo>
                        <a:pt x="1382" y="261"/>
                      </a:lnTo>
                      <a:lnTo>
                        <a:pt x="1408" y="290"/>
                      </a:lnTo>
                      <a:lnTo>
                        <a:pt x="1431" y="320"/>
                      </a:lnTo>
                      <a:lnTo>
                        <a:pt x="1454" y="351"/>
                      </a:lnTo>
                      <a:lnTo>
                        <a:pt x="1475" y="384"/>
                      </a:lnTo>
                      <a:lnTo>
                        <a:pt x="1493" y="417"/>
                      </a:lnTo>
                      <a:lnTo>
                        <a:pt x="1511" y="451"/>
                      </a:lnTo>
                      <a:lnTo>
                        <a:pt x="1527" y="486"/>
                      </a:lnTo>
                      <a:lnTo>
                        <a:pt x="1542" y="522"/>
                      </a:lnTo>
                      <a:lnTo>
                        <a:pt x="1554" y="560"/>
                      </a:lnTo>
                      <a:lnTo>
                        <a:pt x="1565" y="597"/>
                      </a:lnTo>
                      <a:lnTo>
                        <a:pt x="1574" y="635"/>
                      </a:lnTo>
                      <a:lnTo>
                        <a:pt x="1580" y="675"/>
                      </a:lnTo>
                      <a:lnTo>
                        <a:pt x="1585" y="714"/>
                      </a:lnTo>
                      <a:lnTo>
                        <a:pt x="1588" y="754"/>
                      </a:lnTo>
                      <a:lnTo>
                        <a:pt x="1589" y="796"/>
                      </a:lnTo>
                      <a:lnTo>
                        <a:pt x="1589" y="796"/>
                      </a:lnTo>
                      <a:lnTo>
                        <a:pt x="1588" y="836"/>
                      </a:lnTo>
                      <a:lnTo>
                        <a:pt x="1585" y="876"/>
                      </a:lnTo>
                      <a:lnTo>
                        <a:pt x="1580" y="917"/>
                      </a:lnTo>
                      <a:lnTo>
                        <a:pt x="1574" y="955"/>
                      </a:lnTo>
                      <a:lnTo>
                        <a:pt x="1565" y="993"/>
                      </a:lnTo>
                      <a:lnTo>
                        <a:pt x="1554" y="1031"/>
                      </a:lnTo>
                      <a:lnTo>
                        <a:pt x="1542" y="1069"/>
                      </a:lnTo>
                      <a:lnTo>
                        <a:pt x="1527" y="1104"/>
                      </a:lnTo>
                      <a:lnTo>
                        <a:pt x="1511" y="1139"/>
                      </a:lnTo>
                      <a:lnTo>
                        <a:pt x="1493" y="1174"/>
                      </a:lnTo>
                      <a:lnTo>
                        <a:pt x="1475" y="1207"/>
                      </a:lnTo>
                      <a:lnTo>
                        <a:pt x="1454" y="1239"/>
                      </a:lnTo>
                      <a:lnTo>
                        <a:pt x="1431" y="1270"/>
                      </a:lnTo>
                      <a:lnTo>
                        <a:pt x="1408" y="1300"/>
                      </a:lnTo>
                      <a:lnTo>
                        <a:pt x="1382" y="1329"/>
                      </a:lnTo>
                      <a:lnTo>
                        <a:pt x="1357" y="1357"/>
                      </a:lnTo>
                      <a:lnTo>
                        <a:pt x="1329" y="1383"/>
                      </a:lnTo>
                      <a:lnTo>
                        <a:pt x="1300" y="1408"/>
                      </a:lnTo>
                      <a:lnTo>
                        <a:pt x="1270" y="1432"/>
                      </a:lnTo>
                      <a:lnTo>
                        <a:pt x="1239" y="1455"/>
                      </a:lnTo>
                      <a:lnTo>
                        <a:pt x="1207" y="1475"/>
                      </a:lnTo>
                      <a:lnTo>
                        <a:pt x="1173" y="1494"/>
                      </a:lnTo>
                      <a:lnTo>
                        <a:pt x="1139" y="1511"/>
                      </a:lnTo>
                      <a:lnTo>
                        <a:pt x="1104" y="1527"/>
                      </a:lnTo>
                      <a:lnTo>
                        <a:pt x="1068" y="1541"/>
                      </a:lnTo>
                      <a:lnTo>
                        <a:pt x="1031" y="1554"/>
                      </a:lnTo>
                      <a:lnTo>
                        <a:pt x="993" y="1565"/>
                      </a:lnTo>
                      <a:lnTo>
                        <a:pt x="955" y="1574"/>
                      </a:lnTo>
                      <a:lnTo>
                        <a:pt x="916" y="1581"/>
                      </a:lnTo>
                      <a:lnTo>
                        <a:pt x="875" y="1586"/>
                      </a:lnTo>
                      <a:lnTo>
                        <a:pt x="835" y="1589"/>
                      </a:lnTo>
                      <a:lnTo>
                        <a:pt x="795" y="1590"/>
                      </a:lnTo>
                      <a:lnTo>
                        <a:pt x="795" y="1590"/>
                      </a:lnTo>
                      <a:close/>
                      <a:moveTo>
                        <a:pt x="795" y="67"/>
                      </a:moveTo>
                      <a:lnTo>
                        <a:pt x="795" y="67"/>
                      </a:lnTo>
                      <a:lnTo>
                        <a:pt x="757" y="67"/>
                      </a:lnTo>
                      <a:lnTo>
                        <a:pt x="720" y="70"/>
                      </a:lnTo>
                      <a:lnTo>
                        <a:pt x="684" y="76"/>
                      </a:lnTo>
                      <a:lnTo>
                        <a:pt x="648" y="82"/>
                      </a:lnTo>
                      <a:lnTo>
                        <a:pt x="613" y="90"/>
                      </a:lnTo>
                      <a:lnTo>
                        <a:pt x="578" y="99"/>
                      </a:lnTo>
                      <a:lnTo>
                        <a:pt x="544" y="111"/>
                      </a:lnTo>
                      <a:lnTo>
                        <a:pt x="511" y="124"/>
                      </a:lnTo>
                      <a:lnTo>
                        <a:pt x="479" y="139"/>
                      </a:lnTo>
                      <a:lnTo>
                        <a:pt x="448" y="155"/>
                      </a:lnTo>
                      <a:lnTo>
                        <a:pt x="417" y="173"/>
                      </a:lnTo>
                      <a:lnTo>
                        <a:pt x="388" y="191"/>
                      </a:lnTo>
                      <a:lnTo>
                        <a:pt x="359" y="212"/>
                      </a:lnTo>
                      <a:lnTo>
                        <a:pt x="331" y="234"/>
                      </a:lnTo>
                      <a:lnTo>
                        <a:pt x="305" y="257"/>
                      </a:lnTo>
                      <a:lnTo>
                        <a:pt x="279" y="280"/>
                      </a:lnTo>
                      <a:lnTo>
                        <a:pt x="255" y="305"/>
                      </a:lnTo>
                      <a:lnTo>
                        <a:pt x="233" y="332"/>
                      </a:lnTo>
                      <a:lnTo>
                        <a:pt x="211" y="360"/>
                      </a:lnTo>
                      <a:lnTo>
                        <a:pt x="190" y="388"/>
                      </a:lnTo>
                      <a:lnTo>
                        <a:pt x="172" y="418"/>
                      </a:lnTo>
                      <a:lnTo>
                        <a:pt x="154" y="448"/>
                      </a:lnTo>
                      <a:lnTo>
                        <a:pt x="137" y="480"/>
                      </a:lnTo>
                      <a:lnTo>
                        <a:pt x="123" y="512"/>
                      </a:lnTo>
                      <a:lnTo>
                        <a:pt x="111" y="545"/>
                      </a:lnTo>
                      <a:lnTo>
                        <a:pt x="99" y="579"/>
                      </a:lnTo>
                      <a:lnTo>
                        <a:pt x="89" y="613"/>
                      </a:lnTo>
                      <a:lnTo>
                        <a:pt x="81" y="649"/>
                      </a:lnTo>
                      <a:lnTo>
                        <a:pt x="74" y="685"/>
                      </a:lnTo>
                      <a:lnTo>
                        <a:pt x="69" y="721"/>
                      </a:lnTo>
                      <a:lnTo>
                        <a:pt x="67" y="758"/>
                      </a:lnTo>
                      <a:lnTo>
                        <a:pt x="66" y="796"/>
                      </a:lnTo>
                      <a:lnTo>
                        <a:pt x="66" y="796"/>
                      </a:lnTo>
                      <a:lnTo>
                        <a:pt x="67" y="833"/>
                      </a:lnTo>
                      <a:lnTo>
                        <a:pt x="69" y="870"/>
                      </a:lnTo>
                      <a:lnTo>
                        <a:pt x="74" y="906"/>
                      </a:lnTo>
                      <a:lnTo>
                        <a:pt x="81" y="941"/>
                      </a:lnTo>
                      <a:lnTo>
                        <a:pt x="89" y="978"/>
                      </a:lnTo>
                      <a:lnTo>
                        <a:pt x="99" y="1012"/>
                      </a:lnTo>
                      <a:lnTo>
                        <a:pt x="111" y="1046"/>
                      </a:lnTo>
                      <a:lnTo>
                        <a:pt x="123" y="1079"/>
                      </a:lnTo>
                      <a:lnTo>
                        <a:pt x="137" y="1111"/>
                      </a:lnTo>
                      <a:lnTo>
                        <a:pt x="154" y="1142"/>
                      </a:lnTo>
                      <a:lnTo>
                        <a:pt x="172" y="1173"/>
                      </a:lnTo>
                      <a:lnTo>
                        <a:pt x="190" y="1202"/>
                      </a:lnTo>
                      <a:lnTo>
                        <a:pt x="211" y="1231"/>
                      </a:lnTo>
                      <a:lnTo>
                        <a:pt x="233" y="1258"/>
                      </a:lnTo>
                      <a:lnTo>
                        <a:pt x="255" y="1285"/>
                      </a:lnTo>
                      <a:lnTo>
                        <a:pt x="279" y="1310"/>
                      </a:lnTo>
                      <a:lnTo>
                        <a:pt x="305" y="1335"/>
                      </a:lnTo>
                      <a:lnTo>
                        <a:pt x="331" y="1357"/>
                      </a:lnTo>
                      <a:lnTo>
                        <a:pt x="359" y="1379"/>
                      </a:lnTo>
                      <a:lnTo>
                        <a:pt x="388" y="1400"/>
                      </a:lnTo>
                      <a:lnTo>
                        <a:pt x="417" y="1418"/>
                      </a:lnTo>
                      <a:lnTo>
                        <a:pt x="448" y="1436"/>
                      </a:lnTo>
                      <a:lnTo>
                        <a:pt x="479" y="1451"/>
                      </a:lnTo>
                      <a:lnTo>
                        <a:pt x="511" y="1467"/>
                      </a:lnTo>
                      <a:lnTo>
                        <a:pt x="544" y="1479"/>
                      </a:lnTo>
                      <a:lnTo>
                        <a:pt x="578" y="1491"/>
                      </a:lnTo>
                      <a:lnTo>
                        <a:pt x="613" y="1501"/>
                      </a:lnTo>
                      <a:lnTo>
                        <a:pt x="648" y="1509"/>
                      </a:lnTo>
                      <a:lnTo>
                        <a:pt x="684" y="1516"/>
                      </a:lnTo>
                      <a:lnTo>
                        <a:pt x="720" y="1520"/>
                      </a:lnTo>
                      <a:lnTo>
                        <a:pt x="757" y="1523"/>
                      </a:lnTo>
                      <a:lnTo>
                        <a:pt x="795" y="1524"/>
                      </a:lnTo>
                      <a:lnTo>
                        <a:pt x="795" y="1524"/>
                      </a:lnTo>
                      <a:lnTo>
                        <a:pt x="832" y="1523"/>
                      </a:lnTo>
                      <a:lnTo>
                        <a:pt x="869" y="1520"/>
                      </a:lnTo>
                      <a:lnTo>
                        <a:pt x="905" y="1516"/>
                      </a:lnTo>
                      <a:lnTo>
                        <a:pt x="942" y="1509"/>
                      </a:lnTo>
                      <a:lnTo>
                        <a:pt x="977" y="1501"/>
                      </a:lnTo>
                      <a:lnTo>
                        <a:pt x="1011" y="1491"/>
                      </a:lnTo>
                      <a:lnTo>
                        <a:pt x="1045" y="1479"/>
                      </a:lnTo>
                      <a:lnTo>
                        <a:pt x="1078" y="1467"/>
                      </a:lnTo>
                      <a:lnTo>
                        <a:pt x="1110" y="1451"/>
                      </a:lnTo>
                      <a:lnTo>
                        <a:pt x="1141" y="1436"/>
                      </a:lnTo>
                      <a:lnTo>
                        <a:pt x="1172" y="1418"/>
                      </a:lnTo>
                      <a:lnTo>
                        <a:pt x="1201" y="1400"/>
                      </a:lnTo>
                      <a:lnTo>
                        <a:pt x="1230" y="1379"/>
                      </a:lnTo>
                      <a:lnTo>
                        <a:pt x="1258" y="1357"/>
                      </a:lnTo>
                      <a:lnTo>
                        <a:pt x="1284" y="1335"/>
                      </a:lnTo>
                      <a:lnTo>
                        <a:pt x="1310" y="1310"/>
                      </a:lnTo>
                      <a:lnTo>
                        <a:pt x="1334" y="1285"/>
                      </a:lnTo>
                      <a:lnTo>
                        <a:pt x="1357" y="1258"/>
                      </a:lnTo>
                      <a:lnTo>
                        <a:pt x="1378" y="1231"/>
                      </a:lnTo>
                      <a:lnTo>
                        <a:pt x="1399" y="1202"/>
                      </a:lnTo>
                      <a:lnTo>
                        <a:pt x="1418" y="1173"/>
                      </a:lnTo>
                      <a:lnTo>
                        <a:pt x="1435" y="1142"/>
                      </a:lnTo>
                      <a:lnTo>
                        <a:pt x="1452" y="1111"/>
                      </a:lnTo>
                      <a:lnTo>
                        <a:pt x="1466" y="1079"/>
                      </a:lnTo>
                      <a:lnTo>
                        <a:pt x="1479" y="1046"/>
                      </a:lnTo>
                      <a:lnTo>
                        <a:pt x="1491" y="1012"/>
                      </a:lnTo>
                      <a:lnTo>
                        <a:pt x="1500" y="978"/>
                      </a:lnTo>
                      <a:lnTo>
                        <a:pt x="1509" y="941"/>
                      </a:lnTo>
                      <a:lnTo>
                        <a:pt x="1515" y="906"/>
                      </a:lnTo>
                      <a:lnTo>
                        <a:pt x="1520" y="870"/>
                      </a:lnTo>
                      <a:lnTo>
                        <a:pt x="1522" y="833"/>
                      </a:lnTo>
                      <a:lnTo>
                        <a:pt x="1523" y="796"/>
                      </a:lnTo>
                      <a:lnTo>
                        <a:pt x="1523" y="796"/>
                      </a:lnTo>
                      <a:lnTo>
                        <a:pt x="1522" y="758"/>
                      </a:lnTo>
                      <a:lnTo>
                        <a:pt x="1520" y="721"/>
                      </a:lnTo>
                      <a:lnTo>
                        <a:pt x="1515" y="685"/>
                      </a:lnTo>
                      <a:lnTo>
                        <a:pt x="1509" y="649"/>
                      </a:lnTo>
                      <a:lnTo>
                        <a:pt x="1500" y="613"/>
                      </a:lnTo>
                      <a:lnTo>
                        <a:pt x="1491" y="579"/>
                      </a:lnTo>
                      <a:lnTo>
                        <a:pt x="1479" y="545"/>
                      </a:lnTo>
                      <a:lnTo>
                        <a:pt x="1466" y="512"/>
                      </a:lnTo>
                      <a:lnTo>
                        <a:pt x="1452" y="480"/>
                      </a:lnTo>
                      <a:lnTo>
                        <a:pt x="1435" y="448"/>
                      </a:lnTo>
                      <a:lnTo>
                        <a:pt x="1418" y="418"/>
                      </a:lnTo>
                      <a:lnTo>
                        <a:pt x="1399" y="388"/>
                      </a:lnTo>
                      <a:lnTo>
                        <a:pt x="1378" y="360"/>
                      </a:lnTo>
                      <a:lnTo>
                        <a:pt x="1357" y="332"/>
                      </a:lnTo>
                      <a:lnTo>
                        <a:pt x="1334" y="305"/>
                      </a:lnTo>
                      <a:lnTo>
                        <a:pt x="1310" y="280"/>
                      </a:lnTo>
                      <a:lnTo>
                        <a:pt x="1284" y="257"/>
                      </a:lnTo>
                      <a:lnTo>
                        <a:pt x="1258" y="234"/>
                      </a:lnTo>
                      <a:lnTo>
                        <a:pt x="1230" y="212"/>
                      </a:lnTo>
                      <a:lnTo>
                        <a:pt x="1201" y="191"/>
                      </a:lnTo>
                      <a:lnTo>
                        <a:pt x="1172" y="173"/>
                      </a:lnTo>
                      <a:lnTo>
                        <a:pt x="1141" y="155"/>
                      </a:lnTo>
                      <a:lnTo>
                        <a:pt x="1110" y="139"/>
                      </a:lnTo>
                      <a:lnTo>
                        <a:pt x="1078" y="124"/>
                      </a:lnTo>
                      <a:lnTo>
                        <a:pt x="1045" y="111"/>
                      </a:lnTo>
                      <a:lnTo>
                        <a:pt x="1011" y="99"/>
                      </a:lnTo>
                      <a:lnTo>
                        <a:pt x="977" y="90"/>
                      </a:lnTo>
                      <a:lnTo>
                        <a:pt x="942" y="82"/>
                      </a:lnTo>
                      <a:lnTo>
                        <a:pt x="905" y="76"/>
                      </a:lnTo>
                      <a:lnTo>
                        <a:pt x="869" y="70"/>
                      </a:lnTo>
                      <a:lnTo>
                        <a:pt x="832" y="67"/>
                      </a:lnTo>
                      <a:lnTo>
                        <a:pt x="795" y="67"/>
                      </a:lnTo>
                      <a:lnTo>
                        <a:pt x="795"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73" name="Freeform 12">
                  <a:extLst>
                    <a:ext uri="{FF2B5EF4-FFF2-40B4-BE49-F238E27FC236}">
                      <a16:creationId xmlns:a16="http://schemas.microsoft.com/office/drawing/2014/main" id="{9E1488E7-AED9-AB47-EC2C-C5B335ED4375}"/>
                    </a:ext>
                  </a:extLst>
                </p:cNvPr>
                <p:cNvSpPr>
                  <a:spLocks noEditPoints="1"/>
                </p:cNvSpPr>
                <p:nvPr/>
              </p:nvSpPr>
              <p:spPr bwMode="auto">
                <a:xfrm>
                  <a:off x="4555677" y="4130097"/>
                  <a:ext cx="311616" cy="309793"/>
                </a:xfrm>
                <a:custGeom>
                  <a:avLst/>
                  <a:gdLst>
                    <a:gd name="T0" fmla="*/ 505 w 1192"/>
                    <a:gd name="T1" fmla="*/ 1184 h 1191"/>
                    <a:gd name="T2" fmla="*/ 364 w 1192"/>
                    <a:gd name="T3" fmla="*/ 1145 h 1191"/>
                    <a:gd name="T4" fmla="*/ 240 w 1192"/>
                    <a:gd name="T5" fmla="*/ 1073 h 1191"/>
                    <a:gd name="T6" fmla="*/ 136 w 1192"/>
                    <a:gd name="T7" fmla="*/ 974 h 1191"/>
                    <a:gd name="T8" fmla="*/ 59 w 1192"/>
                    <a:gd name="T9" fmla="*/ 853 h 1191"/>
                    <a:gd name="T10" fmla="*/ 12 w 1192"/>
                    <a:gd name="T11" fmla="*/ 716 h 1191"/>
                    <a:gd name="T12" fmla="*/ 0 w 1192"/>
                    <a:gd name="T13" fmla="*/ 596 h 1191"/>
                    <a:gd name="T14" fmla="*/ 18 w 1192"/>
                    <a:gd name="T15" fmla="*/ 447 h 1191"/>
                    <a:gd name="T16" fmla="*/ 71 w 1192"/>
                    <a:gd name="T17" fmla="*/ 311 h 1191"/>
                    <a:gd name="T18" fmla="*/ 155 w 1192"/>
                    <a:gd name="T19" fmla="*/ 195 h 1191"/>
                    <a:gd name="T20" fmla="*/ 262 w 1192"/>
                    <a:gd name="T21" fmla="*/ 101 h 1191"/>
                    <a:gd name="T22" fmla="*/ 391 w 1192"/>
                    <a:gd name="T23" fmla="*/ 36 h 1191"/>
                    <a:gd name="T24" fmla="*/ 535 w 1192"/>
                    <a:gd name="T25" fmla="*/ 3 h 1191"/>
                    <a:gd name="T26" fmla="*/ 657 w 1192"/>
                    <a:gd name="T27" fmla="*/ 3 h 1191"/>
                    <a:gd name="T28" fmla="*/ 801 w 1192"/>
                    <a:gd name="T29" fmla="*/ 36 h 1191"/>
                    <a:gd name="T30" fmla="*/ 929 w 1192"/>
                    <a:gd name="T31" fmla="*/ 101 h 1191"/>
                    <a:gd name="T32" fmla="*/ 1036 w 1192"/>
                    <a:gd name="T33" fmla="*/ 195 h 1191"/>
                    <a:gd name="T34" fmla="*/ 1120 w 1192"/>
                    <a:gd name="T35" fmla="*/ 311 h 1191"/>
                    <a:gd name="T36" fmla="*/ 1173 w 1192"/>
                    <a:gd name="T37" fmla="*/ 447 h 1191"/>
                    <a:gd name="T38" fmla="*/ 1192 w 1192"/>
                    <a:gd name="T39" fmla="*/ 596 h 1191"/>
                    <a:gd name="T40" fmla="*/ 1179 w 1192"/>
                    <a:gd name="T41" fmla="*/ 716 h 1191"/>
                    <a:gd name="T42" fmla="*/ 1133 w 1192"/>
                    <a:gd name="T43" fmla="*/ 853 h 1191"/>
                    <a:gd name="T44" fmla="*/ 1055 w 1192"/>
                    <a:gd name="T45" fmla="*/ 974 h 1191"/>
                    <a:gd name="T46" fmla="*/ 953 w 1192"/>
                    <a:gd name="T47" fmla="*/ 1073 h 1191"/>
                    <a:gd name="T48" fmla="*/ 827 w 1192"/>
                    <a:gd name="T49" fmla="*/ 1145 h 1191"/>
                    <a:gd name="T50" fmla="*/ 687 w 1192"/>
                    <a:gd name="T51" fmla="*/ 1184 h 1191"/>
                    <a:gd name="T52" fmla="*/ 596 w 1192"/>
                    <a:gd name="T53" fmla="*/ 66 h 1191"/>
                    <a:gd name="T54" fmla="*/ 489 w 1192"/>
                    <a:gd name="T55" fmla="*/ 76 h 1191"/>
                    <a:gd name="T56" fmla="*/ 366 w 1192"/>
                    <a:gd name="T57" fmla="*/ 118 h 1191"/>
                    <a:gd name="T58" fmla="*/ 258 w 1192"/>
                    <a:gd name="T59" fmla="*/ 187 h 1191"/>
                    <a:gd name="T60" fmla="*/ 171 w 1192"/>
                    <a:gd name="T61" fmla="*/ 278 h 1191"/>
                    <a:gd name="T62" fmla="*/ 107 w 1192"/>
                    <a:gd name="T63" fmla="*/ 390 h 1191"/>
                    <a:gd name="T64" fmla="*/ 72 w 1192"/>
                    <a:gd name="T65" fmla="*/ 515 h 1191"/>
                    <a:gd name="T66" fmla="*/ 67 w 1192"/>
                    <a:gd name="T67" fmla="*/ 622 h 1191"/>
                    <a:gd name="T68" fmla="*/ 90 w 1192"/>
                    <a:gd name="T69" fmla="*/ 753 h 1191"/>
                    <a:gd name="T70" fmla="*/ 142 w 1192"/>
                    <a:gd name="T71" fmla="*/ 870 h 1191"/>
                    <a:gd name="T72" fmla="*/ 221 w 1192"/>
                    <a:gd name="T73" fmla="*/ 970 h 1191"/>
                    <a:gd name="T74" fmla="*/ 321 w 1192"/>
                    <a:gd name="T75" fmla="*/ 1049 h 1191"/>
                    <a:gd name="T76" fmla="*/ 438 w 1192"/>
                    <a:gd name="T77" fmla="*/ 1101 h 1191"/>
                    <a:gd name="T78" fmla="*/ 569 w 1192"/>
                    <a:gd name="T79" fmla="*/ 1124 h 1191"/>
                    <a:gd name="T80" fmla="*/ 676 w 1192"/>
                    <a:gd name="T81" fmla="*/ 1119 h 1191"/>
                    <a:gd name="T82" fmla="*/ 802 w 1192"/>
                    <a:gd name="T83" fmla="*/ 1084 h 1191"/>
                    <a:gd name="T84" fmla="*/ 912 w 1192"/>
                    <a:gd name="T85" fmla="*/ 1020 h 1191"/>
                    <a:gd name="T86" fmla="*/ 1004 w 1192"/>
                    <a:gd name="T87" fmla="*/ 932 h 1191"/>
                    <a:gd name="T88" fmla="*/ 1074 w 1192"/>
                    <a:gd name="T89" fmla="*/ 825 h 1191"/>
                    <a:gd name="T90" fmla="*/ 1115 w 1192"/>
                    <a:gd name="T91" fmla="*/ 702 h 1191"/>
                    <a:gd name="T92" fmla="*/ 1125 w 1192"/>
                    <a:gd name="T93" fmla="*/ 596 h 1191"/>
                    <a:gd name="T94" fmla="*/ 1109 w 1192"/>
                    <a:gd name="T95" fmla="*/ 463 h 1191"/>
                    <a:gd name="T96" fmla="*/ 1061 w 1192"/>
                    <a:gd name="T97" fmla="*/ 343 h 1191"/>
                    <a:gd name="T98" fmla="*/ 988 w 1192"/>
                    <a:gd name="T99" fmla="*/ 240 h 1191"/>
                    <a:gd name="T100" fmla="*/ 892 w 1192"/>
                    <a:gd name="T101" fmla="*/ 156 h 1191"/>
                    <a:gd name="T102" fmla="*/ 778 w 1192"/>
                    <a:gd name="T103" fmla="*/ 98 h 1191"/>
                    <a:gd name="T104" fmla="*/ 649 w 1192"/>
                    <a:gd name="T105" fmla="*/ 68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92" h="1191">
                      <a:moveTo>
                        <a:pt x="596" y="1191"/>
                      </a:moveTo>
                      <a:lnTo>
                        <a:pt x="596" y="1191"/>
                      </a:lnTo>
                      <a:lnTo>
                        <a:pt x="565" y="1190"/>
                      </a:lnTo>
                      <a:lnTo>
                        <a:pt x="535" y="1188"/>
                      </a:lnTo>
                      <a:lnTo>
                        <a:pt x="505" y="1184"/>
                      </a:lnTo>
                      <a:lnTo>
                        <a:pt x="476" y="1179"/>
                      </a:lnTo>
                      <a:lnTo>
                        <a:pt x="447" y="1173"/>
                      </a:lnTo>
                      <a:lnTo>
                        <a:pt x="419" y="1165"/>
                      </a:lnTo>
                      <a:lnTo>
                        <a:pt x="391" y="1155"/>
                      </a:lnTo>
                      <a:lnTo>
                        <a:pt x="364" y="1145"/>
                      </a:lnTo>
                      <a:lnTo>
                        <a:pt x="337" y="1133"/>
                      </a:lnTo>
                      <a:lnTo>
                        <a:pt x="312" y="1119"/>
                      </a:lnTo>
                      <a:lnTo>
                        <a:pt x="286" y="1105"/>
                      </a:lnTo>
                      <a:lnTo>
                        <a:pt x="262" y="1089"/>
                      </a:lnTo>
                      <a:lnTo>
                        <a:pt x="240" y="1073"/>
                      </a:lnTo>
                      <a:lnTo>
                        <a:pt x="217" y="1055"/>
                      </a:lnTo>
                      <a:lnTo>
                        <a:pt x="195" y="1036"/>
                      </a:lnTo>
                      <a:lnTo>
                        <a:pt x="174" y="1017"/>
                      </a:lnTo>
                      <a:lnTo>
                        <a:pt x="155" y="996"/>
                      </a:lnTo>
                      <a:lnTo>
                        <a:pt x="136" y="974"/>
                      </a:lnTo>
                      <a:lnTo>
                        <a:pt x="118" y="951"/>
                      </a:lnTo>
                      <a:lnTo>
                        <a:pt x="101" y="929"/>
                      </a:lnTo>
                      <a:lnTo>
                        <a:pt x="85" y="904"/>
                      </a:lnTo>
                      <a:lnTo>
                        <a:pt x="71" y="879"/>
                      </a:lnTo>
                      <a:lnTo>
                        <a:pt x="59" y="853"/>
                      </a:lnTo>
                      <a:lnTo>
                        <a:pt x="46" y="827"/>
                      </a:lnTo>
                      <a:lnTo>
                        <a:pt x="36" y="800"/>
                      </a:lnTo>
                      <a:lnTo>
                        <a:pt x="26" y="772"/>
                      </a:lnTo>
                      <a:lnTo>
                        <a:pt x="18" y="745"/>
                      </a:lnTo>
                      <a:lnTo>
                        <a:pt x="12" y="716"/>
                      </a:lnTo>
                      <a:lnTo>
                        <a:pt x="7" y="686"/>
                      </a:lnTo>
                      <a:lnTo>
                        <a:pt x="3" y="657"/>
                      </a:lnTo>
                      <a:lnTo>
                        <a:pt x="1" y="626"/>
                      </a:lnTo>
                      <a:lnTo>
                        <a:pt x="0" y="596"/>
                      </a:lnTo>
                      <a:lnTo>
                        <a:pt x="0" y="596"/>
                      </a:lnTo>
                      <a:lnTo>
                        <a:pt x="1" y="565"/>
                      </a:lnTo>
                      <a:lnTo>
                        <a:pt x="3" y="535"/>
                      </a:lnTo>
                      <a:lnTo>
                        <a:pt x="7" y="505"/>
                      </a:lnTo>
                      <a:lnTo>
                        <a:pt x="12" y="476"/>
                      </a:lnTo>
                      <a:lnTo>
                        <a:pt x="18" y="447"/>
                      </a:lnTo>
                      <a:lnTo>
                        <a:pt x="26" y="419"/>
                      </a:lnTo>
                      <a:lnTo>
                        <a:pt x="36" y="391"/>
                      </a:lnTo>
                      <a:lnTo>
                        <a:pt x="46" y="364"/>
                      </a:lnTo>
                      <a:lnTo>
                        <a:pt x="59" y="337"/>
                      </a:lnTo>
                      <a:lnTo>
                        <a:pt x="71" y="311"/>
                      </a:lnTo>
                      <a:lnTo>
                        <a:pt x="85" y="286"/>
                      </a:lnTo>
                      <a:lnTo>
                        <a:pt x="101" y="262"/>
                      </a:lnTo>
                      <a:lnTo>
                        <a:pt x="118" y="239"/>
                      </a:lnTo>
                      <a:lnTo>
                        <a:pt x="136" y="216"/>
                      </a:lnTo>
                      <a:lnTo>
                        <a:pt x="155" y="195"/>
                      </a:lnTo>
                      <a:lnTo>
                        <a:pt x="174" y="175"/>
                      </a:lnTo>
                      <a:lnTo>
                        <a:pt x="195" y="154"/>
                      </a:lnTo>
                      <a:lnTo>
                        <a:pt x="217" y="135"/>
                      </a:lnTo>
                      <a:lnTo>
                        <a:pt x="240" y="118"/>
                      </a:lnTo>
                      <a:lnTo>
                        <a:pt x="262" y="101"/>
                      </a:lnTo>
                      <a:lnTo>
                        <a:pt x="286" y="86"/>
                      </a:lnTo>
                      <a:lnTo>
                        <a:pt x="312" y="71"/>
                      </a:lnTo>
                      <a:lnTo>
                        <a:pt x="337" y="58"/>
                      </a:lnTo>
                      <a:lnTo>
                        <a:pt x="364" y="46"/>
                      </a:lnTo>
                      <a:lnTo>
                        <a:pt x="391" y="36"/>
                      </a:lnTo>
                      <a:lnTo>
                        <a:pt x="419" y="26"/>
                      </a:lnTo>
                      <a:lnTo>
                        <a:pt x="447" y="18"/>
                      </a:lnTo>
                      <a:lnTo>
                        <a:pt x="476" y="11"/>
                      </a:lnTo>
                      <a:lnTo>
                        <a:pt x="505" y="6"/>
                      </a:lnTo>
                      <a:lnTo>
                        <a:pt x="535" y="3"/>
                      </a:lnTo>
                      <a:lnTo>
                        <a:pt x="565" y="0"/>
                      </a:lnTo>
                      <a:lnTo>
                        <a:pt x="596" y="0"/>
                      </a:lnTo>
                      <a:lnTo>
                        <a:pt x="596" y="0"/>
                      </a:lnTo>
                      <a:lnTo>
                        <a:pt x="627" y="0"/>
                      </a:lnTo>
                      <a:lnTo>
                        <a:pt x="657" y="3"/>
                      </a:lnTo>
                      <a:lnTo>
                        <a:pt x="687" y="6"/>
                      </a:lnTo>
                      <a:lnTo>
                        <a:pt x="716" y="11"/>
                      </a:lnTo>
                      <a:lnTo>
                        <a:pt x="745" y="18"/>
                      </a:lnTo>
                      <a:lnTo>
                        <a:pt x="773" y="26"/>
                      </a:lnTo>
                      <a:lnTo>
                        <a:pt x="801" y="36"/>
                      </a:lnTo>
                      <a:lnTo>
                        <a:pt x="827" y="46"/>
                      </a:lnTo>
                      <a:lnTo>
                        <a:pt x="854" y="58"/>
                      </a:lnTo>
                      <a:lnTo>
                        <a:pt x="879" y="71"/>
                      </a:lnTo>
                      <a:lnTo>
                        <a:pt x="905" y="86"/>
                      </a:lnTo>
                      <a:lnTo>
                        <a:pt x="929" y="101"/>
                      </a:lnTo>
                      <a:lnTo>
                        <a:pt x="953" y="118"/>
                      </a:lnTo>
                      <a:lnTo>
                        <a:pt x="974" y="135"/>
                      </a:lnTo>
                      <a:lnTo>
                        <a:pt x="996" y="154"/>
                      </a:lnTo>
                      <a:lnTo>
                        <a:pt x="1017" y="175"/>
                      </a:lnTo>
                      <a:lnTo>
                        <a:pt x="1036" y="195"/>
                      </a:lnTo>
                      <a:lnTo>
                        <a:pt x="1055" y="216"/>
                      </a:lnTo>
                      <a:lnTo>
                        <a:pt x="1074" y="239"/>
                      </a:lnTo>
                      <a:lnTo>
                        <a:pt x="1090" y="262"/>
                      </a:lnTo>
                      <a:lnTo>
                        <a:pt x="1106" y="286"/>
                      </a:lnTo>
                      <a:lnTo>
                        <a:pt x="1120" y="311"/>
                      </a:lnTo>
                      <a:lnTo>
                        <a:pt x="1133" y="337"/>
                      </a:lnTo>
                      <a:lnTo>
                        <a:pt x="1145" y="364"/>
                      </a:lnTo>
                      <a:lnTo>
                        <a:pt x="1156" y="391"/>
                      </a:lnTo>
                      <a:lnTo>
                        <a:pt x="1165" y="419"/>
                      </a:lnTo>
                      <a:lnTo>
                        <a:pt x="1173" y="447"/>
                      </a:lnTo>
                      <a:lnTo>
                        <a:pt x="1179" y="476"/>
                      </a:lnTo>
                      <a:lnTo>
                        <a:pt x="1186" y="505"/>
                      </a:lnTo>
                      <a:lnTo>
                        <a:pt x="1189" y="535"/>
                      </a:lnTo>
                      <a:lnTo>
                        <a:pt x="1191" y="565"/>
                      </a:lnTo>
                      <a:lnTo>
                        <a:pt x="1192" y="596"/>
                      </a:lnTo>
                      <a:lnTo>
                        <a:pt x="1192" y="596"/>
                      </a:lnTo>
                      <a:lnTo>
                        <a:pt x="1191" y="626"/>
                      </a:lnTo>
                      <a:lnTo>
                        <a:pt x="1189" y="657"/>
                      </a:lnTo>
                      <a:lnTo>
                        <a:pt x="1186" y="686"/>
                      </a:lnTo>
                      <a:lnTo>
                        <a:pt x="1179" y="716"/>
                      </a:lnTo>
                      <a:lnTo>
                        <a:pt x="1173" y="745"/>
                      </a:lnTo>
                      <a:lnTo>
                        <a:pt x="1165" y="772"/>
                      </a:lnTo>
                      <a:lnTo>
                        <a:pt x="1156" y="800"/>
                      </a:lnTo>
                      <a:lnTo>
                        <a:pt x="1145" y="827"/>
                      </a:lnTo>
                      <a:lnTo>
                        <a:pt x="1133" y="853"/>
                      </a:lnTo>
                      <a:lnTo>
                        <a:pt x="1120" y="879"/>
                      </a:lnTo>
                      <a:lnTo>
                        <a:pt x="1106" y="904"/>
                      </a:lnTo>
                      <a:lnTo>
                        <a:pt x="1090" y="929"/>
                      </a:lnTo>
                      <a:lnTo>
                        <a:pt x="1074" y="951"/>
                      </a:lnTo>
                      <a:lnTo>
                        <a:pt x="1055" y="974"/>
                      </a:lnTo>
                      <a:lnTo>
                        <a:pt x="1036" y="996"/>
                      </a:lnTo>
                      <a:lnTo>
                        <a:pt x="1017" y="1017"/>
                      </a:lnTo>
                      <a:lnTo>
                        <a:pt x="996" y="1036"/>
                      </a:lnTo>
                      <a:lnTo>
                        <a:pt x="974" y="1055"/>
                      </a:lnTo>
                      <a:lnTo>
                        <a:pt x="953" y="1073"/>
                      </a:lnTo>
                      <a:lnTo>
                        <a:pt x="929" y="1089"/>
                      </a:lnTo>
                      <a:lnTo>
                        <a:pt x="905" y="1105"/>
                      </a:lnTo>
                      <a:lnTo>
                        <a:pt x="879" y="1119"/>
                      </a:lnTo>
                      <a:lnTo>
                        <a:pt x="854" y="1133"/>
                      </a:lnTo>
                      <a:lnTo>
                        <a:pt x="827" y="1145"/>
                      </a:lnTo>
                      <a:lnTo>
                        <a:pt x="801" y="1155"/>
                      </a:lnTo>
                      <a:lnTo>
                        <a:pt x="773" y="1165"/>
                      </a:lnTo>
                      <a:lnTo>
                        <a:pt x="745" y="1173"/>
                      </a:lnTo>
                      <a:lnTo>
                        <a:pt x="716" y="1179"/>
                      </a:lnTo>
                      <a:lnTo>
                        <a:pt x="687" y="1184"/>
                      </a:lnTo>
                      <a:lnTo>
                        <a:pt x="657" y="1188"/>
                      </a:lnTo>
                      <a:lnTo>
                        <a:pt x="627" y="1190"/>
                      </a:lnTo>
                      <a:lnTo>
                        <a:pt x="596" y="1191"/>
                      </a:lnTo>
                      <a:lnTo>
                        <a:pt x="596" y="1191"/>
                      </a:lnTo>
                      <a:close/>
                      <a:moveTo>
                        <a:pt x="596" y="66"/>
                      </a:moveTo>
                      <a:lnTo>
                        <a:pt x="596" y="66"/>
                      </a:lnTo>
                      <a:lnTo>
                        <a:pt x="569" y="66"/>
                      </a:lnTo>
                      <a:lnTo>
                        <a:pt x="542" y="68"/>
                      </a:lnTo>
                      <a:lnTo>
                        <a:pt x="515" y="71"/>
                      </a:lnTo>
                      <a:lnTo>
                        <a:pt x="489" y="76"/>
                      </a:lnTo>
                      <a:lnTo>
                        <a:pt x="463" y="82"/>
                      </a:lnTo>
                      <a:lnTo>
                        <a:pt x="438" y="90"/>
                      </a:lnTo>
                      <a:lnTo>
                        <a:pt x="414" y="98"/>
                      </a:lnTo>
                      <a:lnTo>
                        <a:pt x="390" y="107"/>
                      </a:lnTo>
                      <a:lnTo>
                        <a:pt x="366" y="118"/>
                      </a:lnTo>
                      <a:lnTo>
                        <a:pt x="343" y="129"/>
                      </a:lnTo>
                      <a:lnTo>
                        <a:pt x="321" y="142"/>
                      </a:lnTo>
                      <a:lnTo>
                        <a:pt x="300" y="156"/>
                      </a:lnTo>
                      <a:lnTo>
                        <a:pt x="279" y="170"/>
                      </a:lnTo>
                      <a:lnTo>
                        <a:pt x="258" y="187"/>
                      </a:lnTo>
                      <a:lnTo>
                        <a:pt x="240" y="203"/>
                      </a:lnTo>
                      <a:lnTo>
                        <a:pt x="221" y="221"/>
                      </a:lnTo>
                      <a:lnTo>
                        <a:pt x="203" y="240"/>
                      </a:lnTo>
                      <a:lnTo>
                        <a:pt x="187" y="258"/>
                      </a:lnTo>
                      <a:lnTo>
                        <a:pt x="171" y="278"/>
                      </a:lnTo>
                      <a:lnTo>
                        <a:pt x="156" y="300"/>
                      </a:lnTo>
                      <a:lnTo>
                        <a:pt x="142" y="320"/>
                      </a:lnTo>
                      <a:lnTo>
                        <a:pt x="130" y="343"/>
                      </a:lnTo>
                      <a:lnTo>
                        <a:pt x="118" y="366"/>
                      </a:lnTo>
                      <a:lnTo>
                        <a:pt x="107" y="390"/>
                      </a:lnTo>
                      <a:lnTo>
                        <a:pt x="98" y="413"/>
                      </a:lnTo>
                      <a:lnTo>
                        <a:pt x="90" y="438"/>
                      </a:lnTo>
                      <a:lnTo>
                        <a:pt x="82" y="463"/>
                      </a:lnTo>
                      <a:lnTo>
                        <a:pt x="76" y="489"/>
                      </a:lnTo>
                      <a:lnTo>
                        <a:pt x="72" y="515"/>
                      </a:lnTo>
                      <a:lnTo>
                        <a:pt x="69" y="541"/>
                      </a:lnTo>
                      <a:lnTo>
                        <a:pt x="67" y="568"/>
                      </a:lnTo>
                      <a:lnTo>
                        <a:pt x="66" y="596"/>
                      </a:lnTo>
                      <a:lnTo>
                        <a:pt x="66" y="596"/>
                      </a:lnTo>
                      <a:lnTo>
                        <a:pt x="67" y="622"/>
                      </a:lnTo>
                      <a:lnTo>
                        <a:pt x="69" y="649"/>
                      </a:lnTo>
                      <a:lnTo>
                        <a:pt x="72" y="676"/>
                      </a:lnTo>
                      <a:lnTo>
                        <a:pt x="76" y="702"/>
                      </a:lnTo>
                      <a:lnTo>
                        <a:pt x="82" y="728"/>
                      </a:lnTo>
                      <a:lnTo>
                        <a:pt x="90" y="753"/>
                      </a:lnTo>
                      <a:lnTo>
                        <a:pt x="98" y="778"/>
                      </a:lnTo>
                      <a:lnTo>
                        <a:pt x="107" y="801"/>
                      </a:lnTo>
                      <a:lnTo>
                        <a:pt x="118" y="825"/>
                      </a:lnTo>
                      <a:lnTo>
                        <a:pt x="130" y="848"/>
                      </a:lnTo>
                      <a:lnTo>
                        <a:pt x="142" y="870"/>
                      </a:lnTo>
                      <a:lnTo>
                        <a:pt x="156" y="891"/>
                      </a:lnTo>
                      <a:lnTo>
                        <a:pt x="171" y="912"/>
                      </a:lnTo>
                      <a:lnTo>
                        <a:pt x="187" y="932"/>
                      </a:lnTo>
                      <a:lnTo>
                        <a:pt x="203" y="951"/>
                      </a:lnTo>
                      <a:lnTo>
                        <a:pt x="221" y="970"/>
                      </a:lnTo>
                      <a:lnTo>
                        <a:pt x="240" y="988"/>
                      </a:lnTo>
                      <a:lnTo>
                        <a:pt x="258" y="1004"/>
                      </a:lnTo>
                      <a:lnTo>
                        <a:pt x="279" y="1020"/>
                      </a:lnTo>
                      <a:lnTo>
                        <a:pt x="300" y="1034"/>
                      </a:lnTo>
                      <a:lnTo>
                        <a:pt x="321" y="1049"/>
                      </a:lnTo>
                      <a:lnTo>
                        <a:pt x="343" y="1061"/>
                      </a:lnTo>
                      <a:lnTo>
                        <a:pt x="366" y="1073"/>
                      </a:lnTo>
                      <a:lnTo>
                        <a:pt x="390" y="1084"/>
                      </a:lnTo>
                      <a:lnTo>
                        <a:pt x="414" y="1093"/>
                      </a:lnTo>
                      <a:lnTo>
                        <a:pt x="438" y="1101"/>
                      </a:lnTo>
                      <a:lnTo>
                        <a:pt x="463" y="1109"/>
                      </a:lnTo>
                      <a:lnTo>
                        <a:pt x="489" y="1114"/>
                      </a:lnTo>
                      <a:lnTo>
                        <a:pt x="515" y="1119"/>
                      </a:lnTo>
                      <a:lnTo>
                        <a:pt x="542" y="1122"/>
                      </a:lnTo>
                      <a:lnTo>
                        <a:pt x="569" y="1124"/>
                      </a:lnTo>
                      <a:lnTo>
                        <a:pt x="596" y="1125"/>
                      </a:lnTo>
                      <a:lnTo>
                        <a:pt x="596" y="1125"/>
                      </a:lnTo>
                      <a:lnTo>
                        <a:pt x="623" y="1124"/>
                      </a:lnTo>
                      <a:lnTo>
                        <a:pt x="649" y="1122"/>
                      </a:lnTo>
                      <a:lnTo>
                        <a:pt x="676" y="1119"/>
                      </a:lnTo>
                      <a:lnTo>
                        <a:pt x="702" y="1114"/>
                      </a:lnTo>
                      <a:lnTo>
                        <a:pt x="728" y="1109"/>
                      </a:lnTo>
                      <a:lnTo>
                        <a:pt x="753" y="1101"/>
                      </a:lnTo>
                      <a:lnTo>
                        <a:pt x="778" y="1093"/>
                      </a:lnTo>
                      <a:lnTo>
                        <a:pt x="802" y="1084"/>
                      </a:lnTo>
                      <a:lnTo>
                        <a:pt x="825" y="1073"/>
                      </a:lnTo>
                      <a:lnTo>
                        <a:pt x="848" y="1061"/>
                      </a:lnTo>
                      <a:lnTo>
                        <a:pt x="870" y="1049"/>
                      </a:lnTo>
                      <a:lnTo>
                        <a:pt x="892" y="1034"/>
                      </a:lnTo>
                      <a:lnTo>
                        <a:pt x="912" y="1020"/>
                      </a:lnTo>
                      <a:lnTo>
                        <a:pt x="933" y="1004"/>
                      </a:lnTo>
                      <a:lnTo>
                        <a:pt x="952" y="988"/>
                      </a:lnTo>
                      <a:lnTo>
                        <a:pt x="970" y="970"/>
                      </a:lnTo>
                      <a:lnTo>
                        <a:pt x="988" y="951"/>
                      </a:lnTo>
                      <a:lnTo>
                        <a:pt x="1004" y="932"/>
                      </a:lnTo>
                      <a:lnTo>
                        <a:pt x="1020" y="912"/>
                      </a:lnTo>
                      <a:lnTo>
                        <a:pt x="1035" y="891"/>
                      </a:lnTo>
                      <a:lnTo>
                        <a:pt x="1049" y="870"/>
                      </a:lnTo>
                      <a:lnTo>
                        <a:pt x="1061" y="848"/>
                      </a:lnTo>
                      <a:lnTo>
                        <a:pt x="1074" y="825"/>
                      </a:lnTo>
                      <a:lnTo>
                        <a:pt x="1084" y="801"/>
                      </a:lnTo>
                      <a:lnTo>
                        <a:pt x="1093" y="778"/>
                      </a:lnTo>
                      <a:lnTo>
                        <a:pt x="1102" y="753"/>
                      </a:lnTo>
                      <a:lnTo>
                        <a:pt x="1109" y="728"/>
                      </a:lnTo>
                      <a:lnTo>
                        <a:pt x="1115" y="702"/>
                      </a:lnTo>
                      <a:lnTo>
                        <a:pt x="1119" y="676"/>
                      </a:lnTo>
                      <a:lnTo>
                        <a:pt x="1123" y="649"/>
                      </a:lnTo>
                      <a:lnTo>
                        <a:pt x="1125" y="622"/>
                      </a:lnTo>
                      <a:lnTo>
                        <a:pt x="1125" y="596"/>
                      </a:lnTo>
                      <a:lnTo>
                        <a:pt x="1125" y="596"/>
                      </a:lnTo>
                      <a:lnTo>
                        <a:pt x="1125" y="568"/>
                      </a:lnTo>
                      <a:lnTo>
                        <a:pt x="1123" y="541"/>
                      </a:lnTo>
                      <a:lnTo>
                        <a:pt x="1119" y="515"/>
                      </a:lnTo>
                      <a:lnTo>
                        <a:pt x="1115" y="489"/>
                      </a:lnTo>
                      <a:lnTo>
                        <a:pt x="1109" y="463"/>
                      </a:lnTo>
                      <a:lnTo>
                        <a:pt x="1102" y="438"/>
                      </a:lnTo>
                      <a:lnTo>
                        <a:pt x="1093" y="413"/>
                      </a:lnTo>
                      <a:lnTo>
                        <a:pt x="1084" y="390"/>
                      </a:lnTo>
                      <a:lnTo>
                        <a:pt x="1074" y="366"/>
                      </a:lnTo>
                      <a:lnTo>
                        <a:pt x="1061" y="343"/>
                      </a:lnTo>
                      <a:lnTo>
                        <a:pt x="1049" y="320"/>
                      </a:lnTo>
                      <a:lnTo>
                        <a:pt x="1035" y="300"/>
                      </a:lnTo>
                      <a:lnTo>
                        <a:pt x="1020" y="278"/>
                      </a:lnTo>
                      <a:lnTo>
                        <a:pt x="1004" y="258"/>
                      </a:lnTo>
                      <a:lnTo>
                        <a:pt x="988" y="240"/>
                      </a:lnTo>
                      <a:lnTo>
                        <a:pt x="970" y="221"/>
                      </a:lnTo>
                      <a:lnTo>
                        <a:pt x="952" y="203"/>
                      </a:lnTo>
                      <a:lnTo>
                        <a:pt x="933" y="187"/>
                      </a:lnTo>
                      <a:lnTo>
                        <a:pt x="912" y="170"/>
                      </a:lnTo>
                      <a:lnTo>
                        <a:pt x="892" y="156"/>
                      </a:lnTo>
                      <a:lnTo>
                        <a:pt x="870" y="142"/>
                      </a:lnTo>
                      <a:lnTo>
                        <a:pt x="848" y="129"/>
                      </a:lnTo>
                      <a:lnTo>
                        <a:pt x="825" y="118"/>
                      </a:lnTo>
                      <a:lnTo>
                        <a:pt x="802" y="107"/>
                      </a:lnTo>
                      <a:lnTo>
                        <a:pt x="778" y="98"/>
                      </a:lnTo>
                      <a:lnTo>
                        <a:pt x="753" y="90"/>
                      </a:lnTo>
                      <a:lnTo>
                        <a:pt x="728" y="82"/>
                      </a:lnTo>
                      <a:lnTo>
                        <a:pt x="702" y="76"/>
                      </a:lnTo>
                      <a:lnTo>
                        <a:pt x="676" y="71"/>
                      </a:lnTo>
                      <a:lnTo>
                        <a:pt x="649" y="68"/>
                      </a:lnTo>
                      <a:lnTo>
                        <a:pt x="623" y="66"/>
                      </a:lnTo>
                      <a:lnTo>
                        <a:pt x="596" y="66"/>
                      </a:lnTo>
                      <a:lnTo>
                        <a:pt x="596"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174" name="Freeform 13">
                  <a:extLst>
                    <a:ext uri="{FF2B5EF4-FFF2-40B4-BE49-F238E27FC236}">
                      <a16:creationId xmlns:a16="http://schemas.microsoft.com/office/drawing/2014/main" id="{0747D217-1947-7314-AF65-4776AE78FD05}"/>
                    </a:ext>
                  </a:extLst>
                </p:cNvPr>
                <p:cNvSpPr>
                  <a:spLocks noEditPoints="1"/>
                </p:cNvSpPr>
                <p:nvPr/>
              </p:nvSpPr>
              <p:spPr bwMode="auto">
                <a:xfrm>
                  <a:off x="4624925" y="4197522"/>
                  <a:ext cx="173120" cy="173120"/>
                </a:xfrm>
                <a:custGeom>
                  <a:avLst/>
                  <a:gdLst>
                    <a:gd name="T0" fmla="*/ 232 w 663"/>
                    <a:gd name="T1" fmla="*/ 662 h 662"/>
                    <a:gd name="T2" fmla="*/ 214 w 663"/>
                    <a:gd name="T3" fmla="*/ 655 h 662"/>
                    <a:gd name="T4" fmla="*/ 202 w 663"/>
                    <a:gd name="T5" fmla="*/ 641 h 662"/>
                    <a:gd name="T6" fmla="*/ 199 w 663"/>
                    <a:gd name="T7" fmla="*/ 463 h 662"/>
                    <a:gd name="T8" fmla="*/ 26 w 663"/>
                    <a:gd name="T9" fmla="*/ 462 h 662"/>
                    <a:gd name="T10" fmla="*/ 10 w 663"/>
                    <a:gd name="T11" fmla="*/ 453 h 662"/>
                    <a:gd name="T12" fmla="*/ 2 w 663"/>
                    <a:gd name="T13" fmla="*/ 436 h 662"/>
                    <a:gd name="T14" fmla="*/ 0 w 663"/>
                    <a:gd name="T15" fmla="*/ 231 h 662"/>
                    <a:gd name="T16" fmla="*/ 6 w 663"/>
                    <a:gd name="T17" fmla="*/ 213 h 662"/>
                    <a:gd name="T18" fmla="*/ 20 w 663"/>
                    <a:gd name="T19" fmla="*/ 200 h 662"/>
                    <a:gd name="T20" fmla="*/ 199 w 663"/>
                    <a:gd name="T21" fmla="*/ 198 h 662"/>
                    <a:gd name="T22" fmla="*/ 200 w 663"/>
                    <a:gd name="T23" fmla="*/ 25 h 662"/>
                    <a:gd name="T24" fmla="*/ 208 w 663"/>
                    <a:gd name="T25" fmla="*/ 9 h 662"/>
                    <a:gd name="T26" fmla="*/ 226 w 663"/>
                    <a:gd name="T27" fmla="*/ 0 h 662"/>
                    <a:gd name="T28" fmla="*/ 431 w 663"/>
                    <a:gd name="T29" fmla="*/ 0 h 662"/>
                    <a:gd name="T30" fmla="*/ 450 w 663"/>
                    <a:gd name="T31" fmla="*/ 5 h 662"/>
                    <a:gd name="T32" fmla="*/ 462 w 663"/>
                    <a:gd name="T33" fmla="*/ 19 h 662"/>
                    <a:gd name="T34" fmla="*/ 464 w 663"/>
                    <a:gd name="T35" fmla="*/ 198 h 662"/>
                    <a:gd name="T36" fmla="*/ 637 w 663"/>
                    <a:gd name="T37" fmla="*/ 198 h 662"/>
                    <a:gd name="T38" fmla="*/ 653 w 663"/>
                    <a:gd name="T39" fmla="*/ 207 h 662"/>
                    <a:gd name="T40" fmla="*/ 662 w 663"/>
                    <a:gd name="T41" fmla="*/ 224 h 662"/>
                    <a:gd name="T42" fmla="*/ 663 w 663"/>
                    <a:gd name="T43" fmla="*/ 430 h 662"/>
                    <a:gd name="T44" fmla="*/ 658 w 663"/>
                    <a:gd name="T45" fmla="*/ 449 h 662"/>
                    <a:gd name="T46" fmla="*/ 643 w 663"/>
                    <a:gd name="T47" fmla="*/ 460 h 662"/>
                    <a:gd name="T48" fmla="*/ 464 w 663"/>
                    <a:gd name="T49" fmla="*/ 463 h 662"/>
                    <a:gd name="T50" fmla="*/ 463 w 663"/>
                    <a:gd name="T51" fmla="*/ 635 h 662"/>
                    <a:gd name="T52" fmla="*/ 455 w 663"/>
                    <a:gd name="T53" fmla="*/ 651 h 662"/>
                    <a:gd name="T54" fmla="*/ 438 w 663"/>
                    <a:gd name="T55" fmla="*/ 661 h 662"/>
                    <a:gd name="T56" fmla="*/ 265 w 663"/>
                    <a:gd name="T57" fmla="*/ 595 h 662"/>
                    <a:gd name="T58" fmla="*/ 398 w 663"/>
                    <a:gd name="T59" fmla="*/ 430 h 662"/>
                    <a:gd name="T60" fmla="*/ 404 w 663"/>
                    <a:gd name="T61" fmla="*/ 411 h 662"/>
                    <a:gd name="T62" fmla="*/ 419 w 663"/>
                    <a:gd name="T63" fmla="*/ 399 h 662"/>
                    <a:gd name="T64" fmla="*/ 597 w 663"/>
                    <a:gd name="T65" fmla="*/ 397 h 662"/>
                    <a:gd name="T66" fmla="*/ 431 w 663"/>
                    <a:gd name="T67" fmla="*/ 264 h 662"/>
                    <a:gd name="T68" fmla="*/ 412 w 663"/>
                    <a:gd name="T69" fmla="*/ 258 h 662"/>
                    <a:gd name="T70" fmla="*/ 401 w 663"/>
                    <a:gd name="T71" fmla="*/ 244 h 662"/>
                    <a:gd name="T72" fmla="*/ 398 w 663"/>
                    <a:gd name="T73" fmla="*/ 66 h 662"/>
                    <a:gd name="T74" fmla="*/ 265 w 663"/>
                    <a:gd name="T75" fmla="*/ 231 h 662"/>
                    <a:gd name="T76" fmla="*/ 260 w 663"/>
                    <a:gd name="T77" fmla="*/ 250 h 662"/>
                    <a:gd name="T78" fmla="*/ 245 w 663"/>
                    <a:gd name="T79" fmla="*/ 261 h 662"/>
                    <a:gd name="T80" fmla="*/ 67 w 663"/>
                    <a:gd name="T81" fmla="*/ 264 h 662"/>
                    <a:gd name="T82" fmla="*/ 232 w 663"/>
                    <a:gd name="T83" fmla="*/ 397 h 662"/>
                    <a:gd name="T84" fmla="*/ 251 w 663"/>
                    <a:gd name="T85" fmla="*/ 402 h 662"/>
                    <a:gd name="T86" fmla="*/ 262 w 663"/>
                    <a:gd name="T87" fmla="*/ 416 h 662"/>
                    <a:gd name="T88" fmla="*/ 265 w 663"/>
                    <a:gd name="T89" fmla="*/ 59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3" h="662">
                      <a:moveTo>
                        <a:pt x="431" y="662"/>
                      </a:moveTo>
                      <a:lnTo>
                        <a:pt x="232" y="662"/>
                      </a:lnTo>
                      <a:lnTo>
                        <a:pt x="232" y="662"/>
                      </a:lnTo>
                      <a:lnTo>
                        <a:pt x="226" y="661"/>
                      </a:lnTo>
                      <a:lnTo>
                        <a:pt x="220" y="659"/>
                      </a:lnTo>
                      <a:lnTo>
                        <a:pt x="214" y="655"/>
                      </a:lnTo>
                      <a:lnTo>
                        <a:pt x="208" y="651"/>
                      </a:lnTo>
                      <a:lnTo>
                        <a:pt x="204" y="647"/>
                      </a:lnTo>
                      <a:lnTo>
                        <a:pt x="202" y="641"/>
                      </a:lnTo>
                      <a:lnTo>
                        <a:pt x="200" y="635"/>
                      </a:lnTo>
                      <a:lnTo>
                        <a:pt x="199" y="629"/>
                      </a:lnTo>
                      <a:lnTo>
                        <a:pt x="199" y="463"/>
                      </a:lnTo>
                      <a:lnTo>
                        <a:pt x="34" y="463"/>
                      </a:lnTo>
                      <a:lnTo>
                        <a:pt x="34" y="463"/>
                      </a:lnTo>
                      <a:lnTo>
                        <a:pt x="26" y="462"/>
                      </a:lnTo>
                      <a:lnTo>
                        <a:pt x="20" y="460"/>
                      </a:lnTo>
                      <a:lnTo>
                        <a:pt x="15" y="457"/>
                      </a:lnTo>
                      <a:lnTo>
                        <a:pt x="10" y="453"/>
                      </a:lnTo>
                      <a:lnTo>
                        <a:pt x="6" y="449"/>
                      </a:lnTo>
                      <a:lnTo>
                        <a:pt x="3" y="442"/>
                      </a:lnTo>
                      <a:lnTo>
                        <a:pt x="2" y="436"/>
                      </a:lnTo>
                      <a:lnTo>
                        <a:pt x="0" y="430"/>
                      </a:lnTo>
                      <a:lnTo>
                        <a:pt x="0" y="231"/>
                      </a:lnTo>
                      <a:lnTo>
                        <a:pt x="0" y="231"/>
                      </a:lnTo>
                      <a:lnTo>
                        <a:pt x="2" y="224"/>
                      </a:lnTo>
                      <a:lnTo>
                        <a:pt x="3" y="218"/>
                      </a:lnTo>
                      <a:lnTo>
                        <a:pt x="6" y="213"/>
                      </a:lnTo>
                      <a:lnTo>
                        <a:pt x="10" y="207"/>
                      </a:lnTo>
                      <a:lnTo>
                        <a:pt x="15" y="203"/>
                      </a:lnTo>
                      <a:lnTo>
                        <a:pt x="20" y="200"/>
                      </a:lnTo>
                      <a:lnTo>
                        <a:pt x="26" y="198"/>
                      </a:lnTo>
                      <a:lnTo>
                        <a:pt x="34" y="198"/>
                      </a:lnTo>
                      <a:lnTo>
                        <a:pt x="199" y="198"/>
                      </a:lnTo>
                      <a:lnTo>
                        <a:pt x="199" y="33"/>
                      </a:lnTo>
                      <a:lnTo>
                        <a:pt x="199" y="33"/>
                      </a:lnTo>
                      <a:lnTo>
                        <a:pt x="200" y="25"/>
                      </a:lnTo>
                      <a:lnTo>
                        <a:pt x="202" y="19"/>
                      </a:lnTo>
                      <a:lnTo>
                        <a:pt x="204" y="14"/>
                      </a:lnTo>
                      <a:lnTo>
                        <a:pt x="208" y="9"/>
                      </a:lnTo>
                      <a:lnTo>
                        <a:pt x="214" y="5"/>
                      </a:lnTo>
                      <a:lnTo>
                        <a:pt x="220" y="2"/>
                      </a:lnTo>
                      <a:lnTo>
                        <a:pt x="226" y="0"/>
                      </a:lnTo>
                      <a:lnTo>
                        <a:pt x="232" y="0"/>
                      </a:lnTo>
                      <a:lnTo>
                        <a:pt x="431" y="0"/>
                      </a:lnTo>
                      <a:lnTo>
                        <a:pt x="431" y="0"/>
                      </a:lnTo>
                      <a:lnTo>
                        <a:pt x="438" y="0"/>
                      </a:lnTo>
                      <a:lnTo>
                        <a:pt x="444" y="2"/>
                      </a:lnTo>
                      <a:lnTo>
                        <a:pt x="450" y="5"/>
                      </a:lnTo>
                      <a:lnTo>
                        <a:pt x="455" y="9"/>
                      </a:lnTo>
                      <a:lnTo>
                        <a:pt x="459" y="14"/>
                      </a:lnTo>
                      <a:lnTo>
                        <a:pt x="462" y="19"/>
                      </a:lnTo>
                      <a:lnTo>
                        <a:pt x="463" y="25"/>
                      </a:lnTo>
                      <a:lnTo>
                        <a:pt x="464" y="33"/>
                      </a:lnTo>
                      <a:lnTo>
                        <a:pt x="464" y="198"/>
                      </a:lnTo>
                      <a:lnTo>
                        <a:pt x="630" y="198"/>
                      </a:lnTo>
                      <a:lnTo>
                        <a:pt x="630" y="198"/>
                      </a:lnTo>
                      <a:lnTo>
                        <a:pt x="637" y="198"/>
                      </a:lnTo>
                      <a:lnTo>
                        <a:pt x="643" y="200"/>
                      </a:lnTo>
                      <a:lnTo>
                        <a:pt x="648" y="203"/>
                      </a:lnTo>
                      <a:lnTo>
                        <a:pt x="653" y="207"/>
                      </a:lnTo>
                      <a:lnTo>
                        <a:pt x="658" y="213"/>
                      </a:lnTo>
                      <a:lnTo>
                        <a:pt x="661" y="218"/>
                      </a:lnTo>
                      <a:lnTo>
                        <a:pt x="662" y="224"/>
                      </a:lnTo>
                      <a:lnTo>
                        <a:pt x="663" y="231"/>
                      </a:lnTo>
                      <a:lnTo>
                        <a:pt x="663" y="430"/>
                      </a:lnTo>
                      <a:lnTo>
                        <a:pt x="663" y="430"/>
                      </a:lnTo>
                      <a:lnTo>
                        <a:pt x="662" y="436"/>
                      </a:lnTo>
                      <a:lnTo>
                        <a:pt x="661" y="442"/>
                      </a:lnTo>
                      <a:lnTo>
                        <a:pt x="658" y="449"/>
                      </a:lnTo>
                      <a:lnTo>
                        <a:pt x="653" y="453"/>
                      </a:lnTo>
                      <a:lnTo>
                        <a:pt x="648" y="457"/>
                      </a:lnTo>
                      <a:lnTo>
                        <a:pt x="643" y="460"/>
                      </a:lnTo>
                      <a:lnTo>
                        <a:pt x="637" y="462"/>
                      </a:lnTo>
                      <a:lnTo>
                        <a:pt x="630" y="463"/>
                      </a:lnTo>
                      <a:lnTo>
                        <a:pt x="464" y="463"/>
                      </a:lnTo>
                      <a:lnTo>
                        <a:pt x="464" y="629"/>
                      </a:lnTo>
                      <a:lnTo>
                        <a:pt x="464" y="629"/>
                      </a:lnTo>
                      <a:lnTo>
                        <a:pt x="463" y="635"/>
                      </a:lnTo>
                      <a:lnTo>
                        <a:pt x="462" y="641"/>
                      </a:lnTo>
                      <a:lnTo>
                        <a:pt x="459" y="647"/>
                      </a:lnTo>
                      <a:lnTo>
                        <a:pt x="455" y="651"/>
                      </a:lnTo>
                      <a:lnTo>
                        <a:pt x="450" y="655"/>
                      </a:lnTo>
                      <a:lnTo>
                        <a:pt x="444" y="659"/>
                      </a:lnTo>
                      <a:lnTo>
                        <a:pt x="438" y="661"/>
                      </a:lnTo>
                      <a:lnTo>
                        <a:pt x="431" y="662"/>
                      </a:lnTo>
                      <a:lnTo>
                        <a:pt x="431" y="662"/>
                      </a:lnTo>
                      <a:close/>
                      <a:moveTo>
                        <a:pt x="265" y="595"/>
                      </a:moveTo>
                      <a:lnTo>
                        <a:pt x="398" y="595"/>
                      </a:lnTo>
                      <a:lnTo>
                        <a:pt x="398" y="430"/>
                      </a:lnTo>
                      <a:lnTo>
                        <a:pt x="398" y="430"/>
                      </a:lnTo>
                      <a:lnTo>
                        <a:pt x="399" y="423"/>
                      </a:lnTo>
                      <a:lnTo>
                        <a:pt x="401" y="416"/>
                      </a:lnTo>
                      <a:lnTo>
                        <a:pt x="404" y="411"/>
                      </a:lnTo>
                      <a:lnTo>
                        <a:pt x="407" y="406"/>
                      </a:lnTo>
                      <a:lnTo>
                        <a:pt x="412" y="402"/>
                      </a:lnTo>
                      <a:lnTo>
                        <a:pt x="419" y="399"/>
                      </a:lnTo>
                      <a:lnTo>
                        <a:pt x="425" y="397"/>
                      </a:lnTo>
                      <a:lnTo>
                        <a:pt x="431" y="397"/>
                      </a:lnTo>
                      <a:lnTo>
                        <a:pt x="597" y="397"/>
                      </a:lnTo>
                      <a:lnTo>
                        <a:pt x="597" y="264"/>
                      </a:lnTo>
                      <a:lnTo>
                        <a:pt x="431" y="264"/>
                      </a:lnTo>
                      <a:lnTo>
                        <a:pt x="431" y="264"/>
                      </a:lnTo>
                      <a:lnTo>
                        <a:pt x="425" y="263"/>
                      </a:lnTo>
                      <a:lnTo>
                        <a:pt x="419" y="261"/>
                      </a:lnTo>
                      <a:lnTo>
                        <a:pt x="412" y="258"/>
                      </a:lnTo>
                      <a:lnTo>
                        <a:pt x="407" y="254"/>
                      </a:lnTo>
                      <a:lnTo>
                        <a:pt x="404" y="250"/>
                      </a:lnTo>
                      <a:lnTo>
                        <a:pt x="401" y="244"/>
                      </a:lnTo>
                      <a:lnTo>
                        <a:pt x="399" y="237"/>
                      </a:lnTo>
                      <a:lnTo>
                        <a:pt x="398" y="231"/>
                      </a:lnTo>
                      <a:lnTo>
                        <a:pt x="398" y="66"/>
                      </a:lnTo>
                      <a:lnTo>
                        <a:pt x="265" y="66"/>
                      </a:lnTo>
                      <a:lnTo>
                        <a:pt x="265" y="231"/>
                      </a:lnTo>
                      <a:lnTo>
                        <a:pt x="265" y="231"/>
                      </a:lnTo>
                      <a:lnTo>
                        <a:pt x="264" y="237"/>
                      </a:lnTo>
                      <a:lnTo>
                        <a:pt x="262" y="244"/>
                      </a:lnTo>
                      <a:lnTo>
                        <a:pt x="260" y="250"/>
                      </a:lnTo>
                      <a:lnTo>
                        <a:pt x="256" y="254"/>
                      </a:lnTo>
                      <a:lnTo>
                        <a:pt x="251" y="258"/>
                      </a:lnTo>
                      <a:lnTo>
                        <a:pt x="245" y="261"/>
                      </a:lnTo>
                      <a:lnTo>
                        <a:pt x="239" y="263"/>
                      </a:lnTo>
                      <a:lnTo>
                        <a:pt x="232" y="264"/>
                      </a:lnTo>
                      <a:lnTo>
                        <a:pt x="67" y="264"/>
                      </a:lnTo>
                      <a:lnTo>
                        <a:pt x="67" y="397"/>
                      </a:lnTo>
                      <a:lnTo>
                        <a:pt x="232" y="397"/>
                      </a:lnTo>
                      <a:lnTo>
                        <a:pt x="232" y="397"/>
                      </a:lnTo>
                      <a:lnTo>
                        <a:pt x="239" y="397"/>
                      </a:lnTo>
                      <a:lnTo>
                        <a:pt x="245" y="399"/>
                      </a:lnTo>
                      <a:lnTo>
                        <a:pt x="251" y="402"/>
                      </a:lnTo>
                      <a:lnTo>
                        <a:pt x="256" y="406"/>
                      </a:lnTo>
                      <a:lnTo>
                        <a:pt x="260" y="411"/>
                      </a:lnTo>
                      <a:lnTo>
                        <a:pt x="262" y="416"/>
                      </a:lnTo>
                      <a:lnTo>
                        <a:pt x="264" y="423"/>
                      </a:lnTo>
                      <a:lnTo>
                        <a:pt x="265" y="430"/>
                      </a:lnTo>
                      <a:lnTo>
                        <a:pt x="265" y="5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grpSp>
          <p:sp>
            <p:nvSpPr>
              <p:cNvPr id="240" name="TextBox 239">
                <a:extLst>
                  <a:ext uri="{FF2B5EF4-FFF2-40B4-BE49-F238E27FC236}">
                    <a16:creationId xmlns:a16="http://schemas.microsoft.com/office/drawing/2014/main" id="{43826F57-AA32-3E87-F418-80A6A96168E7}"/>
                  </a:ext>
                </a:extLst>
              </p:cNvPr>
              <p:cNvSpPr txBox="1"/>
              <p:nvPr/>
            </p:nvSpPr>
            <p:spPr>
              <a:xfrm>
                <a:off x="1881890" y="4080872"/>
                <a:ext cx="1507771"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oboto"/>
                    <a:ea typeface="+mn-ea"/>
                    <a:cs typeface="+mn-cs"/>
                  </a:rPr>
                  <a:t>Health</a:t>
                </a:r>
              </a:p>
            </p:txBody>
          </p:sp>
        </p:grpSp>
        <p:grpSp>
          <p:nvGrpSpPr>
            <p:cNvPr id="280" name="Group 279">
              <a:extLst>
                <a:ext uri="{FF2B5EF4-FFF2-40B4-BE49-F238E27FC236}">
                  <a16:creationId xmlns:a16="http://schemas.microsoft.com/office/drawing/2014/main" id="{F3246BFA-B87A-0E2E-E211-2FF8A5DDF9F0}"/>
                </a:ext>
              </a:extLst>
            </p:cNvPr>
            <p:cNvGrpSpPr/>
            <p:nvPr/>
          </p:nvGrpSpPr>
          <p:grpSpPr>
            <a:xfrm>
              <a:off x="4493131" y="3388704"/>
              <a:ext cx="3410845" cy="442150"/>
              <a:chOff x="4061656" y="3509980"/>
              <a:chExt cx="3410845" cy="442150"/>
            </a:xfrm>
          </p:grpSpPr>
          <p:grpSp>
            <p:nvGrpSpPr>
              <p:cNvPr id="201" name="Group 200">
                <a:extLst>
                  <a:ext uri="{FF2B5EF4-FFF2-40B4-BE49-F238E27FC236}">
                    <a16:creationId xmlns:a16="http://schemas.microsoft.com/office/drawing/2014/main" id="{9830CF70-E16A-DA41-00AF-15B70038F173}"/>
                  </a:ext>
                </a:extLst>
              </p:cNvPr>
              <p:cNvGrpSpPr/>
              <p:nvPr/>
            </p:nvGrpSpPr>
            <p:grpSpPr>
              <a:xfrm>
                <a:off x="4061656" y="3509980"/>
                <a:ext cx="442151" cy="442150"/>
                <a:chOff x="7854618" y="3496310"/>
                <a:chExt cx="614681" cy="614680"/>
              </a:xfrm>
            </p:grpSpPr>
            <p:sp>
              <p:nvSpPr>
                <p:cNvPr id="202" name="Flowchart: Connector 201">
                  <a:extLst>
                    <a:ext uri="{FF2B5EF4-FFF2-40B4-BE49-F238E27FC236}">
                      <a16:creationId xmlns:a16="http://schemas.microsoft.com/office/drawing/2014/main" id="{D282E8F6-484A-405D-555D-A1B82ACE806D}"/>
                    </a:ext>
                  </a:extLst>
                </p:cNvPr>
                <p:cNvSpPr/>
                <p:nvPr/>
              </p:nvSpPr>
              <p:spPr>
                <a:xfrm flipH="1">
                  <a:off x="7854618" y="3496310"/>
                  <a:ext cx="614681" cy="61468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200" b="1" i="0" u="none" strike="noStrike" kern="1200" cap="none" spc="0" normalizeH="0" baseline="0" noProof="0" dirty="0">
                    <a:ln>
                      <a:noFill/>
                    </a:ln>
                    <a:solidFill>
                      <a:prstClr val="white"/>
                    </a:solidFill>
                    <a:effectLst/>
                    <a:uLnTx/>
                    <a:uFillTx/>
                    <a:latin typeface="Roboto"/>
                    <a:ea typeface="+mn-ea"/>
                    <a:cs typeface="+mn-cs"/>
                  </a:endParaRPr>
                </a:p>
              </p:txBody>
            </p:sp>
            <p:grpSp>
              <p:nvGrpSpPr>
                <p:cNvPr id="203" name="Group 202">
                  <a:extLst>
                    <a:ext uri="{FF2B5EF4-FFF2-40B4-BE49-F238E27FC236}">
                      <a16:creationId xmlns:a16="http://schemas.microsoft.com/office/drawing/2014/main" id="{0531534F-0102-455D-6317-C826F2E55BBC}"/>
                    </a:ext>
                  </a:extLst>
                </p:cNvPr>
                <p:cNvGrpSpPr/>
                <p:nvPr/>
              </p:nvGrpSpPr>
              <p:grpSpPr>
                <a:xfrm>
                  <a:off x="7984637" y="3625592"/>
                  <a:ext cx="357692" cy="356117"/>
                  <a:chOff x="3395663" y="1809750"/>
                  <a:chExt cx="360363" cy="358776"/>
                </a:xfrm>
                <a:solidFill>
                  <a:schemeClr val="bg1"/>
                </a:solidFill>
              </p:grpSpPr>
              <p:sp>
                <p:nvSpPr>
                  <p:cNvPr id="204" name="Freeform 48">
                    <a:extLst>
                      <a:ext uri="{FF2B5EF4-FFF2-40B4-BE49-F238E27FC236}">
                        <a16:creationId xmlns:a16="http://schemas.microsoft.com/office/drawing/2014/main" id="{9A8828DC-8306-80B6-A26F-ECB4B444962B}"/>
                      </a:ext>
                    </a:extLst>
                  </p:cNvPr>
                  <p:cNvSpPr>
                    <a:spLocks noEditPoints="1"/>
                  </p:cNvSpPr>
                  <p:nvPr/>
                </p:nvSpPr>
                <p:spPr bwMode="auto">
                  <a:xfrm>
                    <a:off x="3603625" y="1884363"/>
                    <a:ext cx="111125" cy="122238"/>
                  </a:xfrm>
                  <a:custGeom>
                    <a:avLst/>
                    <a:gdLst>
                      <a:gd name="T0" fmla="*/ 223 w 486"/>
                      <a:gd name="T1" fmla="*/ 542 h 542"/>
                      <a:gd name="T2" fmla="*/ 195 w 486"/>
                      <a:gd name="T3" fmla="*/ 536 h 542"/>
                      <a:gd name="T4" fmla="*/ 162 w 486"/>
                      <a:gd name="T5" fmla="*/ 521 h 542"/>
                      <a:gd name="T6" fmla="*/ 137 w 486"/>
                      <a:gd name="T7" fmla="*/ 502 h 542"/>
                      <a:gd name="T8" fmla="*/ 113 w 486"/>
                      <a:gd name="T9" fmla="*/ 473 h 542"/>
                      <a:gd name="T10" fmla="*/ 89 w 486"/>
                      <a:gd name="T11" fmla="*/ 433 h 542"/>
                      <a:gd name="T12" fmla="*/ 69 w 486"/>
                      <a:gd name="T13" fmla="*/ 409 h 542"/>
                      <a:gd name="T14" fmla="*/ 40 w 486"/>
                      <a:gd name="T15" fmla="*/ 382 h 542"/>
                      <a:gd name="T16" fmla="*/ 20 w 486"/>
                      <a:gd name="T17" fmla="*/ 354 h 542"/>
                      <a:gd name="T18" fmla="*/ 8 w 486"/>
                      <a:gd name="T19" fmla="*/ 328 h 542"/>
                      <a:gd name="T20" fmla="*/ 0 w 486"/>
                      <a:gd name="T21" fmla="*/ 282 h 542"/>
                      <a:gd name="T22" fmla="*/ 1 w 486"/>
                      <a:gd name="T23" fmla="*/ 262 h 542"/>
                      <a:gd name="T24" fmla="*/ 9 w 486"/>
                      <a:gd name="T25" fmla="*/ 233 h 542"/>
                      <a:gd name="T26" fmla="*/ 24 w 486"/>
                      <a:gd name="T27" fmla="*/ 204 h 542"/>
                      <a:gd name="T28" fmla="*/ 43 w 486"/>
                      <a:gd name="T29" fmla="*/ 178 h 542"/>
                      <a:gd name="T30" fmla="*/ 90 w 486"/>
                      <a:gd name="T31" fmla="*/ 138 h 542"/>
                      <a:gd name="T32" fmla="*/ 128 w 486"/>
                      <a:gd name="T33" fmla="*/ 116 h 542"/>
                      <a:gd name="T34" fmla="*/ 184 w 486"/>
                      <a:gd name="T35" fmla="*/ 94 h 542"/>
                      <a:gd name="T36" fmla="*/ 240 w 486"/>
                      <a:gd name="T37" fmla="*/ 79 h 542"/>
                      <a:gd name="T38" fmla="*/ 323 w 486"/>
                      <a:gd name="T39" fmla="*/ 54 h 542"/>
                      <a:gd name="T40" fmla="*/ 386 w 486"/>
                      <a:gd name="T41" fmla="*/ 22 h 542"/>
                      <a:gd name="T42" fmla="*/ 414 w 486"/>
                      <a:gd name="T43" fmla="*/ 3 h 542"/>
                      <a:gd name="T44" fmla="*/ 435 w 486"/>
                      <a:gd name="T45" fmla="*/ 1 h 542"/>
                      <a:gd name="T46" fmla="*/ 449 w 486"/>
                      <a:gd name="T47" fmla="*/ 7 h 542"/>
                      <a:gd name="T48" fmla="*/ 457 w 486"/>
                      <a:gd name="T49" fmla="*/ 20 h 542"/>
                      <a:gd name="T50" fmla="*/ 472 w 486"/>
                      <a:gd name="T51" fmla="*/ 59 h 542"/>
                      <a:gd name="T52" fmla="*/ 485 w 486"/>
                      <a:gd name="T53" fmla="*/ 133 h 542"/>
                      <a:gd name="T54" fmla="*/ 483 w 486"/>
                      <a:gd name="T55" fmla="*/ 229 h 542"/>
                      <a:gd name="T56" fmla="*/ 465 w 486"/>
                      <a:gd name="T57" fmla="*/ 322 h 542"/>
                      <a:gd name="T58" fmla="*/ 435 w 486"/>
                      <a:gd name="T59" fmla="*/ 403 h 542"/>
                      <a:gd name="T60" fmla="*/ 401 w 486"/>
                      <a:gd name="T61" fmla="*/ 455 h 542"/>
                      <a:gd name="T62" fmla="*/ 375 w 486"/>
                      <a:gd name="T63" fmla="*/ 481 h 542"/>
                      <a:gd name="T64" fmla="*/ 317 w 486"/>
                      <a:gd name="T65" fmla="*/ 522 h 542"/>
                      <a:gd name="T66" fmla="*/ 256 w 486"/>
                      <a:gd name="T67" fmla="*/ 541 h 542"/>
                      <a:gd name="T68" fmla="*/ 236 w 486"/>
                      <a:gd name="T69" fmla="*/ 542 h 542"/>
                      <a:gd name="T70" fmla="*/ 390 w 486"/>
                      <a:gd name="T71" fmla="*/ 96 h 542"/>
                      <a:gd name="T72" fmla="*/ 330 w 486"/>
                      <a:gd name="T73" fmla="*/ 121 h 542"/>
                      <a:gd name="T74" fmla="*/ 256 w 486"/>
                      <a:gd name="T75" fmla="*/ 143 h 542"/>
                      <a:gd name="T76" fmla="*/ 206 w 486"/>
                      <a:gd name="T77" fmla="*/ 156 h 542"/>
                      <a:gd name="T78" fmla="*/ 158 w 486"/>
                      <a:gd name="T79" fmla="*/ 175 h 542"/>
                      <a:gd name="T80" fmla="*/ 127 w 486"/>
                      <a:gd name="T81" fmla="*/ 192 h 542"/>
                      <a:gd name="T82" fmla="*/ 91 w 486"/>
                      <a:gd name="T83" fmla="*/ 224 h 542"/>
                      <a:gd name="T84" fmla="*/ 70 w 486"/>
                      <a:gd name="T85" fmla="*/ 259 h 542"/>
                      <a:gd name="T86" fmla="*/ 66 w 486"/>
                      <a:gd name="T87" fmla="*/ 282 h 542"/>
                      <a:gd name="T88" fmla="*/ 69 w 486"/>
                      <a:gd name="T89" fmla="*/ 303 h 542"/>
                      <a:gd name="T90" fmla="*/ 86 w 486"/>
                      <a:gd name="T91" fmla="*/ 333 h 542"/>
                      <a:gd name="T92" fmla="*/ 117 w 486"/>
                      <a:gd name="T93" fmla="*/ 362 h 542"/>
                      <a:gd name="T94" fmla="*/ 131 w 486"/>
                      <a:gd name="T95" fmla="*/ 372 h 542"/>
                      <a:gd name="T96" fmla="*/ 139 w 486"/>
                      <a:gd name="T97" fmla="*/ 385 h 542"/>
                      <a:gd name="T98" fmla="*/ 156 w 486"/>
                      <a:gd name="T99" fmla="*/ 420 h 542"/>
                      <a:gd name="T100" fmla="*/ 187 w 486"/>
                      <a:gd name="T101" fmla="*/ 457 h 542"/>
                      <a:gd name="T102" fmla="*/ 222 w 486"/>
                      <a:gd name="T103" fmla="*/ 475 h 542"/>
                      <a:gd name="T104" fmla="*/ 239 w 486"/>
                      <a:gd name="T105" fmla="*/ 476 h 542"/>
                      <a:gd name="T106" fmla="*/ 265 w 486"/>
                      <a:gd name="T107" fmla="*/ 472 h 542"/>
                      <a:gd name="T108" fmla="*/ 305 w 486"/>
                      <a:gd name="T109" fmla="*/ 453 h 542"/>
                      <a:gd name="T110" fmla="*/ 346 w 486"/>
                      <a:gd name="T111" fmla="*/ 418 h 542"/>
                      <a:gd name="T112" fmla="*/ 366 w 486"/>
                      <a:gd name="T113" fmla="*/ 391 h 542"/>
                      <a:gd name="T114" fmla="*/ 391 w 486"/>
                      <a:gd name="T115" fmla="*/ 337 h 542"/>
                      <a:gd name="T116" fmla="*/ 410 w 486"/>
                      <a:gd name="T117" fmla="*/ 270 h 542"/>
                      <a:gd name="T118" fmla="*/ 419 w 486"/>
                      <a:gd name="T119" fmla="*/ 199 h 542"/>
                      <a:gd name="T120" fmla="*/ 418 w 486"/>
                      <a:gd name="T121" fmla="*/ 128 h 542"/>
                      <a:gd name="T122" fmla="*/ 411 w 486"/>
                      <a:gd name="T123" fmla="*/ 85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6" h="542">
                        <a:moveTo>
                          <a:pt x="236" y="542"/>
                        </a:moveTo>
                        <a:lnTo>
                          <a:pt x="236" y="542"/>
                        </a:lnTo>
                        <a:lnTo>
                          <a:pt x="223" y="542"/>
                        </a:lnTo>
                        <a:lnTo>
                          <a:pt x="210" y="540"/>
                        </a:lnTo>
                        <a:lnTo>
                          <a:pt x="210" y="540"/>
                        </a:lnTo>
                        <a:lnTo>
                          <a:pt x="195" y="536"/>
                        </a:lnTo>
                        <a:lnTo>
                          <a:pt x="179" y="530"/>
                        </a:lnTo>
                        <a:lnTo>
                          <a:pt x="171" y="526"/>
                        </a:lnTo>
                        <a:lnTo>
                          <a:pt x="162" y="521"/>
                        </a:lnTo>
                        <a:lnTo>
                          <a:pt x="154" y="515"/>
                        </a:lnTo>
                        <a:lnTo>
                          <a:pt x="146" y="509"/>
                        </a:lnTo>
                        <a:lnTo>
                          <a:pt x="137" y="502"/>
                        </a:lnTo>
                        <a:lnTo>
                          <a:pt x="129" y="493"/>
                        </a:lnTo>
                        <a:lnTo>
                          <a:pt x="121" y="483"/>
                        </a:lnTo>
                        <a:lnTo>
                          <a:pt x="113" y="473"/>
                        </a:lnTo>
                        <a:lnTo>
                          <a:pt x="104" y="461"/>
                        </a:lnTo>
                        <a:lnTo>
                          <a:pt x="96" y="448"/>
                        </a:lnTo>
                        <a:lnTo>
                          <a:pt x="89" y="433"/>
                        </a:lnTo>
                        <a:lnTo>
                          <a:pt x="82" y="418"/>
                        </a:lnTo>
                        <a:lnTo>
                          <a:pt x="82" y="418"/>
                        </a:lnTo>
                        <a:lnTo>
                          <a:pt x="69" y="409"/>
                        </a:lnTo>
                        <a:lnTo>
                          <a:pt x="59" y="399"/>
                        </a:lnTo>
                        <a:lnTo>
                          <a:pt x="48" y="391"/>
                        </a:lnTo>
                        <a:lnTo>
                          <a:pt x="40" y="382"/>
                        </a:lnTo>
                        <a:lnTo>
                          <a:pt x="33" y="372"/>
                        </a:lnTo>
                        <a:lnTo>
                          <a:pt x="26" y="363"/>
                        </a:lnTo>
                        <a:lnTo>
                          <a:pt x="20" y="354"/>
                        </a:lnTo>
                        <a:lnTo>
                          <a:pt x="15" y="346"/>
                        </a:lnTo>
                        <a:lnTo>
                          <a:pt x="11" y="336"/>
                        </a:lnTo>
                        <a:lnTo>
                          <a:pt x="8" y="328"/>
                        </a:lnTo>
                        <a:lnTo>
                          <a:pt x="3" y="311"/>
                        </a:lnTo>
                        <a:lnTo>
                          <a:pt x="0" y="296"/>
                        </a:lnTo>
                        <a:lnTo>
                          <a:pt x="0" y="282"/>
                        </a:lnTo>
                        <a:lnTo>
                          <a:pt x="0" y="282"/>
                        </a:lnTo>
                        <a:lnTo>
                          <a:pt x="0" y="272"/>
                        </a:lnTo>
                        <a:lnTo>
                          <a:pt x="1" y="262"/>
                        </a:lnTo>
                        <a:lnTo>
                          <a:pt x="3" y="252"/>
                        </a:lnTo>
                        <a:lnTo>
                          <a:pt x="6" y="242"/>
                        </a:lnTo>
                        <a:lnTo>
                          <a:pt x="9" y="233"/>
                        </a:lnTo>
                        <a:lnTo>
                          <a:pt x="13" y="223"/>
                        </a:lnTo>
                        <a:lnTo>
                          <a:pt x="18" y="213"/>
                        </a:lnTo>
                        <a:lnTo>
                          <a:pt x="24" y="204"/>
                        </a:lnTo>
                        <a:lnTo>
                          <a:pt x="30" y="195"/>
                        </a:lnTo>
                        <a:lnTo>
                          <a:pt x="36" y="186"/>
                        </a:lnTo>
                        <a:lnTo>
                          <a:pt x="43" y="178"/>
                        </a:lnTo>
                        <a:lnTo>
                          <a:pt x="52" y="169"/>
                        </a:lnTo>
                        <a:lnTo>
                          <a:pt x="70" y="153"/>
                        </a:lnTo>
                        <a:lnTo>
                          <a:pt x="90" y="138"/>
                        </a:lnTo>
                        <a:lnTo>
                          <a:pt x="90" y="138"/>
                        </a:lnTo>
                        <a:lnTo>
                          <a:pt x="108" y="126"/>
                        </a:lnTo>
                        <a:lnTo>
                          <a:pt x="128" y="116"/>
                        </a:lnTo>
                        <a:lnTo>
                          <a:pt x="147" y="108"/>
                        </a:lnTo>
                        <a:lnTo>
                          <a:pt x="165" y="100"/>
                        </a:lnTo>
                        <a:lnTo>
                          <a:pt x="184" y="94"/>
                        </a:lnTo>
                        <a:lnTo>
                          <a:pt x="203" y="89"/>
                        </a:lnTo>
                        <a:lnTo>
                          <a:pt x="240" y="79"/>
                        </a:lnTo>
                        <a:lnTo>
                          <a:pt x="240" y="79"/>
                        </a:lnTo>
                        <a:lnTo>
                          <a:pt x="281" y="67"/>
                        </a:lnTo>
                        <a:lnTo>
                          <a:pt x="302" y="61"/>
                        </a:lnTo>
                        <a:lnTo>
                          <a:pt x="323" y="54"/>
                        </a:lnTo>
                        <a:lnTo>
                          <a:pt x="343" y="44"/>
                        </a:lnTo>
                        <a:lnTo>
                          <a:pt x="365" y="34"/>
                        </a:lnTo>
                        <a:lnTo>
                          <a:pt x="386" y="22"/>
                        </a:lnTo>
                        <a:lnTo>
                          <a:pt x="408" y="6"/>
                        </a:lnTo>
                        <a:lnTo>
                          <a:pt x="408" y="6"/>
                        </a:lnTo>
                        <a:lnTo>
                          <a:pt x="414" y="3"/>
                        </a:lnTo>
                        <a:lnTo>
                          <a:pt x="421" y="1"/>
                        </a:lnTo>
                        <a:lnTo>
                          <a:pt x="428" y="0"/>
                        </a:lnTo>
                        <a:lnTo>
                          <a:pt x="435" y="1"/>
                        </a:lnTo>
                        <a:lnTo>
                          <a:pt x="435" y="1"/>
                        </a:lnTo>
                        <a:lnTo>
                          <a:pt x="443" y="4"/>
                        </a:lnTo>
                        <a:lnTo>
                          <a:pt x="449" y="7"/>
                        </a:lnTo>
                        <a:lnTo>
                          <a:pt x="454" y="13"/>
                        </a:lnTo>
                        <a:lnTo>
                          <a:pt x="457" y="20"/>
                        </a:lnTo>
                        <a:lnTo>
                          <a:pt x="457" y="20"/>
                        </a:lnTo>
                        <a:lnTo>
                          <a:pt x="463" y="32"/>
                        </a:lnTo>
                        <a:lnTo>
                          <a:pt x="468" y="45"/>
                        </a:lnTo>
                        <a:lnTo>
                          <a:pt x="472" y="59"/>
                        </a:lnTo>
                        <a:lnTo>
                          <a:pt x="476" y="73"/>
                        </a:lnTo>
                        <a:lnTo>
                          <a:pt x="481" y="103"/>
                        </a:lnTo>
                        <a:lnTo>
                          <a:pt x="485" y="133"/>
                        </a:lnTo>
                        <a:lnTo>
                          <a:pt x="486" y="165"/>
                        </a:lnTo>
                        <a:lnTo>
                          <a:pt x="485" y="197"/>
                        </a:lnTo>
                        <a:lnTo>
                          <a:pt x="483" y="229"/>
                        </a:lnTo>
                        <a:lnTo>
                          <a:pt x="479" y="261"/>
                        </a:lnTo>
                        <a:lnTo>
                          <a:pt x="473" y="292"/>
                        </a:lnTo>
                        <a:lnTo>
                          <a:pt x="465" y="322"/>
                        </a:lnTo>
                        <a:lnTo>
                          <a:pt x="456" y="351"/>
                        </a:lnTo>
                        <a:lnTo>
                          <a:pt x="447" y="378"/>
                        </a:lnTo>
                        <a:lnTo>
                          <a:pt x="435" y="403"/>
                        </a:lnTo>
                        <a:lnTo>
                          <a:pt x="422" y="426"/>
                        </a:lnTo>
                        <a:lnTo>
                          <a:pt x="409" y="446"/>
                        </a:lnTo>
                        <a:lnTo>
                          <a:pt x="401" y="455"/>
                        </a:lnTo>
                        <a:lnTo>
                          <a:pt x="394" y="463"/>
                        </a:lnTo>
                        <a:lnTo>
                          <a:pt x="394" y="463"/>
                        </a:lnTo>
                        <a:lnTo>
                          <a:pt x="375" y="481"/>
                        </a:lnTo>
                        <a:lnTo>
                          <a:pt x="357" y="498"/>
                        </a:lnTo>
                        <a:lnTo>
                          <a:pt x="337" y="511"/>
                        </a:lnTo>
                        <a:lnTo>
                          <a:pt x="317" y="522"/>
                        </a:lnTo>
                        <a:lnTo>
                          <a:pt x="297" y="531"/>
                        </a:lnTo>
                        <a:lnTo>
                          <a:pt x="276" y="537"/>
                        </a:lnTo>
                        <a:lnTo>
                          <a:pt x="256" y="541"/>
                        </a:lnTo>
                        <a:lnTo>
                          <a:pt x="246" y="542"/>
                        </a:lnTo>
                        <a:lnTo>
                          <a:pt x="236" y="542"/>
                        </a:lnTo>
                        <a:lnTo>
                          <a:pt x="236" y="542"/>
                        </a:lnTo>
                        <a:close/>
                        <a:moveTo>
                          <a:pt x="411" y="85"/>
                        </a:moveTo>
                        <a:lnTo>
                          <a:pt x="411" y="85"/>
                        </a:lnTo>
                        <a:lnTo>
                          <a:pt x="390" y="96"/>
                        </a:lnTo>
                        <a:lnTo>
                          <a:pt x="369" y="105"/>
                        </a:lnTo>
                        <a:lnTo>
                          <a:pt x="350" y="114"/>
                        </a:lnTo>
                        <a:lnTo>
                          <a:pt x="330" y="121"/>
                        </a:lnTo>
                        <a:lnTo>
                          <a:pt x="311" y="127"/>
                        </a:lnTo>
                        <a:lnTo>
                          <a:pt x="293" y="133"/>
                        </a:lnTo>
                        <a:lnTo>
                          <a:pt x="256" y="143"/>
                        </a:lnTo>
                        <a:lnTo>
                          <a:pt x="256" y="143"/>
                        </a:lnTo>
                        <a:lnTo>
                          <a:pt x="222" y="152"/>
                        </a:lnTo>
                        <a:lnTo>
                          <a:pt x="206" y="156"/>
                        </a:lnTo>
                        <a:lnTo>
                          <a:pt x="189" y="162"/>
                        </a:lnTo>
                        <a:lnTo>
                          <a:pt x="174" y="169"/>
                        </a:lnTo>
                        <a:lnTo>
                          <a:pt x="158" y="175"/>
                        </a:lnTo>
                        <a:lnTo>
                          <a:pt x="143" y="183"/>
                        </a:lnTo>
                        <a:lnTo>
                          <a:pt x="127" y="192"/>
                        </a:lnTo>
                        <a:lnTo>
                          <a:pt x="127" y="192"/>
                        </a:lnTo>
                        <a:lnTo>
                          <a:pt x="114" y="203"/>
                        </a:lnTo>
                        <a:lnTo>
                          <a:pt x="101" y="213"/>
                        </a:lnTo>
                        <a:lnTo>
                          <a:pt x="91" y="224"/>
                        </a:lnTo>
                        <a:lnTo>
                          <a:pt x="82" y="236"/>
                        </a:lnTo>
                        <a:lnTo>
                          <a:pt x="75" y="247"/>
                        </a:lnTo>
                        <a:lnTo>
                          <a:pt x="70" y="259"/>
                        </a:lnTo>
                        <a:lnTo>
                          <a:pt x="67" y="271"/>
                        </a:lnTo>
                        <a:lnTo>
                          <a:pt x="66" y="282"/>
                        </a:lnTo>
                        <a:lnTo>
                          <a:pt x="66" y="282"/>
                        </a:lnTo>
                        <a:lnTo>
                          <a:pt x="66" y="290"/>
                        </a:lnTo>
                        <a:lnTo>
                          <a:pt x="67" y="296"/>
                        </a:lnTo>
                        <a:lnTo>
                          <a:pt x="69" y="303"/>
                        </a:lnTo>
                        <a:lnTo>
                          <a:pt x="71" y="309"/>
                        </a:lnTo>
                        <a:lnTo>
                          <a:pt x="77" y="322"/>
                        </a:lnTo>
                        <a:lnTo>
                          <a:pt x="86" y="333"/>
                        </a:lnTo>
                        <a:lnTo>
                          <a:pt x="95" y="343"/>
                        </a:lnTo>
                        <a:lnTo>
                          <a:pt x="105" y="353"/>
                        </a:lnTo>
                        <a:lnTo>
                          <a:pt x="117" y="362"/>
                        </a:lnTo>
                        <a:lnTo>
                          <a:pt x="127" y="369"/>
                        </a:lnTo>
                        <a:lnTo>
                          <a:pt x="127" y="369"/>
                        </a:lnTo>
                        <a:lnTo>
                          <a:pt x="131" y="372"/>
                        </a:lnTo>
                        <a:lnTo>
                          <a:pt x="134" y="376"/>
                        </a:lnTo>
                        <a:lnTo>
                          <a:pt x="137" y="380"/>
                        </a:lnTo>
                        <a:lnTo>
                          <a:pt x="139" y="385"/>
                        </a:lnTo>
                        <a:lnTo>
                          <a:pt x="139" y="385"/>
                        </a:lnTo>
                        <a:lnTo>
                          <a:pt x="148" y="403"/>
                        </a:lnTo>
                        <a:lnTo>
                          <a:pt x="156" y="420"/>
                        </a:lnTo>
                        <a:lnTo>
                          <a:pt x="166" y="435"/>
                        </a:lnTo>
                        <a:lnTo>
                          <a:pt x="176" y="447"/>
                        </a:lnTo>
                        <a:lnTo>
                          <a:pt x="187" y="457"/>
                        </a:lnTo>
                        <a:lnTo>
                          <a:pt x="198" y="466"/>
                        </a:lnTo>
                        <a:lnTo>
                          <a:pt x="210" y="472"/>
                        </a:lnTo>
                        <a:lnTo>
                          <a:pt x="222" y="475"/>
                        </a:lnTo>
                        <a:lnTo>
                          <a:pt x="222" y="475"/>
                        </a:lnTo>
                        <a:lnTo>
                          <a:pt x="231" y="476"/>
                        </a:lnTo>
                        <a:lnTo>
                          <a:pt x="239" y="476"/>
                        </a:lnTo>
                        <a:lnTo>
                          <a:pt x="247" y="476"/>
                        </a:lnTo>
                        <a:lnTo>
                          <a:pt x="255" y="475"/>
                        </a:lnTo>
                        <a:lnTo>
                          <a:pt x="265" y="472"/>
                        </a:lnTo>
                        <a:lnTo>
                          <a:pt x="273" y="470"/>
                        </a:lnTo>
                        <a:lnTo>
                          <a:pt x="290" y="462"/>
                        </a:lnTo>
                        <a:lnTo>
                          <a:pt x="305" y="453"/>
                        </a:lnTo>
                        <a:lnTo>
                          <a:pt x="320" y="442"/>
                        </a:lnTo>
                        <a:lnTo>
                          <a:pt x="334" y="430"/>
                        </a:lnTo>
                        <a:lnTo>
                          <a:pt x="346" y="418"/>
                        </a:lnTo>
                        <a:lnTo>
                          <a:pt x="346" y="418"/>
                        </a:lnTo>
                        <a:lnTo>
                          <a:pt x="357" y="406"/>
                        </a:lnTo>
                        <a:lnTo>
                          <a:pt x="366" y="391"/>
                        </a:lnTo>
                        <a:lnTo>
                          <a:pt x="375" y="374"/>
                        </a:lnTo>
                        <a:lnTo>
                          <a:pt x="384" y="357"/>
                        </a:lnTo>
                        <a:lnTo>
                          <a:pt x="391" y="337"/>
                        </a:lnTo>
                        <a:lnTo>
                          <a:pt x="398" y="316"/>
                        </a:lnTo>
                        <a:lnTo>
                          <a:pt x="404" y="294"/>
                        </a:lnTo>
                        <a:lnTo>
                          <a:pt x="410" y="270"/>
                        </a:lnTo>
                        <a:lnTo>
                          <a:pt x="414" y="247"/>
                        </a:lnTo>
                        <a:lnTo>
                          <a:pt x="417" y="222"/>
                        </a:lnTo>
                        <a:lnTo>
                          <a:pt x="419" y="199"/>
                        </a:lnTo>
                        <a:lnTo>
                          <a:pt x="420" y="175"/>
                        </a:lnTo>
                        <a:lnTo>
                          <a:pt x="419" y="151"/>
                        </a:lnTo>
                        <a:lnTo>
                          <a:pt x="418" y="128"/>
                        </a:lnTo>
                        <a:lnTo>
                          <a:pt x="415" y="105"/>
                        </a:lnTo>
                        <a:lnTo>
                          <a:pt x="411" y="85"/>
                        </a:lnTo>
                        <a:lnTo>
                          <a:pt x="411"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205" name="Freeform 49">
                    <a:extLst>
                      <a:ext uri="{FF2B5EF4-FFF2-40B4-BE49-F238E27FC236}">
                        <a16:creationId xmlns:a16="http://schemas.microsoft.com/office/drawing/2014/main" id="{4C344CD8-496F-B968-CB37-24D627D1D9DF}"/>
                      </a:ext>
                    </a:extLst>
                  </p:cNvPr>
                  <p:cNvSpPr>
                    <a:spLocks noEditPoints="1"/>
                  </p:cNvSpPr>
                  <p:nvPr/>
                </p:nvSpPr>
                <p:spPr bwMode="auto">
                  <a:xfrm>
                    <a:off x="3455988" y="1809750"/>
                    <a:ext cx="144463" cy="168275"/>
                  </a:xfrm>
                  <a:custGeom>
                    <a:avLst/>
                    <a:gdLst>
                      <a:gd name="T0" fmla="*/ 282 w 635"/>
                      <a:gd name="T1" fmla="*/ 742 h 744"/>
                      <a:gd name="T2" fmla="*/ 231 w 635"/>
                      <a:gd name="T3" fmla="*/ 726 h 744"/>
                      <a:gd name="T4" fmla="*/ 179 w 635"/>
                      <a:gd name="T5" fmla="*/ 695 h 744"/>
                      <a:gd name="T6" fmla="*/ 126 w 635"/>
                      <a:gd name="T7" fmla="*/ 650 h 744"/>
                      <a:gd name="T8" fmla="*/ 92 w 635"/>
                      <a:gd name="T9" fmla="*/ 610 h 744"/>
                      <a:gd name="T10" fmla="*/ 59 w 635"/>
                      <a:gd name="T11" fmla="*/ 554 h 744"/>
                      <a:gd name="T12" fmla="*/ 27 w 635"/>
                      <a:gd name="T13" fmla="*/ 465 h 744"/>
                      <a:gd name="T14" fmla="*/ 1 w 635"/>
                      <a:gd name="T15" fmla="*/ 297 h 744"/>
                      <a:gd name="T16" fmla="*/ 3 w 635"/>
                      <a:gd name="T17" fmla="*/ 189 h 744"/>
                      <a:gd name="T18" fmla="*/ 16 w 635"/>
                      <a:gd name="T19" fmla="*/ 108 h 744"/>
                      <a:gd name="T20" fmla="*/ 41 w 635"/>
                      <a:gd name="T21" fmla="*/ 34 h 744"/>
                      <a:gd name="T22" fmla="*/ 59 w 635"/>
                      <a:gd name="T23" fmla="*/ 7 h 744"/>
                      <a:gd name="T24" fmla="*/ 80 w 635"/>
                      <a:gd name="T25" fmla="*/ 0 h 744"/>
                      <a:gd name="T26" fmla="*/ 100 w 635"/>
                      <a:gd name="T27" fmla="*/ 8 h 744"/>
                      <a:gd name="T28" fmla="*/ 154 w 635"/>
                      <a:gd name="T29" fmla="*/ 47 h 744"/>
                      <a:gd name="T30" fmla="*/ 267 w 635"/>
                      <a:gd name="T31" fmla="*/ 95 h 744"/>
                      <a:gd name="T32" fmla="*/ 388 w 635"/>
                      <a:gd name="T33" fmla="*/ 133 h 744"/>
                      <a:gd name="T34" fmla="*/ 478 w 635"/>
                      <a:gd name="T35" fmla="*/ 173 h 744"/>
                      <a:gd name="T36" fmla="*/ 531 w 635"/>
                      <a:gd name="T37" fmla="*/ 212 h 744"/>
                      <a:gd name="T38" fmla="*/ 567 w 635"/>
                      <a:gd name="T39" fmla="*/ 251 h 744"/>
                      <a:gd name="T40" fmla="*/ 604 w 635"/>
                      <a:gd name="T41" fmla="*/ 307 h 744"/>
                      <a:gd name="T42" fmla="*/ 627 w 635"/>
                      <a:gd name="T43" fmla="*/ 362 h 744"/>
                      <a:gd name="T44" fmla="*/ 635 w 635"/>
                      <a:gd name="T45" fmla="*/ 415 h 744"/>
                      <a:gd name="T46" fmla="*/ 630 w 635"/>
                      <a:gd name="T47" fmla="*/ 452 h 744"/>
                      <a:gd name="T48" fmla="*/ 614 w 635"/>
                      <a:gd name="T49" fmla="*/ 497 h 744"/>
                      <a:gd name="T50" fmla="*/ 582 w 635"/>
                      <a:gd name="T51" fmla="*/ 537 h 744"/>
                      <a:gd name="T52" fmla="*/ 538 w 635"/>
                      <a:gd name="T53" fmla="*/ 573 h 744"/>
                      <a:gd name="T54" fmla="*/ 481 w 635"/>
                      <a:gd name="T55" fmla="*/ 605 h 744"/>
                      <a:gd name="T56" fmla="*/ 449 w 635"/>
                      <a:gd name="T57" fmla="*/ 660 h 744"/>
                      <a:gd name="T58" fmla="*/ 413 w 635"/>
                      <a:gd name="T59" fmla="*/ 702 h 744"/>
                      <a:gd name="T60" fmla="*/ 372 w 635"/>
                      <a:gd name="T61" fmla="*/ 729 h 744"/>
                      <a:gd name="T62" fmla="*/ 328 w 635"/>
                      <a:gd name="T63" fmla="*/ 743 h 744"/>
                      <a:gd name="T64" fmla="*/ 307 w 635"/>
                      <a:gd name="T65" fmla="*/ 744 h 744"/>
                      <a:gd name="T66" fmla="*/ 83 w 635"/>
                      <a:gd name="T67" fmla="*/ 115 h 744"/>
                      <a:gd name="T68" fmla="*/ 66 w 635"/>
                      <a:gd name="T69" fmla="*/ 249 h 744"/>
                      <a:gd name="T70" fmla="*/ 77 w 635"/>
                      <a:gd name="T71" fmla="*/ 390 h 744"/>
                      <a:gd name="T72" fmla="*/ 113 w 635"/>
                      <a:gd name="T73" fmla="*/ 513 h 744"/>
                      <a:gd name="T74" fmla="*/ 145 w 635"/>
                      <a:gd name="T75" fmla="*/ 570 h 744"/>
                      <a:gd name="T76" fmla="*/ 195 w 635"/>
                      <a:gd name="T77" fmla="*/ 624 h 744"/>
                      <a:gd name="T78" fmla="*/ 239 w 635"/>
                      <a:gd name="T79" fmla="*/ 656 h 744"/>
                      <a:gd name="T80" fmla="*/ 281 w 635"/>
                      <a:gd name="T81" fmla="*/ 675 h 744"/>
                      <a:gd name="T82" fmla="*/ 319 w 635"/>
                      <a:gd name="T83" fmla="*/ 678 h 744"/>
                      <a:gd name="T84" fmla="*/ 341 w 635"/>
                      <a:gd name="T85" fmla="*/ 670 h 744"/>
                      <a:gd name="T86" fmla="*/ 377 w 635"/>
                      <a:gd name="T87" fmla="*/ 645 h 744"/>
                      <a:gd name="T88" fmla="*/ 426 w 635"/>
                      <a:gd name="T89" fmla="*/ 567 h 744"/>
                      <a:gd name="T90" fmla="*/ 438 w 635"/>
                      <a:gd name="T91" fmla="*/ 553 h 744"/>
                      <a:gd name="T92" fmla="*/ 491 w 635"/>
                      <a:gd name="T93" fmla="*/ 526 h 744"/>
                      <a:gd name="T94" fmla="*/ 547 w 635"/>
                      <a:gd name="T95" fmla="*/ 477 h 744"/>
                      <a:gd name="T96" fmla="*/ 564 w 635"/>
                      <a:gd name="T97" fmla="*/ 446 h 744"/>
                      <a:gd name="T98" fmla="*/ 569 w 635"/>
                      <a:gd name="T99" fmla="*/ 417 h 744"/>
                      <a:gd name="T100" fmla="*/ 562 w 635"/>
                      <a:gd name="T101" fmla="*/ 375 h 744"/>
                      <a:gd name="T102" fmla="*/ 531 w 635"/>
                      <a:gd name="T103" fmla="*/ 314 h 744"/>
                      <a:gd name="T104" fmla="*/ 504 w 635"/>
                      <a:gd name="T105" fmla="*/ 279 h 744"/>
                      <a:gd name="T106" fmla="*/ 475 w 635"/>
                      <a:gd name="T107" fmla="*/ 250 h 744"/>
                      <a:gd name="T108" fmla="*/ 417 w 635"/>
                      <a:gd name="T109" fmla="*/ 215 h 744"/>
                      <a:gd name="T110" fmla="*/ 305 w 635"/>
                      <a:gd name="T111" fmla="*/ 177 h 744"/>
                      <a:gd name="T112" fmla="*/ 200 w 635"/>
                      <a:gd name="T113" fmla="*/ 142 h 744"/>
                      <a:gd name="T114" fmla="*/ 92 w 635"/>
                      <a:gd name="T115" fmla="*/ 85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5" h="744">
                        <a:moveTo>
                          <a:pt x="307" y="744"/>
                        </a:moveTo>
                        <a:lnTo>
                          <a:pt x="307" y="744"/>
                        </a:lnTo>
                        <a:lnTo>
                          <a:pt x="295" y="744"/>
                        </a:lnTo>
                        <a:lnTo>
                          <a:pt x="282" y="742"/>
                        </a:lnTo>
                        <a:lnTo>
                          <a:pt x="269" y="740"/>
                        </a:lnTo>
                        <a:lnTo>
                          <a:pt x="257" y="737"/>
                        </a:lnTo>
                        <a:lnTo>
                          <a:pt x="244" y="732"/>
                        </a:lnTo>
                        <a:lnTo>
                          <a:pt x="231" y="726"/>
                        </a:lnTo>
                        <a:lnTo>
                          <a:pt x="218" y="720"/>
                        </a:lnTo>
                        <a:lnTo>
                          <a:pt x="205" y="713"/>
                        </a:lnTo>
                        <a:lnTo>
                          <a:pt x="191" y="705"/>
                        </a:lnTo>
                        <a:lnTo>
                          <a:pt x="179" y="695"/>
                        </a:lnTo>
                        <a:lnTo>
                          <a:pt x="165" y="685"/>
                        </a:lnTo>
                        <a:lnTo>
                          <a:pt x="152" y="675"/>
                        </a:lnTo>
                        <a:lnTo>
                          <a:pt x="140" y="662"/>
                        </a:lnTo>
                        <a:lnTo>
                          <a:pt x="126" y="650"/>
                        </a:lnTo>
                        <a:lnTo>
                          <a:pt x="114" y="636"/>
                        </a:lnTo>
                        <a:lnTo>
                          <a:pt x="101" y="622"/>
                        </a:lnTo>
                        <a:lnTo>
                          <a:pt x="101" y="622"/>
                        </a:lnTo>
                        <a:lnTo>
                          <a:pt x="92" y="610"/>
                        </a:lnTo>
                        <a:lnTo>
                          <a:pt x="83" y="597"/>
                        </a:lnTo>
                        <a:lnTo>
                          <a:pt x="74" y="584"/>
                        </a:lnTo>
                        <a:lnTo>
                          <a:pt x="66" y="569"/>
                        </a:lnTo>
                        <a:lnTo>
                          <a:pt x="59" y="554"/>
                        </a:lnTo>
                        <a:lnTo>
                          <a:pt x="52" y="537"/>
                        </a:lnTo>
                        <a:lnTo>
                          <a:pt x="44" y="519"/>
                        </a:lnTo>
                        <a:lnTo>
                          <a:pt x="38" y="502"/>
                        </a:lnTo>
                        <a:lnTo>
                          <a:pt x="27" y="465"/>
                        </a:lnTo>
                        <a:lnTo>
                          <a:pt x="16" y="424"/>
                        </a:lnTo>
                        <a:lnTo>
                          <a:pt x="9" y="383"/>
                        </a:lnTo>
                        <a:lnTo>
                          <a:pt x="4" y="340"/>
                        </a:lnTo>
                        <a:lnTo>
                          <a:pt x="1" y="297"/>
                        </a:lnTo>
                        <a:lnTo>
                          <a:pt x="0" y="254"/>
                        </a:lnTo>
                        <a:lnTo>
                          <a:pt x="0" y="232"/>
                        </a:lnTo>
                        <a:lnTo>
                          <a:pt x="1" y="211"/>
                        </a:lnTo>
                        <a:lnTo>
                          <a:pt x="3" y="189"/>
                        </a:lnTo>
                        <a:lnTo>
                          <a:pt x="5" y="169"/>
                        </a:lnTo>
                        <a:lnTo>
                          <a:pt x="8" y="148"/>
                        </a:lnTo>
                        <a:lnTo>
                          <a:pt x="12" y="127"/>
                        </a:lnTo>
                        <a:lnTo>
                          <a:pt x="16" y="108"/>
                        </a:lnTo>
                        <a:lnTo>
                          <a:pt x="22" y="89"/>
                        </a:lnTo>
                        <a:lnTo>
                          <a:pt x="28" y="70"/>
                        </a:lnTo>
                        <a:lnTo>
                          <a:pt x="34" y="52"/>
                        </a:lnTo>
                        <a:lnTo>
                          <a:pt x="41" y="34"/>
                        </a:lnTo>
                        <a:lnTo>
                          <a:pt x="50" y="18"/>
                        </a:lnTo>
                        <a:lnTo>
                          <a:pt x="50" y="18"/>
                        </a:lnTo>
                        <a:lnTo>
                          <a:pt x="54" y="12"/>
                        </a:lnTo>
                        <a:lnTo>
                          <a:pt x="59" y="7"/>
                        </a:lnTo>
                        <a:lnTo>
                          <a:pt x="65" y="3"/>
                        </a:lnTo>
                        <a:lnTo>
                          <a:pt x="72" y="1"/>
                        </a:lnTo>
                        <a:lnTo>
                          <a:pt x="72" y="1"/>
                        </a:lnTo>
                        <a:lnTo>
                          <a:pt x="80" y="0"/>
                        </a:lnTo>
                        <a:lnTo>
                          <a:pt x="87" y="1"/>
                        </a:lnTo>
                        <a:lnTo>
                          <a:pt x="94" y="4"/>
                        </a:lnTo>
                        <a:lnTo>
                          <a:pt x="100" y="8"/>
                        </a:lnTo>
                        <a:lnTo>
                          <a:pt x="100" y="8"/>
                        </a:lnTo>
                        <a:lnTo>
                          <a:pt x="114" y="19"/>
                        </a:lnTo>
                        <a:lnTo>
                          <a:pt x="126" y="29"/>
                        </a:lnTo>
                        <a:lnTo>
                          <a:pt x="140" y="37"/>
                        </a:lnTo>
                        <a:lnTo>
                          <a:pt x="154" y="47"/>
                        </a:lnTo>
                        <a:lnTo>
                          <a:pt x="181" y="61"/>
                        </a:lnTo>
                        <a:lnTo>
                          <a:pt x="210" y="74"/>
                        </a:lnTo>
                        <a:lnTo>
                          <a:pt x="238" y="86"/>
                        </a:lnTo>
                        <a:lnTo>
                          <a:pt x="267" y="95"/>
                        </a:lnTo>
                        <a:lnTo>
                          <a:pt x="324" y="114"/>
                        </a:lnTo>
                        <a:lnTo>
                          <a:pt x="324" y="114"/>
                        </a:lnTo>
                        <a:lnTo>
                          <a:pt x="357" y="123"/>
                        </a:lnTo>
                        <a:lnTo>
                          <a:pt x="388" y="133"/>
                        </a:lnTo>
                        <a:lnTo>
                          <a:pt x="419" y="145"/>
                        </a:lnTo>
                        <a:lnTo>
                          <a:pt x="449" y="157"/>
                        </a:lnTo>
                        <a:lnTo>
                          <a:pt x="463" y="165"/>
                        </a:lnTo>
                        <a:lnTo>
                          <a:pt x="478" y="173"/>
                        </a:lnTo>
                        <a:lnTo>
                          <a:pt x="491" y="181"/>
                        </a:lnTo>
                        <a:lnTo>
                          <a:pt x="505" y="190"/>
                        </a:lnTo>
                        <a:lnTo>
                          <a:pt x="518" y="201"/>
                        </a:lnTo>
                        <a:lnTo>
                          <a:pt x="531" y="212"/>
                        </a:lnTo>
                        <a:lnTo>
                          <a:pt x="543" y="223"/>
                        </a:lnTo>
                        <a:lnTo>
                          <a:pt x="555" y="237"/>
                        </a:lnTo>
                        <a:lnTo>
                          <a:pt x="555" y="237"/>
                        </a:lnTo>
                        <a:lnTo>
                          <a:pt x="567" y="251"/>
                        </a:lnTo>
                        <a:lnTo>
                          <a:pt x="577" y="265"/>
                        </a:lnTo>
                        <a:lnTo>
                          <a:pt x="588" y="279"/>
                        </a:lnTo>
                        <a:lnTo>
                          <a:pt x="596" y="294"/>
                        </a:lnTo>
                        <a:lnTo>
                          <a:pt x="604" y="307"/>
                        </a:lnTo>
                        <a:lnTo>
                          <a:pt x="611" y="322"/>
                        </a:lnTo>
                        <a:lnTo>
                          <a:pt x="618" y="335"/>
                        </a:lnTo>
                        <a:lnTo>
                          <a:pt x="623" y="349"/>
                        </a:lnTo>
                        <a:lnTo>
                          <a:pt x="627" y="362"/>
                        </a:lnTo>
                        <a:lnTo>
                          <a:pt x="630" y="376"/>
                        </a:lnTo>
                        <a:lnTo>
                          <a:pt x="633" y="389"/>
                        </a:lnTo>
                        <a:lnTo>
                          <a:pt x="634" y="401"/>
                        </a:lnTo>
                        <a:lnTo>
                          <a:pt x="635" y="415"/>
                        </a:lnTo>
                        <a:lnTo>
                          <a:pt x="634" y="427"/>
                        </a:lnTo>
                        <a:lnTo>
                          <a:pt x="633" y="440"/>
                        </a:lnTo>
                        <a:lnTo>
                          <a:pt x="630" y="452"/>
                        </a:lnTo>
                        <a:lnTo>
                          <a:pt x="630" y="452"/>
                        </a:lnTo>
                        <a:lnTo>
                          <a:pt x="627" y="464"/>
                        </a:lnTo>
                        <a:lnTo>
                          <a:pt x="624" y="475"/>
                        </a:lnTo>
                        <a:lnTo>
                          <a:pt x="619" y="486"/>
                        </a:lnTo>
                        <a:lnTo>
                          <a:pt x="614" y="497"/>
                        </a:lnTo>
                        <a:lnTo>
                          <a:pt x="606" y="507"/>
                        </a:lnTo>
                        <a:lnTo>
                          <a:pt x="599" y="517"/>
                        </a:lnTo>
                        <a:lnTo>
                          <a:pt x="591" y="528"/>
                        </a:lnTo>
                        <a:lnTo>
                          <a:pt x="582" y="537"/>
                        </a:lnTo>
                        <a:lnTo>
                          <a:pt x="572" y="546"/>
                        </a:lnTo>
                        <a:lnTo>
                          <a:pt x="562" y="556"/>
                        </a:lnTo>
                        <a:lnTo>
                          <a:pt x="550" y="565"/>
                        </a:lnTo>
                        <a:lnTo>
                          <a:pt x="538" y="573"/>
                        </a:lnTo>
                        <a:lnTo>
                          <a:pt x="526" y="582"/>
                        </a:lnTo>
                        <a:lnTo>
                          <a:pt x="511" y="590"/>
                        </a:lnTo>
                        <a:lnTo>
                          <a:pt x="481" y="605"/>
                        </a:lnTo>
                        <a:lnTo>
                          <a:pt x="481" y="605"/>
                        </a:lnTo>
                        <a:lnTo>
                          <a:pt x="474" y="621"/>
                        </a:lnTo>
                        <a:lnTo>
                          <a:pt x="466" y="634"/>
                        </a:lnTo>
                        <a:lnTo>
                          <a:pt x="457" y="648"/>
                        </a:lnTo>
                        <a:lnTo>
                          <a:pt x="449" y="660"/>
                        </a:lnTo>
                        <a:lnTo>
                          <a:pt x="441" y="672"/>
                        </a:lnTo>
                        <a:lnTo>
                          <a:pt x="431" y="683"/>
                        </a:lnTo>
                        <a:lnTo>
                          <a:pt x="422" y="692"/>
                        </a:lnTo>
                        <a:lnTo>
                          <a:pt x="413" y="702"/>
                        </a:lnTo>
                        <a:lnTo>
                          <a:pt x="403" y="710"/>
                        </a:lnTo>
                        <a:lnTo>
                          <a:pt x="393" y="717"/>
                        </a:lnTo>
                        <a:lnTo>
                          <a:pt x="383" y="723"/>
                        </a:lnTo>
                        <a:lnTo>
                          <a:pt x="372" y="729"/>
                        </a:lnTo>
                        <a:lnTo>
                          <a:pt x="362" y="734"/>
                        </a:lnTo>
                        <a:lnTo>
                          <a:pt x="351" y="738"/>
                        </a:lnTo>
                        <a:lnTo>
                          <a:pt x="339" y="741"/>
                        </a:lnTo>
                        <a:lnTo>
                          <a:pt x="328" y="743"/>
                        </a:lnTo>
                        <a:lnTo>
                          <a:pt x="328" y="743"/>
                        </a:lnTo>
                        <a:lnTo>
                          <a:pt x="318" y="744"/>
                        </a:lnTo>
                        <a:lnTo>
                          <a:pt x="307" y="744"/>
                        </a:lnTo>
                        <a:lnTo>
                          <a:pt x="307" y="744"/>
                        </a:lnTo>
                        <a:close/>
                        <a:moveTo>
                          <a:pt x="92" y="85"/>
                        </a:moveTo>
                        <a:lnTo>
                          <a:pt x="92" y="85"/>
                        </a:lnTo>
                        <a:lnTo>
                          <a:pt x="87" y="99"/>
                        </a:lnTo>
                        <a:lnTo>
                          <a:pt x="83" y="115"/>
                        </a:lnTo>
                        <a:lnTo>
                          <a:pt x="75" y="147"/>
                        </a:lnTo>
                        <a:lnTo>
                          <a:pt x="70" y="180"/>
                        </a:lnTo>
                        <a:lnTo>
                          <a:pt x="67" y="214"/>
                        </a:lnTo>
                        <a:lnTo>
                          <a:pt x="66" y="249"/>
                        </a:lnTo>
                        <a:lnTo>
                          <a:pt x="66" y="285"/>
                        </a:lnTo>
                        <a:lnTo>
                          <a:pt x="68" y="321"/>
                        </a:lnTo>
                        <a:lnTo>
                          <a:pt x="72" y="355"/>
                        </a:lnTo>
                        <a:lnTo>
                          <a:pt x="77" y="390"/>
                        </a:lnTo>
                        <a:lnTo>
                          <a:pt x="85" y="423"/>
                        </a:lnTo>
                        <a:lnTo>
                          <a:pt x="92" y="455"/>
                        </a:lnTo>
                        <a:lnTo>
                          <a:pt x="102" y="485"/>
                        </a:lnTo>
                        <a:lnTo>
                          <a:pt x="113" y="513"/>
                        </a:lnTo>
                        <a:lnTo>
                          <a:pt x="124" y="538"/>
                        </a:lnTo>
                        <a:lnTo>
                          <a:pt x="131" y="549"/>
                        </a:lnTo>
                        <a:lnTo>
                          <a:pt x="137" y="560"/>
                        </a:lnTo>
                        <a:lnTo>
                          <a:pt x="145" y="570"/>
                        </a:lnTo>
                        <a:lnTo>
                          <a:pt x="151" y="578"/>
                        </a:lnTo>
                        <a:lnTo>
                          <a:pt x="151" y="578"/>
                        </a:lnTo>
                        <a:lnTo>
                          <a:pt x="174" y="603"/>
                        </a:lnTo>
                        <a:lnTo>
                          <a:pt x="195" y="624"/>
                        </a:lnTo>
                        <a:lnTo>
                          <a:pt x="207" y="633"/>
                        </a:lnTo>
                        <a:lnTo>
                          <a:pt x="217" y="643"/>
                        </a:lnTo>
                        <a:lnTo>
                          <a:pt x="229" y="650"/>
                        </a:lnTo>
                        <a:lnTo>
                          <a:pt x="239" y="656"/>
                        </a:lnTo>
                        <a:lnTo>
                          <a:pt x="250" y="662"/>
                        </a:lnTo>
                        <a:lnTo>
                          <a:pt x="261" y="667"/>
                        </a:lnTo>
                        <a:lnTo>
                          <a:pt x="271" y="672"/>
                        </a:lnTo>
                        <a:lnTo>
                          <a:pt x="281" y="675"/>
                        </a:lnTo>
                        <a:lnTo>
                          <a:pt x="291" y="677"/>
                        </a:lnTo>
                        <a:lnTo>
                          <a:pt x="300" y="678"/>
                        </a:lnTo>
                        <a:lnTo>
                          <a:pt x="309" y="678"/>
                        </a:lnTo>
                        <a:lnTo>
                          <a:pt x="319" y="678"/>
                        </a:lnTo>
                        <a:lnTo>
                          <a:pt x="319" y="678"/>
                        </a:lnTo>
                        <a:lnTo>
                          <a:pt x="327" y="676"/>
                        </a:lnTo>
                        <a:lnTo>
                          <a:pt x="334" y="674"/>
                        </a:lnTo>
                        <a:lnTo>
                          <a:pt x="341" y="670"/>
                        </a:lnTo>
                        <a:lnTo>
                          <a:pt x="349" y="667"/>
                        </a:lnTo>
                        <a:lnTo>
                          <a:pt x="356" y="662"/>
                        </a:lnTo>
                        <a:lnTo>
                          <a:pt x="363" y="657"/>
                        </a:lnTo>
                        <a:lnTo>
                          <a:pt x="377" y="645"/>
                        </a:lnTo>
                        <a:lnTo>
                          <a:pt x="390" y="630"/>
                        </a:lnTo>
                        <a:lnTo>
                          <a:pt x="402" y="612"/>
                        </a:lnTo>
                        <a:lnTo>
                          <a:pt x="415" y="591"/>
                        </a:lnTo>
                        <a:lnTo>
                          <a:pt x="426" y="567"/>
                        </a:lnTo>
                        <a:lnTo>
                          <a:pt x="426" y="567"/>
                        </a:lnTo>
                        <a:lnTo>
                          <a:pt x="429" y="562"/>
                        </a:lnTo>
                        <a:lnTo>
                          <a:pt x="433" y="557"/>
                        </a:lnTo>
                        <a:lnTo>
                          <a:pt x="438" y="553"/>
                        </a:lnTo>
                        <a:lnTo>
                          <a:pt x="443" y="549"/>
                        </a:lnTo>
                        <a:lnTo>
                          <a:pt x="443" y="549"/>
                        </a:lnTo>
                        <a:lnTo>
                          <a:pt x="469" y="538"/>
                        </a:lnTo>
                        <a:lnTo>
                          <a:pt x="491" y="526"/>
                        </a:lnTo>
                        <a:lnTo>
                          <a:pt x="511" y="512"/>
                        </a:lnTo>
                        <a:lnTo>
                          <a:pt x="528" y="499"/>
                        </a:lnTo>
                        <a:lnTo>
                          <a:pt x="542" y="484"/>
                        </a:lnTo>
                        <a:lnTo>
                          <a:pt x="547" y="477"/>
                        </a:lnTo>
                        <a:lnTo>
                          <a:pt x="552" y="469"/>
                        </a:lnTo>
                        <a:lnTo>
                          <a:pt x="558" y="461"/>
                        </a:lnTo>
                        <a:lnTo>
                          <a:pt x="561" y="453"/>
                        </a:lnTo>
                        <a:lnTo>
                          <a:pt x="564" y="446"/>
                        </a:lnTo>
                        <a:lnTo>
                          <a:pt x="566" y="438"/>
                        </a:lnTo>
                        <a:lnTo>
                          <a:pt x="566" y="438"/>
                        </a:lnTo>
                        <a:lnTo>
                          <a:pt x="568" y="427"/>
                        </a:lnTo>
                        <a:lnTo>
                          <a:pt x="569" y="417"/>
                        </a:lnTo>
                        <a:lnTo>
                          <a:pt x="568" y="406"/>
                        </a:lnTo>
                        <a:lnTo>
                          <a:pt x="567" y="395"/>
                        </a:lnTo>
                        <a:lnTo>
                          <a:pt x="565" y="385"/>
                        </a:lnTo>
                        <a:lnTo>
                          <a:pt x="562" y="375"/>
                        </a:lnTo>
                        <a:lnTo>
                          <a:pt x="558" y="363"/>
                        </a:lnTo>
                        <a:lnTo>
                          <a:pt x="554" y="353"/>
                        </a:lnTo>
                        <a:lnTo>
                          <a:pt x="543" y="333"/>
                        </a:lnTo>
                        <a:lnTo>
                          <a:pt x="531" y="314"/>
                        </a:lnTo>
                        <a:lnTo>
                          <a:pt x="517" y="296"/>
                        </a:lnTo>
                        <a:lnTo>
                          <a:pt x="504" y="279"/>
                        </a:lnTo>
                        <a:lnTo>
                          <a:pt x="504" y="279"/>
                        </a:lnTo>
                        <a:lnTo>
                          <a:pt x="504" y="279"/>
                        </a:lnTo>
                        <a:lnTo>
                          <a:pt x="504" y="279"/>
                        </a:lnTo>
                        <a:lnTo>
                          <a:pt x="495" y="269"/>
                        </a:lnTo>
                        <a:lnTo>
                          <a:pt x="485" y="260"/>
                        </a:lnTo>
                        <a:lnTo>
                          <a:pt x="475" y="250"/>
                        </a:lnTo>
                        <a:lnTo>
                          <a:pt x="463" y="242"/>
                        </a:lnTo>
                        <a:lnTo>
                          <a:pt x="453" y="235"/>
                        </a:lnTo>
                        <a:lnTo>
                          <a:pt x="441" y="228"/>
                        </a:lnTo>
                        <a:lnTo>
                          <a:pt x="417" y="215"/>
                        </a:lnTo>
                        <a:lnTo>
                          <a:pt x="391" y="205"/>
                        </a:lnTo>
                        <a:lnTo>
                          <a:pt x="363" y="195"/>
                        </a:lnTo>
                        <a:lnTo>
                          <a:pt x="335" y="186"/>
                        </a:lnTo>
                        <a:lnTo>
                          <a:pt x="305" y="177"/>
                        </a:lnTo>
                        <a:lnTo>
                          <a:pt x="305" y="177"/>
                        </a:lnTo>
                        <a:lnTo>
                          <a:pt x="253" y="160"/>
                        </a:lnTo>
                        <a:lnTo>
                          <a:pt x="226" y="152"/>
                        </a:lnTo>
                        <a:lnTo>
                          <a:pt x="200" y="142"/>
                        </a:lnTo>
                        <a:lnTo>
                          <a:pt x="173" y="130"/>
                        </a:lnTo>
                        <a:lnTo>
                          <a:pt x="146" y="117"/>
                        </a:lnTo>
                        <a:lnTo>
                          <a:pt x="119" y="102"/>
                        </a:lnTo>
                        <a:lnTo>
                          <a:pt x="92" y="85"/>
                        </a:lnTo>
                        <a:lnTo>
                          <a:pt x="92"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206" name="Freeform 50">
                    <a:extLst>
                      <a:ext uri="{FF2B5EF4-FFF2-40B4-BE49-F238E27FC236}">
                        <a16:creationId xmlns:a16="http://schemas.microsoft.com/office/drawing/2014/main" id="{86070D03-A437-8900-8488-20412374E3DF}"/>
                      </a:ext>
                    </a:extLst>
                  </p:cNvPr>
                  <p:cNvSpPr>
                    <a:spLocks/>
                  </p:cNvSpPr>
                  <p:nvPr/>
                </p:nvSpPr>
                <p:spPr bwMode="auto">
                  <a:xfrm>
                    <a:off x="3497263" y="1863725"/>
                    <a:ext cx="176213" cy="169863"/>
                  </a:xfrm>
                  <a:custGeom>
                    <a:avLst/>
                    <a:gdLst>
                      <a:gd name="T0" fmla="*/ 445 w 778"/>
                      <a:gd name="T1" fmla="*/ 751 h 751"/>
                      <a:gd name="T2" fmla="*/ 435 w 778"/>
                      <a:gd name="T3" fmla="*/ 748 h 751"/>
                      <a:gd name="T4" fmla="*/ 422 w 778"/>
                      <a:gd name="T5" fmla="*/ 740 h 751"/>
                      <a:gd name="T6" fmla="*/ 415 w 778"/>
                      <a:gd name="T7" fmla="*/ 725 h 751"/>
                      <a:gd name="T8" fmla="*/ 405 w 778"/>
                      <a:gd name="T9" fmla="*/ 687 h 751"/>
                      <a:gd name="T10" fmla="*/ 370 w 778"/>
                      <a:gd name="T11" fmla="*/ 588 h 751"/>
                      <a:gd name="T12" fmla="*/ 307 w 778"/>
                      <a:gd name="T13" fmla="*/ 447 h 751"/>
                      <a:gd name="T14" fmla="*/ 263 w 778"/>
                      <a:gd name="T15" fmla="*/ 366 h 751"/>
                      <a:gd name="T16" fmla="*/ 208 w 778"/>
                      <a:gd name="T17" fmla="*/ 282 h 751"/>
                      <a:gd name="T18" fmla="*/ 144 w 778"/>
                      <a:gd name="T19" fmla="*/ 197 h 751"/>
                      <a:gd name="T20" fmla="*/ 68 w 778"/>
                      <a:gd name="T21" fmla="*/ 113 h 751"/>
                      <a:gd name="T22" fmla="*/ 11 w 778"/>
                      <a:gd name="T23" fmla="*/ 58 h 751"/>
                      <a:gd name="T24" fmla="*/ 1 w 778"/>
                      <a:gd name="T25" fmla="*/ 41 h 751"/>
                      <a:gd name="T26" fmla="*/ 2 w 778"/>
                      <a:gd name="T27" fmla="*/ 23 h 751"/>
                      <a:gd name="T28" fmla="*/ 8 w 778"/>
                      <a:gd name="T29" fmla="*/ 11 h 751"/>
                      <a:gd name="T30" fmla="*/ 25 w 778"/>
                      <a:gd name="T31" fmla="*/ 1 h 751"/>
                      <a:gd name="T32" fmla="*/ 44 w 778"/>
                      <a:gd name="T33" fmla="*/ 2 h 751"/>
                      <a:gd name="T34" fmla="*/ 55 w 778"/>
                      <a:gd name="T35" fmla="*/ 8 h 751"/>
                      <a:gd name="T36" fmla="*/ 120 w 778"/>
                      <a:gd name="T37" fmla="*/ 71 h 751"/>
                      <a:gd name="T38" fmla="*/ 214 w 778"/>
                      <a:gd name="T39" fmla="*/ 178 h 751"/>
                      <a:gd name="T40" fmla="*/ 304 w 778"/>
                      <a:gd name="T41" fmla="*/ 306 h 751"/>
                      <a:gd name="T42" fmla="*/ 372 w 778"/>
                      <a:gd name="T43" fmla="*/ 427 h 751"/>
                      <a:gd name="T44" fmla="*/ 422 w 778"/>
                      <a:gd name="T45" fmla="*/ 536 h 751"/>
                      <a:gd name="T46" fmla="*/ 454 w 778"/>
                      <a:gd name="T47" fmla="*/ 624 h 751"/>
                      <a:gd name="T48" fmla="*/ 498 w 778"/>
                      <a:gd name="T49" fmla="*/ 548 h 751"/>
                      <a:gd name="T50" fmla="*/ 542 w 778"/>
                      <a:gd name="T51" fmla="*/ 486 h 751"/>
                      <a:gd name="T52" fmla="*/ 595 w 778"/>
                      <a:gd name="T53" fmla="*/ 426 h 751"/>
                      <a:gd name="T54" fmla="*/ 658 w 778"/>
                      <a:gd name="T55" fmla="*/ 370 h 751"/>
                      <a:gd name="T56" fmla="*/ 730 w 778"/>
                      <a:gd name="T57" fmla="*/ 325 h 751"/>
                      <a:gd name="T58" fmla="*/ 743 w 778"/>
                      <a:gd name="T59" fmla="*/ 322 h 751"/>
                      <a:gd name="T60" fmla="*/ 761 w 778"/>
                      <a:gd name="T61" fmla="*/ 326 h 751"/>
                      <a:gd name="T62" fmla="*/ 774 w 778"/>
                      <a:gd name="T63" fmla="*/ 339 h 751"/>
                      <a:gd name="T64" fmla="*/ 778 w 778"/>
                      <a:gd name="T65" fmla="*/ 353 h 751"/>
                      <a:gd name="T66" fmla="*/ 774 w 778"/>
                      <a:gd name="T67" fmla="*/ 370 h 751"/>
                      <a:gd name="T68" fmla="*/ 760 w 778"/>
                      <a:gd name="T69" fmla="*/ 384 h 751"/>
                      <a:gd name="T70" fmla="*/ 726 w 778"/>
                      <a:gd name="T71" fmla="*/ 403 h 751"/>
                      <a:gd name="T72" fmla="*/ 680 w 778"/>
                      <a:gd name="T73" fmla="*/ 438 h 751"/>
                      <a:gd name="T74" fmla="*/ 637 w 778"/>
                      <a:gd name="T75" fmla="*/ 477 h 751"/>
                      <a:gd name="T76" fmla="*/ 569 w 778"/>
                      <a:gd name="T77" fmla="*/ 562 h 751"/>
                      <a:gd name="T78" fmla="*/ 519 w 778"/>
                      <a:gd name="T79" fmla="*/ 644 h 751"/>
                      <a:gd name="T80" fmla="*/ 483 w 778"/>
                      <a:gd name="T81" fmla="*/ 718 h 751"/>
                      <a:gd name="T82" fmla="*/ 476 w 778"/>
                      <a:gd name="T83" fmla="*/ 735 h 751"/>
                      <a:gd name="T84" fmla="*/ 466 w 778"/>
                      <a:gd name="T85" fmla="*/ 745 h 751"/>
                      <a:gd name="T86" fmla="*/ 452 w 778"/>
                      <a:gd name="T87" fmla="*/ 751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78" h="751">
                        <a:moveTo>
                          <a:pt x="447" y="751"/>
                        </a:moveTo>
                        <a:lnTo>
                          <a:pt x="447" y="751"/>
                        </a:lnTo>
                        <a:lnTo>
                          <a:pt x="445" y="751"/>
                        </a:lnTo>
                        <a:lnTo>
                          <a:pt x="445" y="751"/>
                        </a:lnTo>
                        <a:lnTo>
                          <a:pt x="440" y="750"/>
                        </a:lnTo>
                        <a:lnTo>
                          <a:pt x="435" y="748"/>
                        </a:lnTo>
                        <a:lnTo>
                          <a:pt x="429" y="746"/>
                        </a:lnTo>
                        <a:lnTo>
                          <a:pt x="425" y="743"/>
                        </a:lnTo>
                        <a:lnTo>
                          <a:pt x="422" y="740"/>
                        </a:lnTo>
                        <a:lnTo>
                          <a:pt x="419" y="735"/>
                        </a:lnTo>
                        <a:lnTo>
                          <a:pt x="417" y="730"/>
                        </a:lnTo>
                        <a:lnTo>
                          <a:pt x="415" y="725"/>
                        </a:lnTo>
                        <a:lnTo>
                          <a:pt x="415" y="725"/>
                        </a:lnTo>
                        <a:lnTo>
                          <a:pt x="411" y="707"/>
                        </a:lnTo>
                        <a:lnTo>
                          <a:pt x="405" y="687"/>
                        </a:lnTo>
                        <a:lnTo>
                          <a:pt x="396" y="659"/>
                        </a:lnTo>
                        <a:lnTo>
                          <a:pt x="385" y="626"/>
                        </a:lnTo>
                        <a:lnTo>
                          <a:pt x="370" y="588"/>
                        </a:lnTo>
                        <a:lnTo>
                          <a:pt x="353" y="544"/>
                        </a:lnTo>
                        <a:lnTo>
                          <a:pt x="332" y="498"/>
                        </a:lnTo>
                        <a:lnTo>
                          <a:pt x="307" y="447"/>
                        </a:lnTo>
                        <a:lnTo>
                          <a:pt x="294" y="420"/>
                        </a:lnTo>
                        <a:lnTo>
                          <a:pt x="278" y="394"/>
                        </a:lnTo>
                        <a:lnTo>
                          <a:pt x="263" y="366"/>
                        </a:lnTo>
                        <a:lnTo>
                          <a:pt x="245" y="338"/>
                        </a:lnTo>
                        <a:lnTo>
                          <a:pt x="228" y="310"/>
                        </a:lnTo>
                        <a:lnTo>
                          <a:pt x="208" y="282"/>
                        </a:lnTo>
                        <a:lnTo>
                          <a:pt x="188" y="253"/>
                        </a:lnTo>
                        <a:lnTo>
                          <a:pt x="167" y="225"/>
                        </a:lnTo>
                        <a:lnTo>
                          <a:pt x="144" y="197"/>
                        </a:lnTo>
                        <a:lnTo>
                          <a:pt x="120" y="169"/>
                        </a:lnTo>
                        <a:lnTo>
                          <a:pt x="94" y="141"/>
                        </a:lnTo>
                        <a:lnTo>
                          <a:pt x="68" y="113"/>
                        </a:lnTo>
                        <a:lnTo>
                          <a:pt x="40" y="85"/>
                        </a:lnTo>
                        <a:lnTo>
                          <a:pt x="11" y="58"/>
                        </a:lnTo>
                        <a:lnTo>
                          <a:pt x="11" y="58"/>
                        </a:lnTo>
                        <a:lnTo>
                          <a:pt x="6" y="53"/>
                        </a:lnTo>
                        <a:lnTo>
                          <a:pt x="3" y="48"/>
                        </a:lnTo>
                        <a:lnTo>
                          <a:pt x="1" y="41"/>
                        </a:lnTo>
                        <a:lnTo>
                          <a:pt x="0" y="35"/>
                        </a:lnTo>
                        <a:lnTo>
                          <a:pt x="0" y="29"/>
                        </a:lnTo>
                        <a:lnTo>
                          <a:pt x="2" y="23"/>
                        </a:lnTo>
                        <a:lnTo>
                          <a:pt x="5" y="16"/>
                        </a:lnTo>
                        <a:lnTo>
                          <a:pt x="8" y="11"/>
                        </a:lnTo>
                        <a:lnTo>
                          <a:pt x="8" y="11"/>
                        </a:lnTo>
                        <a:lnTo>
                          <a:pt x="13" y="6"/>
                        </a:lnTo>
                        <a:lnTo>
                          <a:pt x="20" y="3"/>
                        </a:lnTo>
                        <a:lnTo>
                          <a:pt x="25" y="1"/>
                        </a:lnTo>
                        <a:lnTo>
                          <a:pt x="31" y="0"/>
                        </a:lnTo>
                        <a:lnTo>
                          <a:pt x="38" y="0"/>
                        </a:lnTo>
                        <a:lnTo>
                          <a:pt x="44" y="2"/>
                        </a:lnTo>
                        <a:lnTo>
                          <a:pt x="50" y="5"/>
                        </a:lnTo>
                        <a:lnTo>
                          <a:pt x="55" y="8"/>
                        </a:lnTo>
                        <a:lnTo>
                          <a:pt x="55" y="8"/>
                        </a:lnTo>
                        <a:lnTo>
                          <a:pt x="78" y="29"/>
                        </a:lnTo>
                        <a:lnTo>
                          <a:pt x="99" y="50"/>
                        </a:lnTo>
                        <a:lnTo>
                          <a:pt x="120" y="71"/>
                        </a:lnTo>
                        <a:lnTo>
                          <a:pt x="141" y="92"/>
                        </a:lnTo>
                        <a:lnTo>
                          <a:pt x="178" y="134"/>
                        </a:lnTo>
                        <a:lnTo>
                          <a:pt x="214" y="178"/>
                        </a:lnTo>
                        <a:lnTo>
                          <a:pt x="246" y="221"/>
                        </a:lnTo>
                        <a:lnTo>
                          <a:pt x="276" y="264"/>
                        </a:lnTo>
                        <a:lnTo>
                          <a:pt x="304" y="306"/>
                        </a:lnTo>
                        <a:lnTo>
                          <a:pt x="329" y="348"/>
                        </a:lnTo>
                        <a:lnTo>
                          <a:pt x="352" y="388"/>
                        </a:lnTo>
                        <a:lnTo>
                          <a:pt x="372" y="427"/>
                        </a:lnTo>
                        <a:lnTo>
                          <a:pt x="391" y="466"/>
                        </a:lnTo>
                        <a:lnTo>
                          <a:pt x="408" y="502"/>
                        </a:lnTo>
                        <a:lnTo>
                          <a:pt x="422" y="536"/>
                        </a:lnTo>
                        <a:lnTo>
                          <a:pt x="435" y="568"/>
                        </a:lnTo>
                        <a:lnTo>
                          <a:pt x="445" y="597"/>
                        </a:lnTo>
                        <a:lnTo>
                          <a:pt x="454" y="624"/>
                        </a:lnTo>
                        <a:lnTo>
                          <a:pt x="454" y="624"/>
                        </a:lnTo>
                        <a:lnTo>
                          <a:pt x="474" y="588"/>
                        </a:lnTo>
                        <a:lnTo>
                          <a:pt x="498" y="548"/>
                        </a:lnTo>
                        <a:lnTo>
                          <a:pt x="511" y="528"/>
                        </a:lnTo>
                        <a:lnTo>
                          <a:pt x="527" y="508"/>
                        </a:lnTo>
                        <a:lnTo>
                          <a:pt x="542" y="486"/>
                        </a:lnTo>
                        <a:lnTo>
                          <a:pt x="559" y="467"/>
                        </a:lnTo>
                        <a:lnTo>
                          <a:pt x="576" y="446"/>
                        </a:lnTo>
                        <a:lnTo>
                          <a:pt x="595" y="426"/>
                        </a:lnTo>
                        <a:lnTo>
                          <a:pt x="615" y="407"/>
                        </a:lnTo>
                        <a:lnTo>
                          <a:pt x="635" y="388"/>
                        </a:lnTo>
                        <a:lnTo>
                          <a:pt x="658" y="370"/>
                        </a:lnTo>
                        <a:lnTo>
                          <a:pt x="681" y="354"/>
                        </a:lnTo>
                        <a:lnTo>
                          <a:pt x="705" y="338"/>
                        </a:lnTo>
                        <a:lnTo>
                          <a:pt x="730" y="325"/>
                        </a:lnTo>
                        <a:lnTo>
                          <a:pt x="730" y="325"/>
                        </a:lnTo>
                        <a:lnTo>
                          <a:pt x="737" y="323"/>
                        </a:lnTo>
                        <a:lnTo>
                          <a:pt x="743" y="322"/>
                        </a:lnTo>
                        <a:lnTo>
                          <a:pt x="749" y="322"/>
                        </a:lnTo>
                        <a:lnTo>
                          <a:pt x="755" y="323"/>
                        </a:lnTo>
                        <a:lnTo>
                          <a:pt x="761" y="326"/>
                        </a:lnTo>
                        <a:lnTo>
                          <a:pt x="767" y="329"/>
                        </a:lnTo>
                        <a:lnTo>
                          <a:pt x="771" y="334"/>
                        </a:lnTo>
                        <a:lnTo>
                          <a:pt x="774" y="339"/>
                        </a:lnTo>
                        <a:lnTo>
                          <a:pt x="774" y="339"/>
                        </a:lnTo>
                        <a:lnTo>
                          <a:pt x="777" y="346"/>
                        </a:lnTo>
                        <a:lnTo>
                          <a:pt x="778" y="353"/>
                        </a:lnTo>
                        <a:lnTo>
                          <a:pt x="777" y="359"/>
                        </a:lnTo>
                        <a:lnTo>
                          <a:pt x="776" y="365"/>
                        </a:lnTo>
                        <a:lnTo>
                          <a:pt x="774" y="370"/>
                        </a:lnTo>
                        <a:lnTo>
                          <a:pt x="770" y="376"/>
                        </a:lnTo>
                        <a:lnTo>
                          <a:pt x="766" y="381"/>
                        </a:lnTo>
                        <a:lnTo>
                          <a:pt x="760" y="384"/>
                        </a:lnTo>
                        <a:lnTo>
                          <a:pt x="760" y="384"/>
                        </a:lnTo>
                        <a:lnTo>
                          <a:pt x="743" y="393"/>
                        </a:lnTo>
                        <a:lnTo>
                          <a:pt x="726" y="403"/>
                        </a:lnTo>
                        <a:lnTo>
                          <a:pt x="710" y="414"/>
                        </a:lnTo>
                        <a:lnTo>
                          <a:pt x="694" y="425"/>
                        </a:lnTo>
                        <a:lnTo>
                          <a:pt x="680" y="438"/>
                        </a:lnTo>
                        <a:lnTo>
                          <a:pt x="665" y="450"/>
                        </a:lnTo>
                        <a:lnTo>
                          <a:pt x="651" y="463"/>
                        </a:lnTo>
                        <a:lnTo>
                          <a:pt x="637" y="477"/>
                        </a:lnTo>
                        <a:lnTo>
                          <a:pt x="613" y="505"/>
                        </a:lnTo>
                        <a:lnTo>
                          <a:pt x="590" y="533"/>
                        </a:lnTo>
                        <a:lnTo>
                          <a:pt x="569" y="562"/>
                        </a:lnTo>
                        <a:lnTo>
                          <a:pt x="550" y="591"/>
                        </a:lnTo>
                        <a:lnTo>
                          <a:pt x="534" y="618"/>
                        </a:lnTo>
                        <a:lnTo>
                          <a:pt x="519" y="644"/>
                        </a:lnTo>
                        <a:lnTo>
                          <a:pt x="507" y="667"/>
                        </a:lnTo>
                        <a:lnTo>
                          <a:pt x="497" y="688"/>
                        </a:lnTo>
                        <a:lnTo>
                          <a:pt x="483" y="718"/>
                        </a:lnTo>
                        <a:lnTo>
                          <a:pt x="478" y="729"/>
                        </a:lnTo>
                        <a:lnTo>
                          <a:pt x="478" y="729"/>
                        </a:lnTo>
                        <a:lnTo>
                          <a:pt x="476" y="735"/>
                        </a:lnTo>
                        <a:lnTo>
                          <a:pt x="473" y="739"/>
                        </a:lnTo>
                        <a:lnTo>
                          <a:pt x="470" y="742"/>
                        </a:lnTo>
                        <a:lnTo>
                          <a:pt x="466" y="745"/>
                        </a:lnTo>
                        <a:lnTo>
                          <a:pt x="461" y="748"/>
                        </a:lnTo>
                        <a:lnTo>
                          <a:pt x="457" y="749"/>
                        </a:lnTo>
                        <a:lnTo>
                          <a:pt x="452" y="751"/>
                        </a:lnTo>
                        <a:lnTo>
                          <a:pt x="447" y="751"/>
                        </a:lnTo>
                        <a:lnTo>
                          <a:pt x="447" y="7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207" name="Freeform 51">
                    <a:extLst>
                      <a:ext uri="{FF2B5EF4-FFF2-40B4-BE49-F238E27FC236}">
                        <a16:creationId xmlns:a16="http://schemas.microsoft.com/office/drawing/2014/main" id="{F16BD830-8996-5FF5-CE09-9DD553C182E8}"/>
                      </a:ext>
                    </a:extLst>
                  </p:cNvPr>
                  <p:cNvSpPr>
                    <a:spLocks noEditPoints="1"/>
                  </p:cNvSpPr>
                  <p:nvPr/>
                </p:nvSpPr>
                <p:spPr bwMode="auto">
                  <a:xfrm>
                    <a:off x="3395663" y="2019300"/>
                    <a:ext cx="76200" cy="134938"/>
                  </a:xfrm>
                  <a:custGeom>
                    <a:avLst/>
                    <a:gdLst>
                      <a:gd name="T0" fmla="*/ 297 w 330"/>
                      <a:gd name="T1" fmla="*/ 595 h 595"/>
                      <a:gd name="T2" fmla="*/ 33 w 330"/>
                      <a:gd name="T3" fmla="*/ 595 h 595"/>
                      <a:gd name="T4" fmla="*/ 33 w 330"/>
                      <a:gd name="T5" fmla="*/ 595 h 595"/>
                      <a:gd name="T6" fmla="*/ 26 w 330"/>
                      <a:gd name="T7" fmla="*/ 594 h 595"/>
                      <a:gd name="T8" fmla="*/ 20 w 330"/>
                      <a:gd name="T9" fmla="*/ 592 h 595"/>
                      <a:gd name="T10" fmla="*/ 14 w 330"/>
                      <a:gd name="T11" fmla="*/ 589 h 595"/>
                      <a:gd name="T12" fmla="*/ 9 w 330"/>
                      <a:gd name="T13" fmla="*/ 586 h 595"/>
                      <a:gd name="T14" fmla="*/ 5 w 330"/>
                      <a:gd name="T15" fmla="*/ 581 h 595"/>
                      <a:gd name="T16" fmla="*/ 2 w 330"/>
                      <a:gd name="T17" fmla="*/ 574 h 595"/>
                      <a:gd name="T18" fmla="*/ 0 w 330"/>
                      <a:gd name="T19" fmla="*/ 568 h 595"/>
                      <a:gd name="T20" fmla="*/ 0 w 330"/>
                      <a:gd name="T21" fmla="*/ 562 h 595"/>
                      <a:gd name="T22" fmla="*/ 0 w 330"/>
                      <a:gd name="T23" fmla="*/ 33 h 595"/>
                      <a:gd name="T24" fmla="*/ 0 w 330"/>
                      <a:gd name="T25" fmla="*/ 33 h 595"/>
                      <a:gd name="T26" fmla="*/ 0 w 330"/>
                      <a:gd name="T27" fmla="*/ 26 h 595"/>
                      <a:gd name="T28" fmla="*/ 2 w 330"/>
                      <a:gd name="T29" fmla="*/ 20 h 595"/>
                      <a:gd name="T30" fmla="*/ 5 w 330"/>
                      <a:gd name="T31" fmla="*/ 15 h 595"/>
                      <a:gd name="T32" fmla="*/ 9 w 330"/>
                      <a:gd name="T33" fmla="*/ 9 h 595"/>
                      <a:gd name="T34" fmla="*/ 14 w 330"/>
                      <a:gd name="T35" fmla="*/ 5 h 595"/>
                      <a:gd name="T36" fmla="*/ 20 w 330"/>
                      <a:gd name="T37" fmla="*/ 2 h 595"/>
                      <a:gd name="T38" fmla="*/ 26 w 330"/>
                      <a:gd name="T39" fmla="*/ 1 h 595"/>
                      <a:gd name="T40" fmla="*/ 33 w 330"/>
                      <a:gd name="T41" fmla="*/ 0 h 595"/>
                      <a:gd name="T42" fmla="*/ 297 w 330"/>
                      <a:gd name="T43" fmla="*/ 0 h 595"/>
                      <a:gd name="T44" fmla="*/ 297 w 330"/>
                      <a:gd name="T45" fmla="*/ 0 h 595"/>
                      <a:gd name="T46" fmla="*/ 304 w 330"/>
                      <a:gd name="T47" fmla="*/ 1 h 595"/>
                      <a:gd name="T48" fmla="*/ 310 w 330"/>
                      <a:gd name="T49" fmla="*/ 2 h 595"/>
                      <a:gd name="T50" fmla="*/ 316 w 330"/>
                      <a:gd name="T51" fmla="*/ 5 h 595"/>
                      <a:gd name="T52" fmla="*/ 321 w 330"/>
                      <a:gd name="T53" fmla="*/ 9 h 595"/>
                      <a:gd name="T54" fmla="*/ 325 w 330"/>
                      <a:gd name="T55" fmla="*/ 15 h 595"/>
                      <a:gd name="T56" fmla="*/ 328 w 330"/>
                      <a:gd name="T57" fmla="*/ 20 h 595"/>
                      <a:gd name="T58" fmla="*/ 330 w 330"/>
                      <a:gd name="T59" fmla="*/ 26 h 595"/>
                      <a:gd name="T60" fmla="*/ 330 w 330"/>
                      <a:gd name="T61" fmla="*/ 33 h 595"/>
                      <a:gd name="T62" fmla="*/ 330 w 330"/>
                      <a:gd name="T63" fmla="*/ 562 h 595"/>
                      <a:gd name="T64" fmla="*/ 330 w 330"/>
                      <a:gd name="T65" fmla="*/ 562 h 595"/>
                      <a:gd name="T66" fmla="*/ 330 w 330"/>
                      <a:gd name="T67" fmla="*/ 568 h 595"/>
                      <a:gd name="T68" fmla="*/ 328 w 330"/>
                      <a:gd name="T69" fmla="*/ 574 h 595"/>
                      <a:gd name="T70" fmla="*/ 325 w 330"/>
                      <a:gd name="T71" fmla="*/ 581 h 595"/>
                      <a:gd name="T72" fmla="*/ 321 w 330"/>
                      <a:gd name="T73" fmla="*/ 586 h 595"/>
                      <a:gd name="T74" fmla="*/ 316 w 330"/>
                      <a:gd name="T75" fmla="*/ 589 h 595"/>
                      <a:gd name="T76" fmla="*/ 310 w 330"/>
                      <a:gd name="T77" fmla="*/ 592 h 595"/>
                      <a:gd name="T78" fmla="*/ 304 w 330"/>
                      <a:gd name="T79" fmla="*/ 594 h 595"/>
                      <a:gd name="T80" fmla="*/ 297 w 330"/>
                      <a:gd name="T81" fmla="*/ 595 h 595"/>
                      <a:gd name="T82" fmla="*/ 297 w 330"/>
                      <a:gd name="T83" fmla="*/ 595 h 595"/>
                      <a:gd name="T84" fmla="*/ 66 w 330"/>
                      <a:gd name="T85" fmla="*/ 529 h 595"/>
                      <a:gd name="T86" fmla="*/ 264 w 330"/>
                      <a:gd name="T87" fmla="*/ 529 h 595"/>
                      <a:gd name="T88" fmla="*/ 264 w 330"/>
                      <a:gd name="T89" fmla="*/ 66 h 595"/>
                      <a:gd name="T90" fmla="*/ 66 w 330"/>
                      <a:gd name="T91" fmla="*/ 66 h 595"/>
                      <a:gd name="T92" fmla="*/ 66 w 330"/>
                      <a:gd name="T93" fmla="*/ 529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595">
                        <a:moveTo>
                          <a:pt x="297" y="595"/>
                        </a:moveTo>
                        <a:lnTo>
                          <a:pt x="33" y="595"/>
                        </a:lnTo>
                        <a:lnTo>
                          <a:pt x="33" y="595"/>
                        </a:lnTo>
                        <a:lnTo>
                          <a:pt x="26" y="594"/>
                        </a:lnTo>
                        <a:lnTo>
                          <a:pt x="20" y="592"/>
                        </a:lnTo>
                        <a:lnTo>
                          <a:pt x="14" y="589"/>
                        </a:lnTo>
                        <a:lnTo>
                          <a:pt x="9" y="586"/>
                        </a:lnTo>
                        <a:lnTo>
                          <a:pt x="5" y="581"/>
                        </a:lnTo>
                        <a:lnTo>
                          <a:pt x="2" y="574"/>
                        </a:lnTo>
                        <a:lnTo>
                          <a:pt x="0" y="568"/>
                        </a:lnTo>
                        <a:lnTo>
                          <a:pt x="0" y="562"/>
                        </a:lnTo>
                        <a:lnTo>
                          <a:pt x="0" y="33"/>
                        </a:lnTo>
                        <a:lnTo>
                          <a:pt x="0" y="33"/>
                        </a:lnTo>
                        <a:lnTo>
                          <a:pt x="0" y="26"/>
                        </a:lnTo>
                        <a:lnTo>
                          <a:pt x="2" y="20"/>
                        </a:lnTo>
                        <a:lnTo>
                          <a:pt x="5" y="15"/>
                        </a:lnTo>
                        <a:lnTo>
                          <a:pt x="9" y="9"/>
                        </a:lnTo>
                        <a:lnTo>
                          <a:pt x="14" y="5"/>
                        </a:lnTo>
                        <a:lnTo>
                          <a:pt x="20" y="2"/>
                        </a:lnTo>
                        <a:lnTo>
                          <a:pt x="26" y="1"/>
                        </a:lnTo>
                        <a:lnTo>
                          <a:pt x="33" y="0"/>
                        </a:lnTo>
                        <a:lnTo>
                          <a:pt x="297" y="0"/>
                        </a:lnTo>
                        <a:lnTo>
                          <a:pt x="297" y="0"/>
                        </a:lnTo>
                        <a:lnTo>
                          <a:pt x="304" y="1"/>
                        </a:lnTo>
                        <a:lnTo>
                          <a:pt x="310" y="2"/>
                        </a:lnTo>
                        <a:lnTo>
                          <a:pt x="316" y="5"/>
                        </a:lnTo>
                        <a:lnTo>
                          <a:pt x="321" y="9"/>
                        </a:lnTo>
                        <a:lnTo>
                          <a:pt x="325" y="15"/>
                        </a:lnTo>
                        <a:lnTo>
                          <a:pt x="328" y="20"/>
                        </a:lnTo>
                        <a:lnTo>
                          <a:pt x="330" y="26"/>
                        </a:lnTo>
                        <a:lnTo>
                          <a:pt x="330" y="33"/>
                        </a:lnTo>
                        <a:lnTo>
                          <a:pt x="330" y="562"/>
                        </a:lnTo>
                        <a:lnTo>
                          <a:pt x="330" y="562"/>
                        </a:lnTo>
                        <a:lnTo>
                          <a:pt x="330" y="568"/>
                        </a:lnTo>
                        <a:lnTo>
                          <a:pt x="328" y="574"/>
                        </a:lnTo>
                        <a:lnTo>
                          <a:pt x="325" y="581"/>
                        </a:lnTo>
                        <a:lnTo>
                          <a:pt x="321" y="586"/>
                        </a:lnTo>
                        <a:lnTo>
                          <a:pt x="316" y="589"/>
                        </a:lnTo>
                        <a:lnTo>
                          <a:pt x="310" y="592"/>
                        </a:lnTo>
                        <a:lnTo>
                          <a:pt x="304" y="594"/>
                        </a:lnTo>
                        <a:lnTo>
                          <a:pt x="297" y="595"/>
                        </a:lnTo>
                        <a:lnTo>
                          <a:pt x="297" y="595"/>
                        </a:lnTo>
                        <a:close/>
                        <a:moveTo>
                          <a:pt x="66" y="529"/>
                        </a:moveTo>
                        <a:lnTo>
                          <a:pt x="264" y="529"/>
                        </a:lnTo>
                        <a:lnTo>
                          <a:pt x="264" y="66"/>
                        </a:lnTo>
                        <a:lnTo>
                          <a:pt x="66" y="66"/>
                        </a:lnTo>
                        <a:lnTo>
                          <a:pt x="66" y="5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208" name="Freeform 52">
                    <a:extLst>
                      <a:ext uri="{FF2B5EF4-FFF2-40B4-BE49-F238E27FC236}">
                        <a16:creationId xmlns:a16="http://schemas.microsoft.com/office/drawing/2014/main" id="{AEFEB700-1E9A-92F5-42BE-B20CCD7BB7A3}"/>
                      </a:ext>
                    </a:extLst>
                  </p:cNvPr>
                  <p:cNvSpPr>
                    <a:spLocks/>
                  </p:cNvSpPr>
                  <p:nvPr/>
                </p:nvSpPr>
                <p:spPr bwMode="auto">
                  <a:xfrm>
                    <a:off x="3455988" y="2062163"/>
                    <a:ext cx="300038" cy="106363"/>
                  </a:xfrm>
                  <a:custGeom>
                    <a:avLst/>
                    <a:gdLst>
                      <a:gd name="T0" fmla="*/ 562 w 1322"/>
                      <a:gd name="T1" fmla="*/ 467 h 468"/>
                      <a:gd name="T2" fmla="*/ 512 w 1322"/>
                      <a:gd name="T3" fmla="*/ 462 h 468"/>
                      <a:gd name="T4" fmla="*/ 396 w 1322"/>
                      <a:gd name="T5" fmla="*/ 432 h 468"/>
                      <a:gd name="T6" fmla="*/ 240 w 1322"/>
                      <a:gd name="T7" fmla="*/ 379 h 468"/>
                      <a:gd name="T8" fmla="*/ 23 w 1322"/>
                      <a:gd name="T9" fmla="*/ 304 h 468"/>
                      <a:gd name="T10" fmla="*/ 7 w 1322"/>
                      <a:gd name="T11" fmla="*/ 293 h 468"/>
                      <a:gd name="T12" fmla="*/ 0 w 1322"/>
                      <a:gd name="T13" fmla="*/ 276 h 468"/>
                      <a:gd name="T14" fmla="*/ 2 w 1322"/>
                      <a:gd name="T15" fmla="*/ 262 h 468"/>
                      <a:gd name="T16" fmla="*/ 13 w 1322"/>
                      <a:gd name="T17" fmla="*/ 247 h 468"/>
                      <a:gd name="T18" fmla="*/ 31 w 1322"/>
                      <a:gd name="T19" fmla="*/ 239 h 468"/>
                      <a:gd name="T20" fmla="*/ 43 w 1322"/>
                      <a:gd name="T21" fmla="*/ 242 h 468"/>
                      <a:gd name="T22" fmla="*/ 262 w 1322"/>
                      <a:gd name="T23" fmla="*/ 316 h 468"/>
                      <a:gd name="T24" fmla="*/ 462 w 1322"/>
                      <a:gd name="T25" fmla="*/ 382 h 468"/>
                      <a:gd name="T26" fmla="*/ 535 w 1322"/>
                      <a:gd name="T27" fmla="*/ 397 h 468"/>
                      <a:gd name="T28" fmla="*/ 582 w 1322"/>
                      <a:gd name="T29" fmla="*/ 400 h 468"/>
                      <a:gd name="T30" fmla="*/ 629 w 1322"/>
                      <a:gd name="T31" fmla="*/ 395 h 468"/>
                      <a:gd name="T32" fmla="*/ 678 w 1322"/>
                      <a:gd name="T33" fmla="*/ 381 h 468"/>
                      <a:gd name="T34" fmla="*/ 772 w 1322"/>
                      <a:gd name="T35" fmla="*/ 341 h 468"/>
                      <a:gd name="T36" fmla="*/ 925 w 1322"/>
                      <a:gd name="T37" fmla="*/ 260 h 468"/>
                      <a:gd name="T38" fmla="*/ 1231 w 1322"/>
                      <a:gd name="T39" fmla="*/ 100 h 468"/>
                      <a:gd name="T40" fmla="*/ 1196 w 1322"/>
                      <a:gd name="T41" fmla="*/ 78 h 468"/>
                      <a:gd name="T42" fmla="*/ 1147 w 1322"/>
                      <a:gd name="T43" fmla="*/ 66 h 468"/>
                      <a:gd name="T44" fmla="*/ 1100 w 1322"/>
                      <a:gd name="T45" fmla="*/ 73 h 468"/>
                      <a:gd name="T46" fmla="*/ 802 w 1322"/>
                      <a:gd name="T47" fmla="*/ 171 h 468"/>
                      <a:gd name="T48" fmla="*/ 783 w 1322"/>
                      <a:gd name="T49" fmla="*/ 168 h 468"/>
                      <a:gd name="T50" fmla="*/ 770 w 1322"/>
                      <a:gd name="T51" fmla="*/ 155 h 468"/>
                      <a:gd name="T52" fmla="*/ 765 w 1322"/>
                      <a:gd name="T53" fmla="*/ 142 h 468"/>
                      <a:gd name="T54" fmla="*/ 769 w 1322"/>
                      <a:gd name="T55" fmla="*/ 124 h 468"/>
                      <a:gd name="T56" fmla="*/ 781 w 1322"/>
                      <a:gd name="T57" fmla="*/ 110 h 468"/>
                      <a:gd name="T58" fmla="*/ 1080 w 1322"/>
                      <a:gd name="T59" fmla="*/ 10 h 468"/>
                      <a:gd name="T60" fmla="*/ 1128 w 1322"/>
                      <a:gd name="T61" fmla="*/ 0 h 468"/>
                      <a:gd name="T62" fmla="*/ 1172 w 1322"/>
                      <a:gd name="T63" fmla="*/ 1 h 468"/>
                      <a:gd name="T64" fmla="*/ 1215 w 1322"/>
                      <a:gd name="T65" fmla="*/ 14 h 468"/>
                      <a:gd name="T66" fmla="*/ 1256 w 1322"/>
                      <a:gd name="T67" fmla="*/ 37 h 468"/>
                      <a:gd name="T68" fmla="*/ 1299 w 1322"/>
                      <a:gd name="T69" fmla="*/ 70 h 468"/>
                      <a:gd name="T70" fmla="*/ 1317 w 1322"/>
                      <a:gd name="T71" fmla="*/ 90 h 468"/>
                      <a:gd name="T72" fmla="*/ 1322 w 1322"/>
                      <a:gd name="T73" fmla="*/ 112 h 468"/>
                      <a:gd name="T74" fmla="*/ 1316 w 1322"/>
                      <a:gd name="T75" fmla="*/ 127 h 468"/>
                      <a:gd name="T76" fmla="*/ 1304 w 1322"/>
                      <a:gd name="T77" fmla="*/ 137 h 468"/>
                      <a:gd name="T78" fmla="*/ 956 w 1322"/>
                      <a:gd name="T79" fmla="*/ 318 h 468"/>
                      <a:gd name="T80" fmla="*/ 831 w 1322"/>
                      <a:gd name="T81" fmla="*/ 385 h 468"/>
                      <a:gd name="T82" fmla="*/ 733 w 1322"/>
                      <a:gd name="T83" fmla="*/ 432 h 468"/>
                      <a:gd name="T84" fmla="*/ 671 w 1322"/>
                      <a:gd name="T85" fmla="*/ 454 h 468"/>
                      <a:gd name="T86" fmla="*/ 615 w 1322"/>
                      <a:gd name="T87" fmla="*/ 465 h 468"/>
                      <a:gd name="T88" fmla="*/ 577 w 1322"/>
                      <a:gd name="T89"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2" h="468">
                        <a:moveTo>
                          <a:pt x="577" y="468"/>
                        </a:moveTo>
                        <a:lnTo>
                          <a:pt x="577" y="468"/>
                        </a:lnTo>
                        <a:lnTo>
                          <a:pt x="562" y="467"/>
                        </a:lnTo>
                        <a:lnTo>
                          <a:pt x="545" y="466"/>
                        </a:lnTo>
                        <a:lnTo>
                          <a:pt x="530" y="464"/>
                        </a:lnTo>
                        <a:lnTo>
                          <a:pt x="512" y="462"/>
                        </a:lnTo>
                        <a:lnTo>
                          <a:pt x="477" y="455"/>
                        </a:lnTo>
                        <a:lnTo>
                          <a:pt x="439" y="444"/>
                        </a:lnTo>
                        <a:lnTo>
                          <a:pt x="396" y="432"/>
                        </a:lnTo>
                        <a:lnTo>
                          <a:pt x="350" y="417"/>
                        </a:lnTo>
                        <a:lnTo>
                          <a:pt x="240" y="379"/>
                        </a:lnTo>
                        <a:lnTo>
                          <a:pt x="240" y="379"/>
                        </a:lnTo>
                        <a:lnTo>
                          <a:pt x="141" y="344"/>
                        </a:lnTo>
                        <a:lnTo>
                          <a:pt x="23" y="304"/>
                        </a:lnTo>
                        <a:lnTo>
                          <a:pt x="23" y="304"/>
                        </a:lnTo>
                        <a:lnTo>
                          <a:pt x="16" y="302"/>
                        </a:lnTo>
                        <a:lnTo>
                          <a:pt x="11" y="297"/>
                        </a:lnTo>
                        <a:lnTo>
                          <a:pt x="7" y="293"/>
                        </a:lnTo>
                        <a:lnTo>
                          <a:pt x="4" y="287"/>
                        </a:lnTo>
                        <a:lnTo>
                          <a:pt x="1" y="282"/>
                        </a:lnTo>
                        <a:lnTo>
                          <a:pt x="0" y="276"/>
                        </a:lnTo>
                        <a:lnTo>
                          <a:pt x="1" y="268"/>
                        </a:lnTo>
                        <a:lnTo>
                          <a:pt x="2" y="262"/>
                        </a:lnTo>
                        <a:lnTo>
                          <a:pt x="2" y="262"/>
                        </a:lnTo>
                        <a:lnTo>
                          <a:pt x="5" y="256"/>
                        </a:lnTo>
                        <a:lnTo>
                          <a:pt x="8" y="251"/>
                        </a:lnTo>
                        <a:lnTo>
                          <a:pt x="13" y="247"/>
                        </a:lnTo>
                        <a:lnTo>
                          <a:pt x="18" y="244"/>
                        </a:lnTo>
                        <a:lnTo>
                          <a:pt x="25" y="241"/>
                        </a:lnTo>
                        <a:lnTo>
                          <a:pt x="31" y="239"/>
                        </a:lnTo>
                        <a:lnTo>
                          <a:pt x="37" y="239"/>
                        </a:lnTo>
                        <a:lnTo>
                          <a:pt x="43" y="242"/>
                        </a:lnTo>
                        <a:lnTo>
                          <a:pt x="43" y="242"/>
                        </a:lnTo>
                        <a:lnTo>
                          <a:pt x="162" y="282"/>
                        </a:lnTo>
                        <a:lnTo>
                          <a:pt x="262" y="316"/>
                        </a:lnTo>
                        <a:lnTo>
                          <a:pt x="262" y="316"/>
                        </a:lnTo>
                        <a:lnTo>
                          <a:pt x="374" y="355"/>
                        </a:lnTo>
                        <a:lnTo>
                          <a:pt x="421" y="371"/>
                        </a:lnTo>
                        <a:lnTo>
                          <a:pt x="462" y="382"/>
                        </a:lnTo>
                        <a:lnTo>
                          <a:pt x="500" y="392"/>
                        </a:lnTo>
                        <a:lnTo>
                          <a:pt x="517" y="395"/>
                        </a:lnTo>
                        <a:lnTo>
                          <a:pt x="535" y="397"/>
                        </a:lnTo>
                        <a:lnTo>
                          <a:pt x="551" y="399"/>
                        </a:lnTo>
                        <a:lnTo>
                          <a:pt x="567" y="400"/>
                        </a:lnTo>
                        <a:lnTo>
                          <a:pt x="582" y="400"/>
                        </a:lnTo>
                        <a:lnTo>
                          <a:pt x="598" y="399"/>
                        </a:lnTo>
                        <a:lnTo>
                          <a:pt x="614" y="397"/>
                        </a:lnTo>
                        <a:lnTo>
                          <a:pt x="629" y="395"/>
                        </a:lnTo>
                        <a:lnTo>
                          <a:pt x="646" y="391"/>
                        </a:lnTo>
                        <a:lnTo>
                          <a:pt x="661" y="386"/>
                        </a:lnTo>
                        <a:lnTo>
                          <a:pt x="678" y="381"/>
                        </a:lnTo>
                        <a:lnTo>
                          <a:pt x="695" y="375"/>
                        </a:lnTo>
                        <a:lnTo>
                          <a:pt x="731" y="359"/>
                        </a:lnTo>
                        <a:lnTo>
                          <a:pt x="772" y="341"/>
                        </a:lnTo>
                        <a:lnTo>
                          <a:pt x="817" y="318"/>
                        </a:lnTo>
                        <a:lnTo>
                          <a:pt x="925" y="260"/>
                        </a:lnTo>
                        <a:lnTo>
                          <a:pt x="925" y="260"/>
                        </a:lnTo>
                        <a:lnTo>
                          <a:pt x="1061" y="188"/>
                        </a:lnTo>
                        <a:lnTo>
                          <a:pt x="1141" y="145"/>
                        </a:lnTo>
                        <a:lnTo>
                          <a:pt x="1231" y="100"/>
                        </a:lnTo>
                        <a:lnTo>
                          <a:pt x="1231" y="100"/>
                        </a:lnTo>
                        <a:lnTo>
                          <a:pt x="1213" y="87"/>
                        </a:lnTo>
                        <a:lnTo>
                          <a:pt x="1196" y="78"/>
                        </a:lnTo>
                        <a:lnTo>
                          <a:pt x="1180" y="71"/>
                        </a:lnTo>
                        <a:lnTo>
                          <a:pt x="1163" y="68"/>
                        </a:lnTo>
                        <a:lnTo>
                          <a:pt x="1147" y="66"/>
                        </a:lnTo>
                        <a:lnTo>
                          <a:pt x="1132" y="67"/>
                        </a:lnTo>
                        <a:lnTo>
                          <a:pt x="1116" y="69"/>
                        </a:lnTo>
                        <a:lnTo>
                          <a:pt x="1100" y="73"/>
                        </a:lnTo>
                        <a:lnTo>
                          <a:pt x="808" y="170"/>
                        </a:lnTo>
                        <a:lnTo>
                          <a:pt x="808" y="170"/>
                        </a:lnTo>
                        <a:lnTo>
                          <a:pt x="802" y="171"/>
                        </a:lnTo>
                        <a:lnTo>
                          <a:pt x="796" y="171"/>
                        </a:lnTo>
                        <a:lnTo>
                          <a:pt x="789" y="170"/>
                        </a:lnTo>
                        <a:lnTo>
                          <a:pt x="783" y="168"/>
                        </a:lnTo>
                        <a:lnTo>
                          <a:pt x="778" y="165"/>
                        </a:lnTo>
                        <a:lnTo>
                          <a:pt x="773" y="161"/>
                        </a:lnTo>
                        <a:lnTo>
                          <a:pt x="770" y="155"/>
                        </a:lnTo>
                        <a:lnTo>
                          <a:pt x="767" y="149"/>
                        </a:lnTo>
                        <a:lnTo>
                          <a:pt x="767" y="149"/>
                        </a:lnTo>
                        <a:lnTo>
                          <a:pt x="765" y="142"/>
                        </a:lnTo>
                        <a:lnTo>
                          <a:pt x="765" y="136"/>
                        </a:lnTo>
                        <a:lnTo>
                          <a:pt x="766" y="130"/>
                        </a:lnTo>
                        <a:lnTo>
                          <a:pt x="769" y="124"/>
                        </a:lnTo>
                        <a:lnTo>
                          <a:pt x="772" y="118"/>
                        </a:lnTo>
                        <a:lnTo>
                          <a:pt x="776" y="113"/>
                        </a:lnTo>
                        <a:lnTo>
                          <a:pt x="781" y="110"/>
                        </a:lnTo>
                        <a:lnTo>
                          <a:pt x="787" y="107"/>
                        </a:lnTo>
                        <a:lnTo>
                          <a:pt x="1080" y="10"/>
                        </a:lnTo>
                        <a:lnTo>
                          <a:pt x="1080" y="10"/>
                        </a:lnTo>
                        <a:lnTo>
                          <a:pt x="1097" y="6"/>
                        </a:lnTo>
                        <a:lnTo>
                          <a:pt x="1112" y="3"/>
                        </a:lnTo>
                        <a:lnTo>
                          <a:pt x="1128" y="0"/>
                        </a:lnTo>
                        <a:lnTo>
                          <a:pt x="1143" y="0"/>
                        </a:lnTo>
                        <a:lnTo>
                          <a:pt x="1158" y="0"/>
                        </a:lnTo>
                        <a:lnTo>
                          <a:pt x="1172" y="1"/>
                        </a:lnTo>
                        <a:lnTo>
                          <a:pt x="1187" y="5"/>
                        </a:lnTo>
                        <a:lnTo>
                          <a:pt x="1200" y="9"/>
                        </a:lnTo>
                        <a:lnTo>
                          <a:pt x="1215" y="14"/>
                        </a:lnTo>
                        <a:lnTo>
                          <a:pt x="1228" y="20"/>
                        </a:lnTo>
                        <a:lnTo>
                          <a:pt x="1243" y="27"/>
                        </a:lnTo>
                        <a:lnTo>
                          <a:pt x="1256" y="37"/>
                        </a:lnTo>
                        <a:lnTo>
                          <a:pt x="1270" y="46"/>
                        </a:lnTo>
                        <a:lnTo>
                          <a:pt x="1284" y="57"/>
                        </a:lnTo>
                        <a:lnTo>
                          <a:pt x="1299" y="70"/>
                        </a:lnTo>
                        <a:lnTo>
                          <a:pt x="1313" y="84"/>
                        </a:lnTo>
                        <a:lnTo>
                          <a:pt x="1313" y="84"/>
                        </a:lnTo>
                        <a:lnTo>
                          <a:pt x="1317" y="90"/>
                        </a:lnTo>
                        <a:lnTo>
                          <a:pt x="1321" y="98"/>
                        </a:lnTo>
                        <a:lnTo>
                          <a:pt x="1322" y="105"/>
                        </a:lnTo>
                        <a:lnTo>
                          <a:pt x="1322" y="112"/>
                        </a:lnTo>
                        <a:lnTo>
                          <a:pt x="1322" y="112"/>
                        </a:lnTo>
                        <a:lnTo>
                          <a:pt x="1320" y="120"/>
                        </a:lnTo>
                        <a:lnTo>
                          <a:pt x="1316" y="127"/>
                        </a:lnTo>
                        <a:lnTo>
                          <a:pt x="1311" y="133"/>
                        </a:lnTo>
                        <a:lnTo>
                          <a:pt x="1304" y="137"/>
                        </a:lnTo>
                        <a:lnTo>
                          <a:pt x="1304" y="137"/>
                        </a:lnTo>
                        <a:lnTo>
                          <a:pt x="1200" y="190"/>
                        </a:lnTo>
                        <a:lnTo>
                          <a:pt x="1108" y="237"/>
                        </a:lnTo>
                        <a:lnTo>
                          <a:pt x="956" y="318"/>
                        </a:lnTo>
                        <a:lnTo>
                          <a:pt x="956" y="318"/>
                        </a:lnTo>
                        <a:lnTo>
                          <a:pt x="890" y="354"/>
                        </a:lnTo>
                        <a:lnTo>
                          <a:pt x="831" y="385"/>
                        </a:lnTo>
                        <a:lnTo>
                          <a:pt x="779" y="411"/>
                        </a:lnTo>
                        <a:lnTo>
                          <a:pt x="755" y="422"/>
                        </a:lnTo>
                        <a:lnTo>
                          <a:pt x="733" y="432"/>
                        </a:lnTo>
                        <a:lnTo>
                          <a:pt x="712" y="440"/>
                        </a:lnTo>
                        <a:lnTo>
                          <a:pt x="691" y="447"/>
                        </a:lnTo>
                        <a:lnTo>
                          <a:pt x="671" y="454"/>
                        </a:lnTo>
                        <a:lnTo>
                          <a:pt x="652" y="459"/>
                        </a:lnTo>
                        <a:lnTo>
                          <a:pt x="633" y="463"/>
                        </a:lnTo>
                        <a:lnTo>
                          <a:pt x="615" y="465"/>
                        </a:lnTo>
                        <a:lnTo>
                          <a:pt x="596" y="467"/>
                        </a:lnTo>
                        <a:lnTo>
                          <a:pt x="577" y="468"/>
                        </a:lnTo>
                        <a:lnTo>
                          <a:pt x="577" y="4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209" name="Freeform 53">
                    <a:extLst>
                      <a:ext uri="{FF2B5EF4-FFF2-40B4-BE49-F238E27FC236}">
                        <a16:creationId xmlns:a16="http://schemas.microsoft.com/office/drawing/2014/main" id="{9735C27B-4E24-F4D8-BC91-4B1594ADE78D}"/>
                      </a:ext>
                    </a:extLst>
                  </p:cNvPr>
                  <p:cNvSpPr>
                    <a:spLocks/>
                  </p:cNvSpPr>
                  <p:nvPr/>
                </p:nvSpPr>
                <p:spPr bwMode="auto">
                  <a:xfrm>
                    <a:off x="3455988" y="2035175"/>
                    <a:ext cx="190500" cy="74613"/>
                  </a:xfrm>
                  <a:custGeom>
                    <a:avLst/>
                    <a:gdLst>
                      <a:gd name="T0" fmla="*/ 364 w 839"/>
                      <a:gd name="T1" fmla="*/ 330 h 330"/>
                      <a:gd name="T2" fmla="*/ 345 w 839"/>
                      <a:gd name="T3" fmla="*/ 325 h 330"/>
                      <a:gd name="T4" fmla="*/ 333 w 839"/>
                      <a:gd name="T5" fmla="*/ 311 h 330"/>
                      <a:gd name="T6" fmla="*/ 331 w 839"/>
                      <a:gd name="T7" fmla="*/ 297 h 330"/>
                      <a:gd name="T8" fmla="*/ 336 w 839"/>
                      <a:gd name="T9" fmla="*/ 279 h 330"/>
                      <a:gd name="T10" fmla="*/ 351 w 839"/>
                      <a:gd name="T11" fmla="*/ 267 h 330"/>
                      <a:gd name="T12" fmla="*/ 727 w 839"/>
                      <a:gd name="T13" fmla="*/ 264 h 330"/>
                      <a:gd name="T14" fmla="*/ 749 w 839"/>
                      <a:gd name="T15" fmla="*/ 261 h 330"/>
                      <a:gd name="T16" fmla="*/ 768 w 839"/>
                      <a:gd name="T17" fmla="*/ 249 h 330"/>
                      <a:gd name="T18" fmla="*/ 773 w 839"/>
                      <a:gd name="T19" fmla="*/ 231 h 330"/>
                      <a:gd name="T20" fmla="*/ 771 w 839"/>
                      <a:gd name="T21" fmla="*/ 220 h 330"/>
                      <a:gd name="T22" fmla="*/ 757 w 839"/>
                      <a:gd name="T23" fmla="*/ 205 h 330"/>
                      <a:gd name="T24" fmla="*/ 727 w 839"/>
                      <a:gd name="T25" fmla="*/ 198 h 330"/>
                      <a:gd name="T26" fmla="*/ 522 w 839"/>
                      <a:gd name="T27" fmla="*/ 198 h 330"/>
                      <a:gd name="T28" fmla="*/ 506 w 839"/>
                      <a:gd name="T29" fmla="*/ 189 h 330"/>
                      <a:gd name="T30" fmla="*/ 467 w 839"/>
                      <a:gd name="T31" fmla="*/ 154 h 330"/>
                      <a:gd name="T32" fmla="*/ 423 w 839"/>
                      <a:gd name="T33" fmla="*/ 123 h 330"/>
                      <a:gd name="T34" fmla="*/ 368 w 839"/>
                      <a:gd name="T35" fmla="*/ 95 h 330"/>
                      <a:gd name="T36" fmla="*/ 304 w 839"/>
                      <a:gd name="T37" fmla="*/ 75 h 330"/>
                      <a:gd name="T38" fmla="*/ 232 w 839"/>
                      <a:gd name="T39" fmla="*/ 67 h 330"/>
                      <a:gd name="T40" fmla="*/ 27 w 839"/>
                      <a:gd name="T41" fmla="*/ 65 h 330"/>
                      <a:gd name="T42" fmla="*/ 10 w 839"/>
                      <a:gd name="T43" fmla="*/ 56 h 330"/>
                      <a:gd name="T44" fmla="*/ 1 w 839"/>
                      <a:gd name="T45" fmla="*/ 40 h 330"/>
                      <a:gd name="T46" fmla="*/ 1 w 839"/>
                      <a:gd name="T47" fmla="*/ 26 h 330"/>
                      <a:gd name="T48" fmla="*/ 10 w 839"/>
                      <a:gd name="T49" fmla="*/ 10 h 330"/>
                      <a:gd name="T50" fmla="*/ 27 w 839"/>
                      <a:gd name="T51" fmla="*/ 0 h 330"/>
                      <a:gd name="T52" fmla="*/ 232 w 839"/>
                      <a:gd name="T53" fmla="*/ 0 h 330"/>
                      <a:gd name="T54" fmla="*/ 312 w 839"/>
                      <a:gd name="T55" fmla="*/ 9 h 330"/>
                      <a:gd name="T56" fmla="*/ 383 w 839"/>
                      <a:gd name="T57" fmla="*/ 29 h 330"/>
                      <a:gd name="T58" fmla="*/ 444 w 839"/>
                      <a:gd name="T59" fmla="*/ 59 h 330"/>
                      <a:gd name="T60" fmla="*/ 494 w 839"/>
                      <a:gd name="T61" fmla="*/ 92 h 330"/>
                      <a:gd name="T62" fmla="*/ 727 w 839"/>
                      <a:gd name="T63" fmla="*/ 133 h 330"/>
                      <a:gd name="T64" fmla="*/ 753 w 839"/>
                      <a:gd name="T65" fmla="*/ 135 h 330"/>
                      <a:gd name="T66" fmla="*/ 786 w 839"/>
                      <a:gd name="T67" fmla="*/ 145 h 330"/>
                      <a:gd name="T68" fmla="*/ 811 w 839"/>
                      <a:gd name="T69" fmla="*/ 164 h 330"/>
                      <a:gd name="T70" fmla="*/ 829 w 839"/>
                      <a:gd name="T71" fmla="*/ 187 h 330"/>
                      <a:gd name="T72" fmla="*/ 838 w 839"/>
                      <a:gd name="T73" fmla="*/ 213 h 330"/>
                      <a:gd name="T74" fmla="*/ 839 w 839"/>
                      <a:gd name="T75" fmla="*/ 231 h 330"/>
                      <a:gd name="T76" fmla="*/ 835 w 839"/>
                      <a:gd name="T77" fmla="*/ 259 h 330"/>
                      <a:gd name="T78" fmla="*/ 824 w 839"/>
                      <a:gd name="T79" fmla="*/ 285 h 330"/>
                      <a:gd name="T80" fmla="*/ 804 w 839"/>
                      <a:gd name="T81" fmla="*/ 307 h 330"/>
                      <a:gd name="T82" fmla="*/ 776 w 839"/>
                      <a:gd name="T83" fmla="*/ 322 h 330"/>
                      <a:gd name="T84" fmla="*/ 741 w 839"/>
                      <a:gd name="T8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39" h="330">
                        <a:moveTo>
                          <a:pt x="727" y="330"/>
                        </a:moveTo>
                        <a:lnTo>
                          <a:pt x="364" y="330"/>
                        </a:lnTo>
                        <a:lnTo>
                          <a:pt x="364" y="330"/>
                        </a:lnTo>
                        <a:lnTo>
                          <a:pt x="357" y="330"/>
                        </a:lnTo>
                        <a:lnTo>
                          <a:pt x="351" y="328"/>
                        </a:lnTo>
                        <a:lnTo>
                          <a:pt x="345" y="325"/>
                        </a:lnTo>
                        <a:lnTo>
                          <a:pt x="340" y="321"/>
                        </a:lnTo>
                        <a:lnTo>
                          <a:pt x="336" y="316"/>
                        </a:lnTo>
                        <a:lnTo>
                          <a:pt x="333" y="311"/>
                        </a:lnTo>
                        <a:lnTo>
                          <a:pt x="331" y="304"/>
                        </a:lnTo>
                        <a:lnTo>
                          <a:pt x="331" y="297"/>
                        </a:lnTo>
                        <a:lnTo>
                          <a:pt x="331" y="297"/>
                        </a:lnTo>
                        <a:lnTo>
                          <a:pt x="331" y="291"/>
                        </a:lnTo>
                        <a:lnTo>
                          <a:pt x="333" y="285"/>
                        </a:lnTo>
                        <a:lnTo>
                          <a:pt x="336" y="279"/>
                        </a:lnTo>
                        <a:lnTo>
                          <a:pt x="340" y="274"/>
                        </a:lnTo>
                        <a:lnTo>
                          <a:pt x="345" y="270"/>
                        </a:lnTo>
                        <a:lnTo>
                          <a:pt x="351" y="267"/>
                        </a:lnTo>
                        <a:lnTo>
                          <a:pt x="357" y="265"/>
                        </a:lnTo>
                        <a:lnTo>
                          <a:pt x="364" y="264"/>
                        </a:lnTo>
                        <a:lnTo>
                          <a:pt x="727" y="264"/>
                        </a:lnTo>
                        <a:lnTo>
                          <a:pt x="727" y="264"/>
                        </a:lnTo>
                        <a:lnTo>
                          <a:pt x="739" y="264"/>
                        </a:lnTo>
                        <a:lnTo>
                          <a:pt x="749" y="261"/>
                        </a:lnTo>
                        <a:lnTo>
                          <a:pt x="757" y="258"/>
                        </a:lnTo>
                        <a:lnTo>
                          <a:pt x="764" y="254"/>
                        </a:lnTo>
                        <a:lnTo>
                          <a:pt x="768" y="249"/>
                        </a:lnTo>
                        <a:lnTo>
                          <a:pt x="771" y="243"/>
                        </a:lnTo>
                        <a:lnTo>
                          <a:pt x="773" y="237"/>
                        </a:lnTo>
                        <a:lnTo>
                          <a:pt x="773" y="231"/>
                        </a:lnTo>
                        <a:lnTo>
                          <a:pt x="773" y="231"/>
                        </a:lnTo>
                        <a:lnTo>
                          <a:pt x="773" y="226"/>
                        </a:lnTo>
                        <a:lnTo>
                          <a:pt x="771" y="220"/>
                        </a:lnTo>
                        <a:lnTo>
                          <a:pt x="768" y="214"/>
                        </a:lnTo>
                        <a:lnTo>
                          <a:pt x="764" y="209"/>
                        </a:lnTo>
                        <a:lnTo>
                          <a:pt x="757" y="205"/>
                        </a:lnTo>
                        <a:lnTo>
                          <a:pt x="749" y="201"/>
                        </a:lnTo>
                        <a:lnTo>
                          <a:pt x="739" y="199"/>
                        </a:lnTo>
                        <a:lnTo>
                          <a:pt x="727" y="198"/>
                        </a:lnTo>
                        <a:lnTo>
                          <a:pt x="529" y="198"/>
                        </a:lnTo>
                        <a:lnTo>
                          <a:pt x="529" y="198"/>
                        </a:lnTo>
                        <a:lnTo>
                          <a:pt x="522" y="198"/>
                        </a:lnTo>
                        <a:lnTo>
                          <a:pt x="516" y="196"/>
                        </a:lnTo>
                        <a:lnTo>
                          <a:pt x="511" y="193"/>
                        </a:lnTo>
                        <a:lnTo>
                          <a:pt x="506" y="189"/>
                        </a:lnTo>
                        <a:lnTo>
                          <a:pt x="506" y="189"/>
                        </a:lnTo>
                        <a:lnTo>
                          <a:pt x="489" y="173"/>
                        </a:lnTo>
                        <a:lnTo>
                          <a:pt x="467" y="154"/>
                        </a:lnTo>
                        <a:lnTo>
                          <a:pt x="453" y="144"/>
                        </a:lnTo>
                        <a:lnTo>
                          <a:pt x="439" y="134"/>
                        </a:lnTo>
                        <a:lnTo>
                          <a:pt x="423" y="123"/>
                        </a:lnTo>
                        <a:lnTo>
                          <a:pt x="407" y="114"/>
                        </a:lnTo>
                        <a:lnTo>
                          <a:pt x="388" y="104"/>
                        </a:lnTo>
                        <a:lnTo>
                          <a:pt x="368" y="95"/>
                        </a:lnTo>
                        <a:lnTo>
                          <a:pt x="349" y="87"/>
                        </a:lnTo>
                        <a:lnTo>
                          <a:pt x="327" y="80"/>
                        </a:lnTo>
                        <a:lnTo>
                          <a:pt x="304" y="75"/>
                        </a:lnTo>
                        <a:lnTo>
                          <a:pt x="281" y="70"/>
                        </a:lnTo>
                        <a:lnTo>
                          <a:pt x="256" y="68"/>
                        </a:lnTo>
                        <a:lnTo>
                          <a:pt x="232" y="67"/>
                        </a:lnTo>
                        <a:lnTo>
                          <a:pt x="33" y="67"/>
                        </a:lnTo>
                        <a:lnTo>
                          <a:pt x="33" y="67"/>
                        </a:lnTo>
                        <a:lnTo>
                          <a:pt x="27" y="65"/>
                        </a:lnTo>
                        <a:lnTo>
                          <a:pt x="21" y="63"/>
                        </a:lnTo>
                        <a:lnTo>
                          <a:pt x="14" y="60"/>
                        </a:lnTo>
                        <a:lnTo>
                          <a:pt x="10" y="56"/>
                        </a:lnTo>
                        <a:lnTo>
                          <a:pt x="6" y="52"/>
                        </a:lnTo>
                        <a:lnTo>
                          <a:pt x="3" y="46"/>
                        </a:lnTo>
                        <a:lnTo>
                          <a:pt x="1" y="40"/>
                        </a:lnTo>
                        <a:lnTo>
                          <a:pt x="0" y="33"/>
                        </a:lnTo>
                        <a:lnTo>
                          <a:pt x="0" y="33"/>
                        </a:lnTo>
                        <a:lnTo>
                          <a:pt x="1" y="26"/>
                        </a:lnTo>
                        <a:lnTo>
                          <a:pt x="3" y="20"/>
                        </a:lnTo>
                        <a:lnTo>
                          <a:pt x="6" y="15"/>
                        </a:lnTo>
                        <a:lnTo>
                          <a:pt x="10" y="10"/>
                        </a:lnTo>
                        <a:lnTo>
                          <a:pt x="14" y="5"/>
                        </a:lnTo>
                        <a:lnTo>
                          <a:pt x="21" y="2"/>
                        </a:lnTo>
                        <a:lnTo>
                          <a:pt x="27" y="0"/>
                        </a:lnTo>
                        <a:lnTo>
                          <a:pt x="33" y="0"/>
                        </a:lnTo>
                        <a:lnTo>
                          <a:pt x="232" y="0"/>
                        </a:lnTo>
                        <a:lnTo>
                          <a:pt x="232" y="0"/>
                        </a:lnTo>
                        <a:lnTo>
                          <a:pt x="260" y="1"/>
                        </a:lnTo>
                        <a:lnTo>
                          <a:pt x="286" y="3"/>
                        </a:lnTo>
                        <a:lnTo>
                          <a:pt x="312" y="9"/>
                        </a:lnTo>
                        <a:lnTo>
                          <a:pt x="336" y="14"/>
                        </a:lnTo>
                        <a:lnTo>
                          <a:pt x="360" y="21"/>
                        </a:lnTo>
                        <a:lnTo>
                          <a:pt x="383" y="29"/>
                        </a:lnTo>
                        <a:lnTo>
                          <a:pt x="404" y="39"/>
                        </a:lnTo>
                        <a:lnTo>
                          <a:pt x="425" y="49"/>
                        </a:lnTo>
                        <a:lnTo>
                          <a:pt x="444" y="59"/>
                        </a:lnTo>
                        <a:lnTo>
                          <a:pt x="462" y="70"/>
                        </a:lnTo>
                        <a:lnTo>
                          <a:pt x="479" y="81"/>
                        </a:lnTo>
                        <a:lnTo>
                          <a:pt x="494" y="92"/>
                        </a:lnTo>
                        <a:lnTo>
                          <a:pt x="521" y="113"/>
                        </a:lnTo>
                        <a:lnTo>
                          <a:pt x="542" y="133"/>
                        </a:lnTo>
                        <a:lnTo>
                          <a:pt x="727" y="133"/>
                        </a:lnTo>
                        <a:lnTo>
                          <a:pt x="727" y="133"/>
                        </a:lnTo>
                        <a:lnTo>
                          <a:pt x="741" y="133"/>
                        </a:lnTo>
                        <a:lnTo>
                          <a:pt x="753" y="135"/>
                        </a:lnTo>
                        <a:lnTo>
                          <a:pt x="765" y="137"/>
                        </a:lnTo>
                        <a:lnTo>
                          <a:pt x="776" y="141"/>
                        </a:lnTo>
                        <a:lnTo>
                          <a:pt x="786" y="145"/>
                        </a:lnTo>
                        <a:lnTo>
                          <a:pt x="796" y="150"/>
                        </a:lnTo>
                        <a:lnTo>
                          <a:pt x="804" y="157"/>
                        </a:lnTo>
                        <a:lnTo>
                          <a:pt x="811" y="164"/>
                        </a:lnTo>
                        <a:lnTo>
                          <a:pt x="817" y="171"/>
                        </a:lnTo>
                        <a:lnTo>
                          <a:pt x="824" y="178"/>
                        </a:lnTo>
                        <a:lnTo>
                          <a:pt x="829" y="187"/>
                        </a:lnTo>
                        <a:lnTo>
                          <a:pt x="832" y="195"/>
                        </a:lnTo>
                        <a:lnTo>
                          <a:pt x="835" y="204"/>
                        </a:lnTo>
                        <a:lnTo>
                          <a:pt x="838" y="213"/>
                        </a:lnTo>
                        <a:lnTo>
                          <a:pt x="839" y="222"/>
                        </a:lnTo>
                        <a:lnTo>
                          <a:pt x="839" y="231"/>
                        </a:lnTo>
                        <a:lnTo>
                          <a:pt x="839" y="231"/>
                        </a:lnTo>
                        <a:lnTo>
                          <a:pt x="839" y="240"/>
                        </a:lnTo>
                        <a:lnTo>
                          <a:pt x="838" y="250"/>
                        </a:lnTo>
                        <a:lnTo>
                          <a:pt x="835" y="259"/>
                        </a:lnTo>
                        <a:lnTo>
                          <a:pt x="832" y="267"/>
                        </a:lnTo>
                        <a:lnTo>
                          <a:pt x="829" y="277"/>
                        </a:lnTo>
                        <a:lnTo>
                          <a:pt x="824" y="285"/>
                        </a:lnTo>
                        <a:lnTo>
                          <a:pt x="817" y="292"/>
                        </a:lnTo>
                        <a:lnTo>
                          <a:pt x="811" y="299"/>
                        </a:lnTo>
                        <a:lnTo>
                          <a:pt x="804" y="307"/>
                        </a:lnTo>
                        <a:lnTo>
                          <a:pt x="796" y="312"/>
                        </a:lnTo>
                        <a:lnTo>
                          <a:pt x="786" y="318"/>
                        </a:lnTo>
                        <a:lnTo>
                          <a:pt x="776" y="322"/>
                        </a:lnTo>
                        <a:lnTo>
                          <a:pt x="765" y="325"/>
                        </a:lnTo>
                        <a:lnTo>
                          <a:pt x="753" y="328"/>
                        </a:lnTo>
                        <a:lnTo>
                          <a:pt x="741" y="330"/>
                        </a:lnTo>
                        <a:lnTo>
                          <a:pt x="727" y="330"/>
                        </a:lnTo>
                        <a:lnTo>
                          <a:pt x="727"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grpSp>
          </p:grpSp>
          <p:sp>
            <p:nvSpPr>
              <p:cNvPr id="241" name="TextBox 240">
                <a:extLst>
                  <a:ext uri="{FF2B5EF4-FFF2-40B4-BE49-F238E27FC236}">
                    <a16:creationId xmlns:a16="http://schemas.microsoft.com/office/drawing/2014/main" id="{A91DDBE2-286D-A739-650F-891BDAC55681}"/>
                  </a:ext>
                </a:extLst>
              </p:cNvPr>
              <p:cNvSpPr txBox="1"/>
              <p:nvPr/>
            </p:nvSpPr>
            <p:spPr>
              <a:xfrm>
                <a:off x="4658522" y="3659987"/>
                <a:ext cx="2813979"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oboto"/>
                    <a:ea typeface="+mn-ea"/>
                    <a:cs typeface="+mn-cs"/>
                  </a:rPr>
                  <a:t>Poverty eradication &amp; livelihoods</a:t>
                </a:r>
              </a:p>
            </p:txBody>
          </p:sp>
        </p:grpSp>
        <p:grpSp>
          <p:nvGrpSpPr>
            <p:cNvPr id="286" name="Group 285">
              <a:extLst>
                <a:ext uri="{FF2B5EF4-FFF2-40B4-BE49-F238E27FC236}">
                  <a16:creationId xmlns:a16="http://schemas.microsoft.com/office/drawing/2014/main" id="{1FCBB22A-D5A5-ED5F-EEEA-2DCA8251C97C}"/>
                </a:ext>
              </a:extLst>
            </p:cNvPr>
            <p:cNvGrpSpPr/>
            <p:nvPr/>
          </p:nvGrpSpPr>
          <p:grpSpPr>
            <a:xfrm>
              <a:off x="1211002" y="2451130"/>
              <a:ext cx="6692975" cy="215444"/>
              <a:chOff x="1154950" y="2473048"/>
              <a:chExt cx="6692975" cy="215444"/>
            </a:xfrm>
          </p:grpSpPr>
          <p:sp>
            <p:nvSpPr>
              <p:cNvPr id="82" name="TextBox 81">
                <a:extLst>
                  <a:ext uri="{FF2B5EF4-FFF2-40B4-BE49-F238E27FC236}">
                    <a16:creationId xmlns:a16="http://schemas.microsoft.com/office/drawing/2014/main" id="{AF0B79EA-5938-0B16-EAE7-C1197FD5CD25}"/>
                  </a:ext>
                </a:extLst>
              </p:cNvPr>
              <p:cNvSpPr txBox="1"/>
              <p:nvPr/>
            </p:nvSpPr>
            <p:spPr>
              <a:xfrm>
                <a:off x="1154950" y="2473048"/>
                <a:ext cx="2923872" cy="21544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Roboto"/>
                    <a:ea typeface="+mn-ea"/>
                    <a:cs typeface="+mn-cs"/>
                  </a:rPr>
                  <a:t>THEMES</a:t>
                </a:r>
              </a:p>
            </p:txBody>
          </p:sp>
          <p:cxnSp>
            <p:nvCxnSpPr>
              <p:cNvPr id="284" name="Straight Connector 283">
                <a:extLst>
                  <a:ext uri="{FF2B5EF4-FFF2-40B4-BE49-F238E27FC236}">
                    <a16:creationId xmlns:a16="http://schemas.microsoft.com/office/drawing/2014/main" id="{AC320B53-D51D-7C86-CEF5-FF8B8F9AB228}"/>
                  </a:ext>
                </a:extLst>
              </p:cNvPr>
              <p:cNvCxnSpPr>
                <a:cxnSpLocks/>
              </p:cNvCxnSpPr>
              <p:nvPr/>
            </p:nvCxnSpPr>
            <p:spPr>
              <a:xfrm flipH="1">
                <a:off x="1988791" y="2580770"/>
                <a:ext cx="5859134"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grpSp>
      </p:grpSp>
      <p:sp>
        <p:nvSpPr>
          <p:cNvPr id="11" name="Oval 10">
            <a:extLst>
              <a:ext uri="{FF2B5EF4-FFF2-40B4-BE49-F238E27FC236}">
                <a16:creationId xmlns:a16="http://schemas.microsoft.com/office/drawing/2014/main" id="{73F0B145-C58C-CB90-8A03-697A1599587D}"/>
              </a:ext>
            </a:extLst>
          </p:cNvPr>
          <p:cNvSpPr/>
          <p:nvPr/>
        </p:nvSpPr>
        <p:spPr>
          <a:xfrm>
            <a:off x="7115693" y="3822993"/>
            <a:ext cx="1991056" cy="562923"/>
          </a:xfrm>
          <a:prstGeom prst="ellipse">
            <a:avLst/>
          </a:prstGeom>
          <a:solidFill>
            <a:schemeClr val="bg1"/>
          </a:solidFill>
          <a:ln w="28575">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Roboto"/>
                <a:ea typeface="+mn-ea"/>
                <a:cs typeface="+mn-cs"/>
              </a:rPr>
              <a:t>+ INDICATORS</a:t>
            </a:r>
          </a:p>
        </p:txBody>
      </p:sp>
      <p:sp>
        <p:nvSpPr>
          <p:cNvPr id="44" name="TextBox 43">
            <a:extLst>
              <a:ext uri="{FF2B5EF4-FFF2-40B4-BE49-F238E27FC236}">
                <a16:creationId xmlns:a16="http://schemas.microsoft.com/office/drawing/2014/main" id="{25D99D09-A604-0AA5-C4E7-6A4E2CEF36AB}"/>
              </a:ext>
            </a:extLst>
          </p:cNvPr>
          <p:cNvSpPr txBox="1"/>
          <p:nvPr/>
        </p:nvSpPr>
        <p:spPr>
          <a:xfrm>
            <a:off x="1067426" y="6493915"/>
            <a:ext cx="10788376"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Roboto"/>
                <a:ea typeface="+mn-ea"/>
                <a:cs typeface="+mn-cs"/>
              </a:rPr>
              <a:t>Ref</a:t>
            </a:r>
            <a:r>
              <a:rPr kumimoji="0" lang="en-US" sz="1200" b="0" i="1" u="none" strike="noStrike" kern="1200" cap="none" spc="0" normalizeH="0" baseline="0" noProof="0" dirty="0">
                <a:ln>
                  <a:noFill/>
                </a:ln>
                <a:solidFill>
                  <a:prstClr val="black"/>
                </a:solidFill>
                <a:effectLst/>
                <a:uLnTx/>
                <a:uFillTx/>
                <a:latin typeface="Roboto"/>
                <a:ea typeface="+mn-ea"/>
                <a:cs typeface="+mn-cs"/>
              </a:rPr>
              <a:t>: UNFCCC decisions 2/CMA.5, 3/CMA.6 and 12/CMA.7</a:t>
            </a:r>
          </a:p>
        </p:txBody>
      </p:sp>
      <p:sp>
        <p:nvSpPr>
          <p:cNvPr id="8" name="TextBox 7">
            <a:extLst>
              <a:ext uri="{FF2B5EF4-FFF2-40B4-BE49-F238E27FC236}">
                <a16:creationId xmlns:a16="http://schemas.microsoft.com/office/drawing/2014/main" id="{1B4E8A06-E32D-F7CB-9992-4662A88E824F}"/>
              </a:ext>
            </a:extLst>
          </p:cNvPr>
          <p:cNvSpPr txBox="1"/>
          <p:nvPr/>
        </p:nvSpPr>
        <p:spPr>
          <a:xfrm>
            <a:off x="8297602" y="2467928"/>
            <a:ext cx="1362728" cy="21589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Roboto"/>
                <a:ea typeface="+mn-ea"/>
                <a:cs typeface="+mn-cs"/>
              </a:rPr>
              <a:t>DIMENSIONS</a:t>
            </a:r>
          </a:p>
        </p:txBody>
      </p:sp>
      <p:cxnSp>
        <p:nvCxnSpPr>
          <p:cNvPr id="9" name="Straight Connector 8">
            <a:extLst>
              <a:ext uri="{FF2B5EF4-FFF2-40B4-BE49-F238E27FC236}">
                <a16:creationId xmlns:a16="http://schemas.microsoft.com/office/drawing/2014/main" id="{5E4681BD-90E0-86E6-91DD-D492E5BB7E95}"/>
              </a:ext>
            </a:extLst>
          </p:cNvPr>
          <p:cNvCxnSpPr>
            <a:cxnSpLocks/>
          </p:cNvCxnSpPr>
          <p:nvPr/>
        </p:nvCxnSpPr>
        <p:spPr>
          <a:xfrm flipH="1">
            <a:off x="9499949" y="2575142"/>
            <a:ext cx="2232000" cy="437"/>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91633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63196E-C35A-D9CE-A00B-FD65598A6F4B}"/>
              </a:ext>
            </a:extLst>
          </p:cNvPr>
          <p:cNvSpPr>
            <a:spLocks noGrp="1"/>
          </p:cNvSpPr>
          <p:nvPr>
            <p:ph type="title"/>
          </p:nvPr>
        </p:nvSpPr>
        <p:spPr>
          <a:xfrm>
            <a:off x="831850" y="3639145"/>
            <a:ext cx="10515600" cy="923330"/>
          </a:xfrm>
        </p:spPr>
        <p:txBody>
          <a:bodyPr/>
          <a:lstStyle/>
          <a:p>
            <a:r>
              <a:rPr lang="en-US"/>
              <a:t>Targets and indicators</a:t>
            </a:r>
          </a:p>
        </p:txBody>
      </p:sp>
      <p:sp>
        <p:nvSpPr>
          <p:cNvPr id="3" name="Text Placeholder 2">
            <a:extLst>
              <a:ext uri="{FF2B5EF4-FFF2-40B4-BE49-F238E27FC236}">
                <a16:creationId xmlns:a16="http://schemas.microsoft.com/office/drawing/2014/main" id="{3F812AF0-7E86-995F-C5A5-21815F4F3F8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D341064-B185-AC9E-85F3-F9CDB68F9B66}"/>
              </a:ext>
            </a:extLst>
          </p:cNvPr>
          <p:cNvSpPr>
            <a:spLocks noGrp="1"/>
          </p:cNvSpPr>
          <p:nvPr>
            <p:ph type="sldNum" sz="quarter" idx="12"/>
          </p:nvPr>
        </p:nvSpPr>
        <p:spPr/>
        <p:txBody>
          <a:bodyPr/>
          <a:lstStyle/>
          <a:p>
            <a:fld id="{6BD9EE9C-3A9A-458B-8C8B-545D7DF0CA2D}" type="slidenum">
              <a:rPr lang="en-ID" smtClean="0"/>
              <a:pPr/>
              <a:t>9</a:t>
            </a:fld>
            <a:endParaRPr lang="en-ID"/>
          </a:p>
        </p:txBody>
      </p:sp>
      <p:pic>
        <p:nvPicPr>
          <p:cNvPr id="6" name="Picture 5">
            <a:extLst>
              <a:ext uri="{FF2B5EF4-FFF2-40B4-BE49-F238E27FC236}">
                <a16:creationId xmlns:a16="http://schemas.microsoft.com/office/drawing/2014/main" id="{AC6E9B80-DB87-DDF4-138A-547BCB837C29}"/>
              </a:ext>
            </a:extLst>
          </p:cNvPr>
          <p:cNvPicPr>
            <a:picLocks noChangeAspect="1"/>
          </p:cNvPicPr>
          <p:nvPr/>
        </p:nvPicPr>
        <p:blipFill>
          <a:blip r:embed="rId2"/>
          <a:stretch>
            <a:fillRect/>
          </a:stretch>
        </p:blipFill>
        <p:spPr>
          <a:xfrm>
            <a:off x="114300" y="38100"/>
            <a:ext cx="11963400" cy="6781800"/>
          </a:xfrm>
          <a:prstGeom prst="rect">
            <a:avLst/>
          </a:prstGeom>
        </p:spPr>
      </p:pic>
    </p:spTree>
    <p:extLst>
      <p:ext uri="{BB962C8B-B14F-4D97-AF65-F5344CB8AC3E}">
        <p14:creationId xmlns:p14="http://schemas.microsoft.com/office/powerpoint/2010/main" val="40490886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0">
      <a:dk1>
        <a:sysClr val="windowText" lastClr="000000"/>
      </a:dk1>
      <a:lt1>
        <a:sysClr val="window" lastClr="FFFFFF"/>
      </a:lt1>
      <a:dk2>
        <a:srgbClr val="44546A"/>
      </a:dk2>
      <a:lt2>
        <a:srgbClr val="E7E6E6"/>
      </a:lt2>
      <a:accent1>
        <a:srgbClr val="1E4D7F"/>
      </a:accent1>
      <a:accent2>
        <a:srgbClr val="1C97DA"/>
      </a:accent2>
      <a:accent3>
        <a:srgbClr val="FFC000"/>
      </a:accent3>
      <a:accent4>
        <a:srgbClr val="22D786"/>
      </a:accent4>
      <a:accent5>
        <a:srgbClr val="FFFFFF"/>
      </a:accent5>
      <a:accent6>
        <a:srgbClr val="FFFFFF"/>
      </a:accent6>
      <a:hlink>
        <a:srgbClr val="0C0C0C"/>
      </a:hlink>
      <a:folHlink>
        <a:srgbClr val="262626"/>
      </a:folHlink>
    </a:clrScheme>
    <a:fontScheme name="Custom 26">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a:spAutoFit/>
      </a:bodyPr>
      <a:lstStyle>
        <a:defPPr marL="0" indent="0" algn="l">
          <a:buFont typeface="Arial" panose="020B0604020202020204" pitchFamily="34" charset="0"/>
          <a:buNone/>
          <a:defRPr sz="1800" b="1"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52">
      <a:dk1>
        <a:sysClr val="windowText" lastClr="000000"/>
      </a:dk1>
      <a:lt1>
        <a:sysClr val="window" lastClr="FFFFFF"/>
      </a:lt1>
      <a:dk2>
        <a:srgbClr val="44546A"/>
      </a:dk2>
      <a:lt2>
        <a:srgbClr val="E7E6E6"/>
      </a:lt2>
      <a:accent1>
        <a:srgbClr val="244179"/>
      </a:accent1>
      <a:accent2>
        <a:srgbClr val="1775F9"/>
      </a:accent2>
      <a:accent3>
        <a:srgbClr val="00BFFE"/>
      </a:accent3>
      <a:accent4>
        <a:srgbClr val="15D7E2"/>
      </a:accent4>
      <a:accent5>
        <a:srgbClr val="00D3AA"/>
      </a:accent5>
      <a:accent6>
        <a:srgbClr val="FF4104"/>
      </a:accent6>
      <a:hlink>
        <a:srgbClr val="0C0C0C"/>
      </a:hlink>
      <a:folHlink>
        <a:srgbClr val="262626"/>
      </a:folHlink>
    </a:clrScheme>
    <a:fontScheme name="Custom 26">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a:spAutoFit/>
      </a:bodyPr>
      <a:lstStyle>
        <a:defPPr marL="0" indent="0" algn="l">
          <a:buFont typeface="Arial" panose="020B0604020202020204" pitchFamily="34" charset="0"/>
          <a:buNone/>
          <a:defRPr sz="1800" b="1"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Custom 52">
      <a:dk1>
        <a:sysClr val="windowText" lastClr="000000"/>
      </a:dk1>
      <a:lt1>
        <a:sysClr val="window" lastClr="FFFFFF"/>
      </a:lt1>
      <a:dk2>
        <a:srgbClr val="44546A"/>
      </a:dk2>
      <a:lt2>
        <a:srgbClr val="E7E6E6"/>
      </a:lt2>
      <a:accent1>
        <a:srgbClr val="244179"/>
      </a:accent1>
      <a:accent2>
        <a:srgbClr val="1775F9"/>
      </a:accent2>
      <a:accent3>
        <a:srgbClr val="00BFFE"/>
      </a:accent3>
      <a:accent4>
        <a:srgbClr val="15D7E2"/>
      </a:accent4>
      <a:accent5>
        <a:srgbClr val="00D3AA"/>
      </a:accent5>
      <a:accent6>
        <a:srgbClr val="FF4104"/>
      </a:accent6>
      <a:hlink>
        <a:srgbClr val="0C0C0C"/>
      </a:hlink>
      <a:folHlink>
        <a:srgbClr val="262626"/>
      </a:folHlink>
    </a:clrScheme>
    <a:fontScheme name="Custom 26">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a:spAutoFit/>
      </a:bodyPr>
      <a:lstStyle>
        <a:defPPr marL="0" indent="0" algn="l">
          <a:buFont typeface="Arial" panose="020B0604020202020204" pitchFamily="34" charset="0"/>
          <a:buNone/>
          <a:defRPr sz="1800" b="1"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2</TotalTime>
  <Words>2526</Words>
  <Application>Microsoft Office PowerPoint</Application>
  <PresentationFormat>Widescreen</PresentationFormat>
  <Paragraphs>290</Paragraphs>
  <Slides>20</Slides>
  <Notes>11</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32" baseType="lpstr">
      <vt:lpstr>Aptos</vt:lpstr>
      <vt:lpstr>Arial</vt:lpstr>
      <vt:lpstr>Calibri</vt:lpstr>
      <vt:lpstr>Roboto</vt:lpstr>
      <vt:lpstr>Segoe UI Light</vt:lpstr>
      <vt:lpstr>Tahoma</vt:lpstr>
      <vt:lpstr>Times New Roman</vt:lpstr>
      <vt:lpstr>Wingdings</vt:lpstr>
      <vt:lpstr>1_Office Theme</vt:lpstr>
      <vt:lpstr>2_Office Theme</vt:lpstr>
      <vt:lpstr>3_Office Theme</vt:lpstr>
      <vt:lpstr>think-cell Slide</vt:lpstr>
      <vt:lpstr>PowerPoint Presentation</vt:lpstr>
      <vt:lpstr>Background</vt:lpstr>
      <vt:lpstr>PowerPoint Presentation</vt:lpstr>
      <vt:lpstr>Background</vt:lpstr>
      <vt:lpstr>Evolution of the UNFCCC Adaptation Architecture </vt:lpstr>
      <vt:lpstr>UNFCCC adaptation architecture</vt:lpstr>
      <vt:lpstr>Global goal on adaptation – a timeline (overview) </vt:lpstr>
      <vt:lpstr>UAE Framework for Global Climate Resilience</vt:lpstr>
      <vt:lpstr>Targets and indicators</vt:lpstr>
      <vt:lpstr>Targets (thematic)</vt:lpstr>
      <vt:lpstr>Targets (dimensions of the iterative adaptation cycle)</vt:lpstr>
      <vt:lpstr>UAE–Belém work programme on indicators – timeline</vt:lpstr>
      <vt:lpstr>Indicators (Belém Adaptation Indicators)</vt:lpstr>
      <vt:lpstr>Disclaimers and disaggregation </vt:lpstr>
      <vt:lpstr>Indicators profile</vt:lpstr>
      <vt:lpstr>Next steps</vt:lpstr>
      <vt:lpstr>PowerPoint Presentation</vt:lpstr>
      <vt:lpstr>Background</vt:lpstr>
      <vt:lpstr>Background</vt:lpstr>
      <vt:lpstr>Backgroun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GA slides</dc:title>
  <dc:creator>Motsomi Maletjane</dc:creator>
  <cp:lastModifiedBy>Carlos Ruiz Garvia</cp:lastModifiedBy>
  <cp:revision>9</cp:revision>
  <cp:lastPrinted>2026-03-09T15:08:29Z</cp:lastPrinted>
  <dcterms:created xsi:type="dcterms:W3CDTF">2026-01-27T18:09:06Z</dcterms:created>
  <dcterms:modified xsi:type="dcterms:W3CDTF">2026-04-20T21:12:11Z</dcterms:modified>
</cp:coreProperties>
</file>